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02" r:id="rId5"/>
    <p:sldMasterId id="2147483854" r:id="rId6"/>
    <p:sldMasterId id="2147483877" r:id="rId7"/>
    <p:sldMasterId id="2147483964" r:id="rId8"/>
  </p:sldMasterIdLst>
  <p:notesMasterIdLst>
    <p:notesMasterId r:id="rId22"/>
  </p:notesMasterIdLst>
  <p:sldIdLst>
    <p:sldId id="429" r:id="rId9"/>
    <p:sldId id="2147375666" r:id="rId10"/>
    <p:sldId id="2147375660" r:id="rId11"/>
    <p:sldId id="2147375662" r:id="rId12"/>
    <p:sldId id="2147375664" r:id="rId13"/>
    <p:sldId id="2147375653" r:id="rId14"/>
    <p:sldId id="2147375648" r:id="rId15"/>
    <p:sldId id="2147375663" r:id="rId16"/>
    <p:sldId id="2147375650" r:id="rId17"/>
    <p:sldId id="300" r:id="rId18"/>
    <p:sldId id="301" r:id="rId19"/>
    <p:sldId id="303" r:id="rId20"/>
    <p:sldId id="304" r:id="rId21"/>
  </p:sldIdLst>
  <p:sldSz cx="12192000" cy="6858000"/>
  <p:notesSz cx="6805613" cy="9944100"/>
  <p:custDataLst>
    <p:tags r:id="rId2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10A619-2466-4259-9827-1D781B63F14D}">
          <p14:sldIdLst>
            <p14:sldId id="429"/>
            <p14:sldId id="2147375666"/>
            <p14:sldId id="2147375660"/>
            <p14:sldId id="2147375662"/>
            <p14:sldId id="2147375664"/>
            <p14:sldId id="2147375653"/>
            <p14:sldId id="2147375648"/>
          </p14:sldIdLst>
        </p14:section>
        <p14:section name="Bijlagen" id="{C66D84A6-0952-4027-95A9-EDF7A5C853ED}">
          <p14:sldIdLst>
            <p14:sldId id="2147375663"/>
            <p14:sldId id="2147375650"/>
            <p14:sldId id="300"/>
            <p14:sldId id="301"/>
            <p14:sldId id="303"/>
            <p14:sldId id="304"/>
          </p14:sldIdLst>
        </p14:section>
      </p14:sectionLst>
    </p:ext>
    <p:ext uri="{EFAFB233-063F-42B5-8137-9DF3F51BA10A}">
      <p15:sldGuideLst xmlns:p15="http://schemas.microsoft.com/office/powerpoint/2012/main">
        <p15:guide id="1" orient="horz" pos="1230" userDrawn="1">
          <p15:clr>
            <a:srgbClr val="A4A3A4"/>
          </p15:clr>
        </p15:guide>
        <p15:guide id="2" pos="5261" userDrawn="1">
          <p15:clr>
            <a:srgbClr val="A4A3A4"/>
          </p15:clr>
        </p15:guide>
        <p15:guide id="3" orient="horz" pos="4042" userDrawn="1">
          <p15:clr>
            <a:srgbClr val="A4A3A4"/>
          </p15:clr>
        </p15:guide>
        <p15:guide id="4" orient="horz" pos="1071" userDrawn="1">
          <p15:clr>
            <a:srgbClr val="A4A3A4"/>
          </p15:clr>
        </p15:guide>
        <p15:guide id="5" orient="horz" pos="3317" userDrawn="1">
          <p15:clr>
            <a:srgbClr val="A4A3A4"/>
          </p15:clr>
        </p15:guide>
        <p15:guide id="6" pos="408" userDrawn="1">
          <p15:clr>
            <a:srgbClr val="A4A3A4"/>
          </p15:clr>
        </p15:guide>
        <p15:guide id="7" pos="2419" userDrawn="1">
          <p15:clr>
            <a:srgbClr val="A4A3A4"/>
          </p15:clr>
        </p15:guide>
        <p15:guide id="8" pos="3840" userDrawn="1">
          <p15:clr>
            <a:srgbClr val="A4A3A4"/>
          </p15:clr>
        </p15:guide>
        <p15:guide id="9" pos="312" userDrawn="1">
          <p15:clr>
            <a:srgbClr val="A4A3A4"/>
          </p15:clr>
        </p15:guide>
        <p15:guide id="10" pos="7327" userDrawn="1">
          <p15:clr>
            <a:srgbClr val="A4A3A4"/>
          </p15:clr>
        </p15:guide>
        <p15:guide id="11" orient="horz" pos="1003" userDrawn="1">
          <p15:clr>
            <a:srgbClr val="A4A3A4"/>
          </p15:clr>
        </p15:guide>
        <p15:guide id="12" orient="horz" pos="2341" userDrawn="1">
          <p15:clr>
            <a:srgbClr val="A4A3A4"/>
          </p15:clr>
        </p15:guide>
        <p15:guide id="13" pos="2631" userDrawn="1">
          <p15:clr>
            <a:srgbClr val="A4A3A4"/>
          </p15:clr>
        </p15:guide>
        <p15:guide id="14" orient="horz" pos="2704" userDrawn="1">
          <p15:clr>
            <a:srgbClr val="A4A3A4"/>
          </p15:clr>
        </p15:guide>
        <p15:guide id="15" pos="476" userDrawn="1">
          <p15:clr>
            <a:srgbClr val="A4A3A4"/>
          </p15:clr>
        </p15:guide>
        <p15:guide id="16" orient="horz" pos="1366" userDrawn="1">
          <p15:clr>
            <a:srgbClr val="A4A3A4"/>
          </p15:clr>
        </p15:guide>
        <p15:guide id="17" orient="horz" pos="3263" userDrawn="1">
          <p15:clr>
            <a:srgbClr val="A4A3A4"/>
          </p15:clr>
        </p15:guide>
        <p15:guide id="18" orient="horz" pos="4037" userDrawn="1">
          <p15:clr>
            <a:srgbClr val="A4A3A4"/>
          </p15:clr>
        </p15:guide>
        <p15:guide id="19" pos="3856" userDrawn="1">
          <p15:clr>
            <a:srgbClr val="A4A3A4"/>
          </p15:clr>
        </p15:guide>
        <p15:guide id="20" pos="179" userDrawn="1">
          <p15:clr>
            <a:srgbClr val="A4A3A4"/>
          </p15:clr>
        </p15:guide>
        <p15:guide id="21" pos="1837" userDrawn="1">
          <p15:clr>
            <a:srgbClr val="A4A3A4"/>
          </p15:clr>
        </p15:guide>
        <p15:guide id="22" orient="horz" pos="2437">
          <p15:clr>
            <a:srgbClr val="A4A3A4"/>
          </p15:clr>
        </p15:guide>
        <p15:guide id="23" orient="horz" pos="275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ynia, SH (Sietze)" initials="SH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3E7FA2"/>
    <a:srgbClr val="ECF2F6"/>
    <a:srgbClr val="F6F9FA"/>
    <a:srgbClr val="000000"/>
    <a:srgbClr val="203864"/>
    <a:srgbClr val="417FA2"/>
    <a:srgbClr val="288FAC"/>
    <a:srgbClr val="0000FF"/>
    <a:srgbClr val="E57B0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Stijl, gemiddeld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202B0CA-FC54-4496-8BCA-5EF66A818D29}" styleName="Stijl, donker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230"/>
        <p:guide pos="5261"/>
        <p:guide orient="horz" pos="4042"/>
        <p:guide orient="horz" pos="1071"/>
        <p:guide orient="horz" pos="3317"/>
        <p:guide pos="408"/>
        <p:guide pos="2419"/>
        <p:guide pos="3840"/>
        <p:guide pos="312"/>
        <p:guide pos="7327"/>
        <p:guide orient="horz" pos="1003"/>
        <p:guide orient="horz" pos="2341"/>
        <p:guide pos="2631"/>
        <p:guide orient="horz" pos="2704"/>
        <p:guide pos="476"/>
        <p:guide orient="horz" pos="1366"/>
        <p:guide orient="horz" pos="3263"/>
        <p:guide orient="horz" pos="4037"/>
        <p:guide pos="3856"/>
        <p:guide pos="179"/>
        <p:guide pos="1837"/>
        <p:guide orient="horz" pos="2437"/>
        <p:guide orient="horz" pos="2752"/>
      </p:guideLst>
    </p:cSldViewPr>
  </p:slideViewPr>
  <p:notesViewPr>
    <p:cSldViewPr snapToGrid="0">
      <p:cViewPr>
        <p:scale>
          <a:sx n="1" d="2"/>
          <a:sy n="1" d="2"/>
        </p:scale>
        <p:origin x="0" y="0"/>
      </p:cViewPr>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Master" Target="slideMasters/slideMaster5.xml" Id="rId8" /><Relationship Type="http://schemas.openxmlformats.org/officeDocument/2006/relationships/slide" Target="slides/slide5.xml" Id="rId13" /><Relationship Type="http://schemas.openxmlformats.org/officeDocument/2006/relationships/slide" Target="slides/slide10.xml" Id="rId18" /><Relationship Type="http://schemas.openxmlformats.org/officeDocument/2006/relationships/viewProps" Target="viewProps.xml" Id="rId26" /><Relationship Type="http://schemas.openxmlformats.org/officeDocument/2006/relationships/customXml" Target="../customXml/item3.xml" Id="rId3" /><Relationship Type="http://schemas.openxmlformats.org/officeDocument/2006/relationships/slide" Target="slides/slide13.xml" Id="rId21" /><Relationship Type="http://schemas.openxmlformats.org/officeDocument/2006/relationships/slideMaster" Target="slideMasters/slideMaster4.xml" Id="rId7" /><Relationship Type="http://schemas.openxmlformats.org/officeDocument/2006/relationships/slide" Target="slides/slide4.xml" Id="rId12" /><Relationship Type="http://schemas.openxmlformats.org/officeDocument/2006/relationships/slide" Target="slides/slide9.xml" Id="rId17" /><Relationship Type="http://schemas.openxmlformats.org/officeDocument/2006/relationships/presProps" Target="presProps.xml" Id="rId25" /><Relationship Type="http://schemas.openxmlformats.org/officeDocument/2006/relationships/customXml" Target="../customXml/item2.xml" Id="rId2" /><Relationship Type="http://schemas.openxmlformats.org/officeDocument/2006/relationships/slide" Target="slides/slide8.xml" Id="rId16" /><Relationship Type="http://schemas.openxmlformats.org/officeDocument/2006/relationships/slide" Target="slides/slide12.xml" Id="rId20" /><Relationship Type="http://schemas.openxmlformats.org/officeDocument/2006/relationships/customXml" Target="../customXml/item1.xml" Id="rId1" /><Relationship Type="http://schemas.openxmlformats.org/officeDocument/2006/relationships/slideMaster" Target="slideMasters/slideMaster3.xml" Id="rId6" /><Relationship Type="http://schemas.openxmlformats.org/officeDocument/2006/relationships/slide" Target="slides/slide3.xml" Id="rId11" /><Relationship Type="http://schemas.openxmlformats.org/officeDocument/2006/relationships/commentAuthors" Target="commentAuthors.xml" Id="rId24" /><Relationship Type="http://schemas.openxmlformats.org/officeDocument/2006/relationships/slideMaster" Target="slideMasters/slideMaster2.xml" Id="rId5" /><Relationship Type="http://schemas.openxmlformats.org/officeDocument/2006/relationships/slide" Target="slides/slide7.xml" Id="rId15" /><Relationship Type="http://schemas.openxmlformats.org/officeDocument/2006/relationships/tags" Target="tags/tag1.xml" Id="rId23" /><Relationship Type="http://schemas.openxmlformats.org/officeDocument/2006/relationships/tableStyles" Target="tableStyles.xml" Id="rId28" /><Relationship Type="http://schemas.openxmlformats.org/officeDocument/2006/relationships/slide" Target="slides/slide2.xml" Id="rId10" /><Relationship Type="http://schemas.openxmlformats.org/officeDocument/2006/relationships/slide" Target="slides/slide11.xml" Id="rId19" /><Relationship Type="http://schemas.openxmlformats.org/officeDocument/2006/relationships/slideMaster" Target="slideMasters/slideMaster1.xml" Id="rId4" /><Relationship Type="http://schemas.openxmlformats.org/officeDocument/2006/relationships/slide" Target="slides/slide1.xml" Id="rId9" /><Relationship Type="http://schemas.openxmlformats.org/officeDocument/2006/relationships/slide" Target="slides/slide6.xml" Id="rId14" /><Relationship Type="http://schemas.openxmlformats.org/officeDocument/2006/relationships/notesMaster" Target="notesMasters/notesMaster1.xml" Id="rId22" /><Relationship Type="http://schemas.openxmlformats.org/officeDocument/2006/relationships/theme" Target="theme/theme1.xml" Id="rId27"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5538E7-840E-4EFF-9640-273D5C0F42D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nl-NL"/>
        </a:p>
      </dgm:t>
    </dgm:pt>
    <dgm:pt modelId="{A3315CD4-4C59-45B5-8200-3CEEDA9E4EB0}">
      <dgm:prSet phldrT="[Tekst]" custT="1"/>
      <dgm:spPr/>
      <dgm:t>
        <a:bodyPr/>
        <a:lstStyle/>
        <a:p>
          <a:r>
            <a:rPr lang="nl-NL" sz="1600"/>
            <a:t>Operationele Stuurgroep   </a:t>
          </a:r>
        </a:p>
      </dgm:t>
    </dgm:pt>
    <dgm:pt modelId="{B963D241-03AF-49F3-AAD2-D833FD7D9AFF}" type="parTrans" cxnId="{4AB38C03-C4CD-4162-BCCA-8BCA9755EDE7}">
      <dgm:prSet/>
      <dgm:spPr/>
      <dgm:t>
        <a:bodyPr/>
        <a:lstStyle/>
        <a:p>
          <a:endParaRPr lang="nl-NL"/>
        </a:p>
      </dgm:t>
    </dgm:pt>
    <dgm:pt modelId="{3EBDA792-9897-45E6-86D7-347EECAC133F}" type="sibTrans" cxnId="{4AB38C03-C4CD-4162-BCCA-8BCA9755EDE7}">
      <dgm:prSet/>
      <dgm:spPr/>
      <dgm:t>
        <a:bodyPr/>
        <a:lstStyle/>
        <a:p>
          <a:endParaRPr lang="nl-NL"/>
        </a:p>
      </dgm:t>
    </dgm:pt>
    <dgm:pt modelId="{E6CA53BF-427B-4C64-ABCC-4BCBAD902E5B}">
      <dgm:prSet phldrT="[Tekst]" custT="1"/>
      <dgm:spPr/>
      <dgm:t>
        <a:bodyPr/>
        <a:lstStyle/>
        <a:p>
          <a:r>
            <a:rPr lang="nl-NL" sz="1600" b="1"/>
            <a:t>Programma team</a:t>
          </a:r>
        </a:p>
        <a:p>
          <a:r>
            <a:rPr lang="nl-NL" sz="1400"/>
            <a:t>Business en IT vertegenwoordiging</a:t>
          </a:r>
          <a:endParaRPr lang="nl-NL" sz="1800"/>
        </a:p>
      </dgm:t>
    </dgm:pt>
    <dgm:pt modelId="{27DD27AA-59D2-40A4-9CA5-1393E8187524}" type="parTrans" cxnId="{8592C6DE-DD47-4494-B4C1-E75AAD04DAE8}">
      <dgm:prSet/>
      <dgm:spPr/>
      <dgm:t>
        <a:bodyPr/>
        <a:lstStyle/>
        <a:p>
          <a:endParaRPr lang="nl-NL"/>
        </a:p>
      </dgm:t>
    </dgm:pt>
    <dgm:pt modelId="{206E0019-13A7-4E58-A59A-39C832D4516A}" type="sibTrans" cxnId="{8592C6DE-DD47-4494-B4C1-E75AAD04DAE8}">
      <dgm:prSet/>
      <dgm:spPr/>
      <dgm:t>
        <a:bodyPr/>
        <a:lstStyle/>
        <a:p>
          <a:endParaRPr lang="nl-NL"/>
        </a:p>
      </dgm:t>
    </dgm:pt>
    <dgm:pt modelId="{21D1075B-740F-4DFE-9271-775B75FD39A9}">
      <dgm:prSet phldrT="[Tekst]" custT="1"/>
      <dgm:spPr/>
      <dgm:t>
        <a:bodyPr/>
        <a:lstStyle/>
        <a:p>
          <a:r>
            <a:rPr lang="nl-NL" sz="1800"/>
            <a:t> Stuurgroep Privacy </a:t>
          </a:r>
          <a:r>
            <a:rPr lang="nl-NL" sz="1800" err="1"/>
            <a:t>Deepdive</a:t>
          </a:r>
          <a:endParaRPr lang="nl-NL" sz="1800"/>
        </a:p>
      </dgm:t>
    </dgm:pt>
    <dgm:pt modelId="{4624B4B4-21C1-4B9E-A6B4-6187CE67EAD6}" type="parTrans" cxnId="{1AD76DC6-4A85-47CB-B7C4-4067012C466C}">
      <dgm:prSet/>
      <dgm:spPr/>
      <dgm:t>
        <a:bodyPr/>
        <a:lstStyle/>
        <a:p>
          <a:endParaRPr lang="nl-NL"/>
        </a:p>
      </dgm:t>
    </dgm:pt>
    <dgm:pt modelId="{B183734E-F69B-451A-9084-FA5103C5B348}" type="sibTrans" cxnId="{1AD76DC6-4A85-47CB-B7C4-4067012C466C}">
      <dgm:prSet/>
      <dgm:spPr/>
      <dgm:t>
        <a:bodyPr/>
        <a:lstStyle/>
        <a:p>
          <a:endParaRPr lang="nl-NL"/>
        </a:p>
      </dgm:t>
    </dgm:pt>
    <dgm:pt modelId="{E7B7F08C-7A8D-4484-A6AA-879D12FFB82F}" type="pres">
      <dgm:prSet presAssocID="{A75538E7-840E-4EFF-9640-273D5C0F42D3}" presName="hierChild1" presStyleCnt="0">
        <dgm:presLayoutVars>
          <dgm:orgChart val="1"/>
          <dgm:chPref val="1"/>
          <dgm:dir/>
          <dgm:animOne val="branch"/>
          <dgm:animLvl val="lvl"/>
          <dgm:resizeHandles/>
        </dgm:presLayoutVars>
      </dgm:prSet>
      <dgm:spPr/>
    </dgm:pt>
    <dgm:pt modelId="{55BE7D7E-3789-422B-8BAF-8C736892DE66}" type="pres">
      <dgm:prSet presAssocID="{A3315CD4-4C59-45B5-8200-3CEEDA9E4EB0}" presName="hierRoot1" presStyleCnt="0">
        <dgm:presLayoutVars>
          <dgm:hierBranch val="init"/>
        </dgm:presLayoutVars>
      </dgm:prSet>
      <dgm:spPr/>
    </dgm:pt>
    <dgm:pt modelId="{FC539185-1FFB-4E7A-9EA7-402A5040EC51}" type="pres">
      <dgm:prSet presAssocID="{A3315CD4-4C59-45B5-8200-3CEEDA9E4EB0}" presName="rootComposite1" presStyleCnt="0"/>
      <dgm:spPr/>
    </dgm:pt>
    <dgm:pt modelId="{3A0ED680-3D25-41E6-8FB7-F4E0B7906E57}" type="pres">
      <dgm:prSet presAssocID="{A3315CD4-4C59-45B5-8200-3CEEDA9E4EB0}" presName="rootText1" presStyleLbl="node0" presStyleIdx="0" presStyleCnt="2" custScaleX="76528" custScaleY="22740" custLinFactNeighborX="9842" custLinFactNeighborY="-7918">
        <dgm:presLayoutVars>
          <dgm:chPref val="3"/>
        </dgm:presLayoutVars>
      </dgm:prSet>
      <dgm:spPr/>
    </dgm:pt>
    <dgm:pt modelId="{7BC40DC8-CFE8-4F61-B4F4-3D684FA06A5A}" type="pres">
      <dgm:prSet presAssocID="{A3315CD4-4C59-45B5-8200-3CEEDA9E4EB0}" presName="rootConnector1" presStyleLbl="node1" presStyleIdx="0" presStyleCnt="0"/>
      <dgm:spPr/>
    </dgm:pt>
    <dgm:pt modelId="{BB46E57B-45E2-4BB7-B0BB-292E5375C7DA}" type="pres">
      <dgm:prSet presAssocID="{A3315CD4-4C59-45B5-8200-3CEEDA9E4EB0}" presName="hierChild2" presStyleCnt="0"/>
      <dgm:spPr/>
    </dgm:pt>
    <dgm:pt modelId="{1E004766-02A6-4640-A8EC-5D620D74656A}" type="pres">
      <dgm:prSet presAssocID="{27DD27AA-59D2-40A4-9CA5-1393E8187524}" presName="Name37" presStyleLbl="parChTrans1D2" presStyleIdx="0" presStyleCnt="1"/>
      <dgm:spPr/>
    </dgm:pt>
    <dgm:pt modelId="{BD31F7B7-23B7-4B58-A296-CD5CD13C6EA1}" type="pres">
      <dgm:prSet presAssocID="{E6CA53BF-427B-4C64-ABCC-4BCBAD902E5B}" presName="hierRoot2" presStyleCnt="0">
        <dgm:presLayoutVars>
          <dgm:hierBranch val="init"/>
        </dgm:presLayoutVars>
      </dgm:prSet>
      <dgm:spPr/>
    </dgm:pt>
    <dgm:pt modelId="{6C0B082B-3B0F-41D7-ACBB-29F8A965F7FA}" type="pres">
      <dgm:prSet presAssocID="{E6CA53BF-427B-4C64-ABCC-4BCBAD902E5B}" presName="rootComposite" presStyleCnt="0"/>
      <dgm:spPr/>
    </dgm:pt>
    <dgm:pt modelId="{0E190B24-8360-4FFA-9B4F-4EB58E8A6070}" type="pres">
      <dgm:prSet presAssocID="{E6CA53BF-427B-4C64-ABCC-4BCBAD902E5B}" presName="rootText" presStyleLbl="node2" presStyleIdx="0" presStyleCnt="1" custScaleX="153135" custScaleY="51797" custLinFactNeighborX="11825" custLinFactNeighborY="-40895">
        <dgm:presLayoutVars>
          <dgm:chPref val="3"/>
        </dgm:presLayoutVars>
      </dgm:prSet>
      <dgm:spPr/>
    </dgm:pt>
    <dgm:pt modelId="{FE75A990-75B8-446A-836D-FA4CA5D2DBC3}" type="pres">
      <dgm:prSet presAssocID="{E6CA53BF-427B-4C64-ABCC-4BCBAD902E5B}" presName="rootConnector" presStyleLbl="node2" presStyleIdx="0" presStyleCnt="1"/>
      <dgm:spPr/>
    </dgm:pt>
    <dgm:pt modelId="{EE090483-7397-4787-A06C-3C8C51CC77B0}" type="pres">
      <dgm:prSet presAssocID="{E6CA53BF-427B-4C64-ABCC-4BCBAD902E5B}" presName="hierChild4" presStyleCnt="0"/>
      <dgm:spPr/>
    </dgm:pt>
    <dgm:pt modelId="{66DB2D5A-96E7-4707-A9DE-891C4D1D5DA4}" type="pres">
      <dgm:prSet presAssocID="{E6CA53BF-427B-4C64-ABCC-4BCBAD902E5B}" presName="hierChild5" presStyleCnt="0"/>
      <dgm:spPr/>
    </dgm:pt>
    <dgm:pt modelId="{D14BFB60-F0A9-486B-A1F0-0150D085BB99}" type="pres">
      <dgm:prSet presAssocID="{A3315CD4-4C59-45B5-8200-3CEEDA9E4EB0}" presName="hierChild3" presStyleCnt="0"/>
      <dgm:spPr/>
    </dgm:pt>
    <dgm:pt modelId="{A814198E-2A58-48DB-9FDB-2E72F5BD2DCC}" type="pres">
      <dgm:prSet presAssocID="{21D1075B-740F-4DFE-9271-775B75FD39A9}" presName="hierRoot1" presStyleCnt="0">
        <dgm:presLayoutVars>
          <dgm:hierBranch val="init"/>
        </dgm:presLayoutVars>
      </dgm:prSet>
      <dgm:spPr/>
    </dgm:pt>
    <dgm:pt modelId="{92C0473F-C788-4C25-80B0-8AD171536B23}" type="pres">
      <dgm:prSet presAssocID="{21D1075B-740F-4DFE-9271-775B75FD39A9}" presName="rootComposite1" presStyleCnt="0"/>
      <dgm:spPr/>
    </dgm:pt>
    <dgm:pt modelId="{1CAF8894-D585-4642-9794-91C1C1908F0A}" type="pres">
      <dgm:prSet presAssocID="{21D1075B-740F-4DFE-9271-775B75FD39A9}" presName="rootText1" presStyleLbl="node0" presStyleIdx="1" presStyleCnt="2" custScaleX="74180" custScaleY="26774" custLinFactNeighborX="-86096" custLinFactNeighborY="-39932">
        <dgm:presLayoutVars>
          <dgm:chPref val="3"/>
        </dgm:presLayoutVars>
      </dgm:prSet>
      <dgm:spPr/>
    </dgm:pt>
    <dgm:pt modelId="{D5A0BCC6-8DE3-42E8-9E12-82A8403541B0}" type="pres">
      <dgm:prSet presAssocID="{21D1075B-740F-4DFE-9271-775B75FD39A9}" presName="rootConnector1" presStyleLbl="node1" presStyleIdx="0" presStyleCnt="0"/>
      <dgm:spPr/>
    </dgm:pt>
    <dgm:pt modelId="{2FC2C5CA-2E52-4B4C-B17E-0952FB52BE1C}" type="pres">
      <dgm:prSet presAssocID="{21D1075B-740F-4DFE-9271-775B75FD39A9}" presName="hierChild2" presStyleCnt="0"/>
      <dgm:spPr/>
    </dgm:pt>
    <dgm:pt modelId="{72947335-56DE-4644-BE4C-49FFE0919D63}" type="pres">
      <dgm:prSet presAssocID="{21D1075B-740F-4DFE-9271-775B75FD39A9}" presName="hierChild3" presStyleCnt="0"/>
      <dgm:spPr/>
    </dgm:pt>
  </dgm:ptLst>
  <dgm:cxnLst>
    <dgm:cxn modelId="{4AB38C03-C4CD-4162-BCCA-8BCA9755EDE7}" srcId="{A75538E7-840E-4EFF-9640-273D5C0F42D3}" destId="{A3315CD4-4C59-45B5-8200-3CEEDA9E4EB0}" srcOrd="0" destOrd="0" parTransId="{B963D241-03AF-49F3-AAD2-D833FD7D9AFF}" sibTransId="{3EBDA792-9897-45E6-86D7-347EECAC133F}"/>
    <dgm:cxn modelId="{2A9CEC31-D19D-4140-A75A-42B9BF30641C}" type="presOf" srcId="{A3315CD4-4C59-45B5-8200-3CEEDA9E4EB0}" destId="{3A0ED680-3D25-41E6-8FB7-F4E0B7906E57}" srcOrd="0" destOrd="0" presId="urn:microsoft.com/office/officeart/2005/8/layout/orgChart1"/>
    <dgm:cxn modelId="{8C81B366-61FD-42B9-9D26-A1994505616E}" type="presOf" srcId="{E6CA53BF-427B-4C64-ABCC-4BCBAD902E5B}" destId="{0E190B24-8360-4FFA-9B4F-4EB58E8A6070}" srcOrd="0" destOrd="0" presId="urn:microsoft.com/office/officeart/2005/8/layout/orgChart1"/>
    <dgm:cxn modelId="{D611586B-37E5-4456-9C23-6FC2C9CAE055}" type="presOf" srcId="{A75538E7-840E-4EFF-9640-273D5C0F42D3}" destId="{E7B7F08C-7A8D-4484-A6AA-879D12FFB82F}" srcOrd="0" destOrd="0" presId="urn:microsoft.com/office/officeart/2005/8/layout/orgChart1"/>
    <dgm:cxn modelId="{954AA885-CC50-4C5F-8327-673E69D6CF55}" type="presOf" srcId="{21D1075B-740F-4DFE-9271-775B75FD39A9}" destId="{D5A0BCC6-8DE3-42E8-9E12-82A8403541B0}" srcOrd="1" destOrd="0" presId="urn:microsoft.com/office/officeart/2005/8/layout/orgChart1"/>
    <dgm:cxn modelId="{28ED14B9-78D3-4420-99E4-37694505CACA}" type="presOf" srcId="{27DD27AA-59D2-40A4-9CA5-1393E8187524}" destId="{1E004766-02A6-4640-A8EC-5D620D74656A}" srcOrd="0" destOrd="0" presId="urn:microsoft.com/office/officeart/2005/8/layout/orgChart1"/>
    <dgm:cxn modelId="{1AD76DC6-4A85-47CB-B7C4-4067012C466C}" srcId="{A75538E7-840E-4EFF-9640-273D5C0F42D3}" destId="{21D1075B-740F-4DFE-9271-775B75FD39A9}" srcOrd="1" destOrd="0" parTransId="{4624B4B4-21C1-4B9E-A6B4-6187CE67EAD6}" sibTransId="{B183734E-F69B-451A-9084-FA5103C5B348}"/>
    <dgm:cxn modelId="{56B8AFDE-A1E5-4787-9BB1-ADD7A6645316}" type="presOf" srcId="{21D1075B-740F-4DFE-9271-775B75FD39A9}" destId="{1CAF8894-D585-4642-9794-91C1C1908F0A}" srcOrd="0" destOrd="0" presId="urn:microsoft.com/office/officeart/2005/8/layout/orgChart1"/>
    <dgm:cxn modelId="{8592C6DE-DD47-4494-B4C1-E75AAD04DAE8}" srcId="{A3315CD4-4C59-45B5-8200-3CEEDA9E4EB0}" destId="{E6CA53BF-427B-4C64-ABCC-4BCBAD902E5B}" srcOrd="0" destOrd="0" parTransId="{27DD27AA-59D2-40A4-9CA5-1393E8187524}" sibTransId="{206E0019-13A7-4E58-A59A-39C832D4516A}"/>
    <dgm:cxn modelId="{F46947DF-C9C4-4356-9FA9-D23AB9BD1AE5}" type="presOf" srcId="{A3315CD4-4C59-45B5-8200-3CEEDA9E4EB0}" destId="{7BC40DC8-CFE8-4F61-B4F4-3D684FA06A5A}" srcOrd="1" destOrd="0" presId="urn:microsoft.com/office/officeart/2005/8/layout/orgChart1"/>
    <dgm:cxn modelId="{3326E1F4-FD1E-48E4-9FD0-A3B9EBFD92E6}" type="presOf" srcId="{E6CA53BF-427B-4C64-ABCC-4BCBAD902E5B}" destId="{FE75A990-75B8-446A-836D-FA4CA5D2DBC3}" srcOrd="1" destOrd="0" presId="urn:microsoft.com/office/officeart/2005/8/layout/orgChart1"/>
    <dgm:cxn modelId="{1AAABE62-30F2-4F53-AF8D-E4FC13D078D7}" type="presParOf" srcId="{E7B7F08C-7A8D-4484-A6AA-879D12FFB82F}" destId="{55BE7D7E-3789-422B-8BAF-8C736892DE66}" srcOrd="0" destOrd="0" presId="urn:microsoft.com/office/officeart/2005/8/layout/orgChart1"/>
    <dgm:cxn modelId="{0C2DD92F-CBB8-4603-8F5A-4677E6BC3C5A}" type="presParOf" srcId="{55BE7D7E-3789-422B-8BAF-8C736892DE66}" destId="{FC539185-1FFB-4E7A-9EA7-402A5040EC51}" srcOrd="0" destOrd="0" presId="urn:microsoft.com/office/officeart/2005/8/layout/orgChart1"/>
    <dgm:cxn modelId="{F9360D46-2D7C-447A-B89A-E53F7D7CBCED}" type="presParOf" srcId="{FC539185-1FFB-4E7A-9EA7-402A5040EC51}" destId="{3A0ED680-3D25-41E6-8FB7-F4E0B7906E57}" srcOrd="0" destOrd="0" presId="urn:microsoft.com/office/officeart/2005/8/layout/orgChart1"/>
    <dgm:cxn modelId="{17F3FAE8-7D2F-4B29-9843-4DBB5EAC5694}" type="presParOf" srcId="{FC539185-1FFB-4E7A-9EA7-402A5040EC51}" destId="{7BC40DC8-CFE8-4F61-B4F4-3D684FA06A5A}" srcOrd="1" destOrd="0" presId="urn:microsoft.com/office/officeart/2005/8/layout/orgChart1"/>
    <dgm:cxn modelId="{F1543C2E-07BB-46E1-BB4B-015FCAFDDA92}" type="presParOf" srcId="{55BE7D7E-3789-422B-8BAF-8C736892DE66}" destId="{BB46E57B-45E2-4BB7-B0BB-292E5375C7DA}" srcOrd="1" destOrd="0" presId="urn:microsoft.com/office/officeart/2005/8/layout/orgChart1"/>
    <dgm:cxn modelId="{1B297C14-B74B-40C9-B590-1E9774041114}" type="presParOf" srcId="{BB46E57B-45E2-4BB7-B0BB-292E5375C7DA}" destId="{1E004766-02A6-4640-A8EC-5D620D74656A}" srcOrd="0" destOrd="0" presId="urn:microsoft.com/office/officeart/2005/8/layout/orgChart1"/>
    <dgm:cxn modelId="{85C038B9-F2F0-4C17-A50F-AD0B0425898E}" type="presParOf" srcId="{BB46E57B-45E2-4BB7-B0BB-292E5375C7DA}" destId="{BD31F7B7-23B7-4B58-A296-CD5CD13C6EA1}" srcOrd="1" destOrd="0" presId="urn:microsoft.com/office/officeart/2005/8/layout/orgChart1"/>
    <dgm:cxn modelId="{07810BC9-C421-444F-A97E-17FEAA4CECF7}" type="presParOf" srcId="{BD31F7B7-23B7-4B58-A296-CD5CD13C6EA1}" destId="{6C0B082B-3B0F-41D7-ACBB-29F8A965F7FA}" srcOrd="0" destOrd="0" presId="urn:microsoft.com/office/officeart/2005/8/layout/orgChart1"/>
    <dgm:cxn modelId="{7C93CB61-4B8E-4348-9202-B8D1448022F4}" type="presParOf" srcId="{6C0B082B-3B0F-41D7-ACBB-29F8A965F7FA}" destId="{0E190B24-8360-4FFA-9B4F-4EB58E8A6070}" srcOrd="0" destOrd="0" presId="urn:microsoft.com/office/officeart/2005/8/layout/orgChart1"/>
    <dgm:cxn modelId="{9D385244-767A-461D-A73A-3D7EFE4D161A}" type="presParOf" srcId="{6C0B082B-3B0F-41D7-ACBB-29F8A965F7FA}" destId="{FE75A990-75B8-446A-836D-FA4CA5D2DBC3}" srcOrd="1" destOrd="0" presId="urn:microsoft.com/office/officeart/2005/8/layout/orgChart1"/>
    <dgm:cxn modelId="{BA69D457-0742-4C68-93F0-1B0084F6EA11}" type="presParOf" srcId="{BD31F7B7-23B7-4B58-A296-CD5CD13C6EA1}" destId="{EE090483-7397-4787-A06C-3C8C51CC77B0}" srcOrd="1" destOrd="0" presId="urn:microsoft.com/office/officeart/2005/8/layout/orgChart1"/>
    <dgm:cxn modelId="{AC43A541-C4BB-414A-8407-C3B303AE7AB0}" type="presParOf" srcId="{BD31F7B7-23B7-4B58-A296-CD5CD13C6EA1}" destId="{66DB2D5A-96E7-4707-A9DE-891C4D1D5DA4}" srcOrd="2" destOrd="0" presId="urn:microsoft.com/office/officeart/2005/8/layout/orgChart1"/>
    <dgm:cxn modelId="{1EA98CC3-B30E-4C5A-A425-4301A18AC21D}" type="presParOf" srcId="{55BE7D7E-3789-422B-8BAF-8C736892DE66}" destId="{D14BFB60-F0A9-486B-A1F0-0150D085BB99}" srcOrd="2" destOrd="0" presId="urn:microsoft.com/office/officeart/2005/8/layout/orgChart1"/>
    <dgm:cxn modelId="{43435E90-E6C8-4724-9EED-0A39547C5022}" type="presParOf" srcId="{E7B7F08C-7A8D-4484-A6AA-879D12FFB82F}" destId="{A814198E-2A58-48DB-9FDB-2E72F5BD2DCC}" srcOrd="1" destOrd="0" presId="urn:microsoft.com/office/officeart/2005/8/layout/orgChart1"/>
    <dgm:cxn modelId="{AE9216D6-9CD8-4678-961D-099390CD874F}" type="presParOf" srcId="{A814198E-2A58-48DB-9FDB-2E72F5BD2DCC}" destId="{92C0473F-C788-4C25-80B0-8AD171536B23}" srcOrd="0" destOrd="0" presId="urn:microsoft.com/office/officeart/2005/8/layout/orgChart1"/>
    <dgm:cxn modelId="{25C18ABF-1CFA-464D-9C55-E6597A644CDB}" type="presParOf" srcId="{92C0473F-C788-4C25-80B0-8AD171536B23}" destId="{1CAF8894-D585-4642-9794-91C1C1908F0A}" srcOrd="0" destOrd="0" presId="urn:microsoft.com/office/officeart/2005/8/layout/orgChart1"/>
    <dgm:cxn modelId="{293CEA24-F252-45A9-B696-72DBED19B2DD}" type="presParOf" srcId="{92C0473F-C788-4C25-80B0-8AD171536B23}" destId="{D5A0BCC6-8DE3-42E8-9E12-82A8403541B0}" srcOrd="1" destOrd="0" presId="urn:microsoft.com/office/officeart/2005/8/layout/orgChart1"/>
    <dgm:cxn modelId="{7A00B394-7BEF-4BC3-9835-1781DFB08D62}" type="presParOf" srcId="{A814198E-2A58-48DB-9FDB-2E72F5BD2DCC}" destId="{2FC2C5CA-2E52-4B4C-B17E-0952FB52BE1C}" srcOrd="1" destOrd="0" presId="urn:microsoft.com/office/officeart/2005/8/layout/orgChart1"/>
    <dgm:cxn modelId="{77EE0B02-B52C-477F-8195-DF7D806E572D}" type="presParOf" srcId="{A814198E-2A58-48DB-9FDB-2E72F5BD2DCC}" destId="{72947335-56DE-4644-BE4C-49FFE0919D63}"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004766-02A6-4640-A8EC-5D620D74656A}">
      <dsp:nvSpPr>
        <dsp:cNvPr id="0" name=""/>
        <dsp:cNvSpPr/>
      </dsp:nvSpPr>
      <dsp:spPr>
        <a:xfrm>
          <a:off x="3908594" y="1885901"/>
          <a:ext cx="91440" cy="206410"/>
        </a:xfrm>
        <a:custGeom>
          <a:avLst/>
          <a:gdLst/>
          <a:ahLst/>
          <a:cxnLst/>
          <a:rect l="0" t="0" r="0" b="0"/>
          <a:pathLst>
            <a:path>
              <a:moveTo>
                <a:pt x="45720" y="0"/>
              </a:moveTo>
              <a:lnTo>
                <a:pt x="136446" y="0"/>
              </a:lnTo>
              <a:lnTo>
                <a:pt x="136446" y="2064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0ED680-3D25-41E6-8FB7-F4E0B7906E57}">
      <dsp:nvSpPr>
        <dsp:cNvPr id="0" name=""/>
        <dsp:cNvSpPr/>
      </dsp:nvSpPr>
      <dsp:spPr>
        <a:xfrm>
          <a:off x="2203661" y="1365701"/>
          <a:ext cx="3501306" cy="5201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nl-NL" sz="1600" kern="1200"/>
            <a:t>Operationele Stuurgroep   </a:t>
          </a:r>
        </a:p>
      </dsp:txBody>
      <dsp:txXfrm>
        <a:off x="2203661" y="1365701"/>
        <a:ext cx="3501306" cy="520199"/>
      </dsp:txXfrm>
    </dsp:sp>
    <dsp:sp modelId="{0E190B24-8360-4FFA-9B4F-4EB58E8A6070}">
      <dsp:nvSpPr>
        <dsp:cNvPr id="0" name=""/>
        <dsp:cNvSpPr/>
      </dsp:nvSpPr>
      <dsp:spPr>
        <a:xfrm>
          <a:off x="541927" y="2092311"/>
          <a:ext cx="7006227" cy="11849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nl-NL" sz="1600" b="1" kern="1200"/>
            <a:t>Programma team</a:t>
          </a:r>
        </a:p>
        <a:p>
          <a:pPr marL="0" lvl="0" indent="0" algn="ctr" defTabSz="711200">
            <a:lnSpc>
              <a:spcPct val="90000"/>
            </a:lnSpc>
            <a:spcBef>
              <a:spcPct val="0"/>
            </a:spcBef>
            <a:spcAft>
              <a:spcPct val="35000"/>
            </a:spcAft>
            <a:buNone/>
          </a:pPr>
          <a:r>
            <a:rPr lang="nl-NL" sz="1400" kern="1200"/>
            <a:t>Business en IT vertegenwoordiging</a:t>
          </a:r>
          <a:endParaRPr lang="nl-NL" sz="1800" kern="1200"/>
        </a:p>
      </dsp:txBody>
      <dsp:txXfrm>
        <a:off x="541927" y="2092311"/>
        <a:ext cx="7006227" cy="1184907"/>
      </dsp:txXfrm>
    </dsp:sp>
    <dsp:sp modelId="{1CAF8894-D585-4642-9794-91C1C1908F0A}">
      <dsp:nvSpPr>
        <dsp:cNvPr id="0" name=""/>
        <dsp:cNvSpPr/>
      </dsp:nvSpPr>
      <dsp:spPr>
        <a:xfrm>
          <a:off x="2276407" y="633349"/>
          <a:ext cx="3393881" cy="61248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nl-NL" sz="1800" kern="1200"/>
            <a:t> Stuurgroep Privacy </a:t>
          </a:r>
          <a:r>
            <a:rPr lang="nl-NL" sz="1800" kern="1200" err="1"/>
            <a:t>Deepdive</a:t>
          </a:r>
          <a:endParaRPr lang="nl-NL" sz="1800" kern="1200"/>
        </a:p>
      </dsp:txBody>
      <dsp:txXfrm>
        <a:off x="2276407" y="633349"/>
        <a:ext cx="3393881" cy="612481"/>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100">
                <a:solidFill>
                  <a:schemeClr val="tx1"/>
                </a:solidFill>
              </a:defRPr>
            </a:lvl1pPr>
          </a:lstStyle>
          <a:p>
            <a:endParaRPr lang="en-US"/>
          </a:p>
        </p:txBody>
      </p:sp>
      <p:sp>
        <p:nvSpPr>
          <p:cNvPr id="3" name="Tijdelijke aanduiding voor datum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100">
                <a:solidFill>
                  <a:schemeClr val="tx1"/>
                </a:solidFill>
              </a:defRPr>
            </a:lvl1pPr>
          </a:lstStyle>
          <a:p>
            <a:fld id="{0FE12DFE-DB15-48C5-BFFE-24FDEA646265}" type="datetimeFigureOut">
              <a:rPr lang="en-US" smtClean="0"/>
              <a:pPr/>
              <a:t>10/24/2023</a:t>
            </a:fld>
            <a:endParaRPr lang="en-US"/>
          </a:p>
        </p:txBody>
      </p:sp>
      <p:sp>
        <p:nvSpPr>
          <p:cNvPr id="4" name="Tijdelijke aanduiding voor dia-afbeelding 3"/>
          <p:cNvSpPr>
            <a:spLocks noGrp="1" noRot="1" noChangeAspect="1"/>
          </p:cNvSpPr>
          <p:nvPr>
            <p:ph type="sldImg" idx="2"/>
          </p:nvPr>
        </p:nvSpPr>
        <p:spPr>
          <a:xfrm>
            <a:off x="-736600" y="625475"/>
            <a:ext cx="8256588" cy="4645025"/>
          </a:xfrm>
          <a:prstGeom prst="rect">
            <a:avLst/>
          </a:prstGeom>
          <a:noFill/>
          <a:ln w="12700">
            <a:solidFill>
              <a:schemeClr val="accent3"/>
            </a:solidFill>
          </a:ln>
        </p:spPr>
        <p:txBody>
          <a:bodyPr vert="horz" lIns="91440" tIns="45720" rIns="91440" bIns="45720" rtlCol="0" anchor="ctr"/>
          <a:lstStyle/>
          <a:p>
            <a:pPr lvl="0"/>
            <a:endParaRPr lang="en-US"/>
          </a:p>
        </p:txBody>
      </p:sp>
      <p:sp>
        <p:nvSpPr>
          <p:cNvPr id="5" name="Tijdelijke aanduiding voor notities 4"/>
          <p:cNvSpPr>
            <a:spLocks noGrp="1"/>
          </p:cNvSpPr>
          <p:nvPr>
            <p:ph type="body" sz="quarter" idx="3"/>
          </p:nvPr>
        </p:nvSpPr>
        <p:spPr>
          <a:xfrm>
            <a:off x="565734" y="5400145"/>
            <a:ext cx="5651695" cy="3915489"/>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6" name="Tijdelijke aanduiding voor voettekst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100">
                <a:solidFill>
                  <a:schemeClr val="tx1"/>
                </a:solidFill>
              </a:defRPr>
            </a:lvl1pPr>
          </a:lstStyle>
          <a:p>
            <a:endParaRPr lang="en-US"/>
          </a:p>
        </p:txBody>
      </p:sp>
      <p:sp>
        <p:nvSpPr>
          <p:cNvPr id="7" name="Tijdelijke aanduiding voor dianumm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100">
                <a:solidFill>
                  <a:schemeClr val="tx1"/>
                </a:solidFill>
              </a:defRPr>
            </a:lvl1pPr>
          </a:lstStyle>
          <a:p>
            <a:fld id="{9B4B6BA6-8E77-4978-AC56-A3B9CDC28BA3}" type="slidenum">
              <a:rPr lang="en-US" smtClean="0"/>
              <a:pPr/>
              <a:t>‹#›</a:t>
            </a:fld>
            <a:endParaRPr lang="en-US"/>
          </a:p>
        </p:txBody>
      </p:sp>
    </p:spTree>
    <p:extLst>
      <p:ext uri="{BB962C8B-B14F-4D97-AF65-F5344CB8AC3E}">
        <p14:creationId xmlns:p14="http://schemas.microsoft.com/office/powerpoint/2010/main" val="2798434504"/>
      </p:ext>
    </p:extLst>
  </p:cSld>
  <p:clrMap bg1="lt1" tx1="dk1" bg2="lt2" tx2="dk2" accent1="accent1" accent2="accent2" accent3="accent3" accent4="accent4" accent5="accent5" accent6="accent6" hlink="hlink" folHlink="folHlink"/>
  <p:notesStyle>
    <a:lvl1pPr marL="0" algn="l" defTabSz="914400" rtl="0" eaLnBrk="1" latinLnBrk="0" hangingPunct="1">
      <a:defRPr lang="nl-NL" sz="1000" kern="1200" dirty="0" smtClean="0">
        <a:solidFill>
          <a:schemeClr val="tx1"/>
        </a:solidFill>
        <a:latin typeface="+mn-lt"/>
        <a:ea typeface="+mn-ea"/>
        <a:cs typeface="+mn-cs"/>
      </a:defRPr>
    </a:lvl1pPr>
    <a:lvl2pPr marL="457200" algn="l" defTabSz="914400" rtl="0" eaLnBrk="1" latinLnBrk="0" hangingPunct="1">
      <a:defRPr lang="nl-NL" sz="1000" kern="1200" dirty="0" smtClean="0">
        <a:solidFill>
          <a:schemeClr val="tx1"/>
        </a:solidFill>
        <a:latin typeface="+mn-lt"/>
        <a:ea typeface="+mn-ea"/>
        <a:cs typeface="+mn-cs"/>
      </a:defRPr>
    </a:lvl2pPr>
    <a:lvl3pPr marL="914400" algn="l" defTabSz="914400" rtl="0" eaLnBrk="1" latinLnBrk="0" hangingPunct="1">
      <a:defRPr lang="nl-NL" sz="1000" kern="1200" dirty="0" smtClean="0">
        <a:solidFill>
          <a:schemeClr val="tx1"/>
        </a:solidFill>
        <a:latin typeface="+mn-lt"/>
        <a:ea typeface="+mn-ea"/>
        <a:cs typeface="+mn-cs"/>
      </a:defRPr>
    </a:lvl3pPr>
    <a:lvl4pPr marL="1371600" algn="l" defTabSz="914400" rtl="0" eaLnBrk="1" latinLnBrk="0" hangingPunct="1">
      <a:defRPr lang="nl-NL" sz="1000" kern="1200" dirty="0" smtClean="0">
        <a:solidFill>
          <a:schemeClr val="tx1"/>
        </a:solidFill>
        <a:latin typeface="+mn-lt"/>
        <a:ea typeface="+mn-ea"/>
        <a:cs typeface="+mn-cs"/>
      </a:defRPr>
    </a:lvl4pPr>
    <a:lvl5pPr marL="1828800" algn="l" defTabSz="914400" rtl="0" eaLnBrk="1" latinLnBrk="0" hangingPunct="1">
      <a:defRPr lang="en-US" sz="1000" kern="1200" dirty="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88900" y="746125"/>
            <a:ext cx="6629400" cy="3729038"/>
          </a:xfrm>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900" baseline="0"/>
          </a:p>
        </p:txBody>
      </p:sp>
      <p:sp>
        <p:nvSpPr>
          <p:cNvPr id="4" name="Tijdelijke aanduiding voor dianummer 3"/>
          <p:cNvSpPr>
            <a:spLocks noGrp="1"/>
          </p:cNvSpPr>
          <p:nvPr>
            <p:ph type="sldNum" sz="quarter" idx="10"/>
          </p:nvPr>
        </p:nvSpPr>
        <p:spPr/>
        <p:txBody>
          <a:bodyPr/>
          <a:lstStyle/>
          <a:p>
            <a:fld id="{9B4B6BA6-8E77-4978-AC56-A3B9CDC28BA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124606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a:xfrm>
            <a:off x="552369" y="5343640"/>
            <a:ext cx="5798359" cy="263376"/>
          </a:xfrm>
        </p:spPr>
        <p:txBody>
          <a:bodyPr/>
          <a:lstStyle/>
          <a:p>
            <a:endParaRPr lang="nl-NL"/>
          </a:p>
        </p:txBody>
      </p:sp>
      <p:sp>
        <p:nvSpPr>
          <p:cNvPr id="4" name="Slide Number Placeholder 3"/>
          <p:cNvSpPr>
            <a:spLocks noGrp="1"/>
          </p:cNvSpPr>
          <p:nvPr>
            <p:ph type="sldNum" sz="quarter" idx="10"/>
          </p:nvPr>
        </p:nvSpPr>
        <p:spPr/>
        <p:txBody>
          <a:bodyPr/>
          <a:lstStyle/>
          <a:p>
            <a:pPr>
              <a:defRPr/>
            </a:pPr>
            <a:fld id="{D86C543C-907F-4ED4-9F73-87A9ED9DCECC}" type="slidenum">
              <a:rPr lang="nl-NL" smtClean="0">
                <a:solidFill>
                  <a:prstClr val="black"/>
                </a:solidFill>
              </a:rPr>
              <a:pPr>
                <a:defRPr/>
              </a:pPr>
              <a:t>5</a:t>
            </a:fld>
            <a:endParaRPr lang="nl-NL">
              <a:solidFill>
                <a:prstClr val="black"/>
              </a:solidFill>
            </a:endParaRPr>
          </a:p>
        </p:txBody>
      </p:sp>
    </p:spTree>
    <p:extLst>
      <p:ext uri="{BB962C8B-B14F-4D97-AF65-F5344CB8AC3E}">
        <p14:creationId xmlns:p14="http://schemas.microsoft.com/office/powerpoint/2010/main" val="14448282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5.xml"/><Relationship Id="rId5" Type="http://schemas.microsoft.com/office/2007/relationships/hdphoto" Target="../media/hdphoto2.wdp"/><Relationship Id="rId4" Type="http://schemas.openxmlformats.org/officeDocument/2006/relationships/image" Target="../media/image21.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5.xml"/><Relationship Id="rId5" Type="http://schemas.microsoft.com/office/2007/relationships/hdphoto" Target="../media/hdphoto4.wdp"/><Relationship Id="rId4" Type="http://schemas.openxmlformats.org/officeDocument/2006/relationships/image" Target="../media/image21.pn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23.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image" Target="../media/image12.tiff"/><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8.tiff"/><Relationship Id="rId5" Type="http://schemas.openxmlformats.org/officeDocument/2006/relationships/image" Target="../media/image13.tiff"/><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372926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1651" y="533569"/>
            <a:ext cx="11133221" cy="584775"/>
          </a:xfrm>
        </p:spPr>
        <p:txBody>
          <a:bodyPr>
            <a:spAutoFit/>
          </a:bodyPr>
          <a:lstStyle>
            <a:lvl1pPr>
              <a:defRPr>
                <a:solidFill>
                  <a:schemeClr val="tx1"/>
                </a:solidFill>
              </a:defRPr>
            </a:lvl1pPr>
          </a:lstStyle>
          <a:p>
            <a:r>
              <a:rPr lang="nl-NL" noProof="0"/>
              <a:t>Klik om de stijl te bewerken</a:t>
            </a:r>
          </a:p>
        </p:txBody>
      </p:sp>
      <p:sp>
        <p:nvSpPr>
          <p:cNvPr id="3" name="Content Placeholder 2"/>
          <p:cNvSpPr>
            <a:spLocks noGrp="1"/>
          </p:cNvSpPr>
          <p:nvPr>
            <p:ph sz="half" idx="1"/>
          </p:nvPr>
        </p:nvSpPr>
        <p:spPr>
          <a:xfrm>
            <a:off x="502654" y="1708486"/>
            <a:ext cx="11133220" cy="333065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28" name="Tekstvak 27"/>
          <p:cNvSpPr txBox="1"/>
          <p:nvPr userDrawn="1"/>
        </p:nvSpPr>
        <p:spPr>
          <a:xfrm>
            <a:off x="-113408" y="-421452"/>
            <a:ext cx="2714368" cy="338554"/>
          </a:xfrm>
          <a:prstGeom prst="rect">
            <a:avLst/>
          </a:prstGeom>
          <a:noFill/>
        </p:spPr>
        <p:txBody>
          <a:bodyPr wrap="square" rtlCol="0">
            <a:spAutoFit/>
          </a:bodyPr>
          <a:lstStyle/>
          <a:p>
            <a:r>
              <a:rPr lang="nl-NL" sz="1600" b="1" noProof="0">
                <a:solidFill>
                  <a:schemeClr val="tx1"/>
                </a:solidFill>
              </a:rPr>
              <a:t>Titel en Object</a:t>
            </a:r>
          </a:p>
        </p:txBody>
      </p:sp>
      <p:sp>
        <p:nvSpPr>
          <p:cNvPr id="100" name="Tijdelijke aanduiding voor tekst 99"/>
          <p:cNvSpPr>
            <a:spLocks noGrp="1"/>
          </p:cNvSpPr>
          <p:nvPr>
            <p:ph type="body" sz="quarter" idx="13" hasCustomPrompt="1"/>
          </p:nvPr>
        </p:nvSpPr>
        <p:spPr>
          <a:xfrm>
            <a:off x="501651" y="1134076"/>
            <a:ext cx="11133667" cy="355600"/>
          </a:xfrm>
        </p:spPr>
        <p:txBody>
          <a:bodyPr/>
          <a:lstStyle>
            <a:lvl1pPr>
              <a:defRPr>
                <a:solidFill>
                  <a:schemeClr val="tx1"/>
                </a:solidFill>
              </a:defRPr>
            </a:lvl1pPr>
          </a:lstStyle>
          <a:p>
            <a:pPr lvl="0"/>
            <a:r>
              <a:rPr lang="nl-NL" noProof="0"/>
              <a:t>Subtitel</a:t>
            </a:r>
          </a:p>
        </p:txBody>
      </p:sp>
      <p:sp>
        <p:nvSpPr>
          <p:cNvPr id="119" name="Content Placeholder 2"/>
          <p:cNvSpPr>
            <a:spLocks noGrp="1"/>
          </p:cNvSpPr>
          <p:nvPr>
            <p:ph sz="half" idx="14"/>
          </p:nvPr>
        </p:nvSpPr>
        <p:spPr>
          <a:xfrm>
            <a:off x="502654" y="5172796"/>
            <a:ext cx="11133220" cy="276999"/>
          </a:xfrm>
        </p:spPr>
        <p:txBody>
          <a:bodyPr>
            <a:sp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Klik om de modelstijlen te bewerken</a:t>
            </a:r>
          </a:p>
        </p:txBody>
      </p:sp>
      <p:grpSp>
        <p:nvGrpSpPr>
          <p:cNvPr id="4" name="Groep 3"/>
          <p:cNvGrpSpPr/>
          <p:nvPr userDrawn="1"/>
        </p:nvGrpSpPr>
        <p:grpSpPr>
          <a:xfrm>
            <a:off x="-3471145" y="-46322"/>
            <a:ext cx="3471145" cy="3781320"/>
            <a:chOff x="-2603359" y="-46322"/>
            <a:chExt cx="2603359" cy="3781320"/>
          </a:xfrm>
        </p:grpSpPr>
        <p:sp>
          <p:nvSpPr>
            <p:cNvPr id="121" name="Afgeronde rechthoek 120"/>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122"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123"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124"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125"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126" name="Afgeronde rechthoek 125"/>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127" name="Rechthoek 126"/>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128" name="Rechte verbindingslijn 127"/>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30"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31"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32"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33"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34"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35" name="Afgeronde rechthoek 134"/>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36"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37"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38"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39"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40"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grpSp>
        <p:nvGrpSpPr>
          <p:cNvPr id="141" name="Groep 140"/>
          <p:cNvGrpSpPr/>
          <p:nvPr userDrawn="1"/>
        </p:nvGrpSpPr>
        <p:grpSpPr>
          <a:xfrm>
            <a:off x="-3279573" y="5020705"/>
            <a:ext cx="3086613" cy="1841358"/>
            <a:chOff x="8427776" y="4654945"/>
            <a:chExt cx="2314960" cy="1841358"/>
          </a:xfrm>
        </p:grpSpPr>
        <p:grpSp>
          <p:nvGrpSpPr>
            <p:cNvPr id="142" name="Groep 141"/>
            <p:cNvGrpSpPr/>
            <p:nvPr userDrawn="1"/>
          </p:nvGrpSpPr>
          <p:grpSpPr>
            <a:xfrm>
              <a:off x="8432864" y="4781014"/>
              <a:ext cx="2309872" cy="1592662"/>
              <a:chOff x="-3092517" y="-83840"/>
              <a:chExt cx="3136706" cy="2509126"/>
            </a:xfrm>
          </p:grpSpPr>
          <p:sp>
            <p:nvSpPr>
              <p:cNvPr id="145"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46" name="Ovaal 145"/>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147" name="Ovaal 146"/>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148" name="Ovaal 147"/>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149"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50"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51"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152" name="Ovaal 151"/>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153" name="Ovaal 152"/>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154"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143" name="Rechte verbindingslijn 142"/>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Rechte verbindingslijn 143"/>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a:p>
        </p:txBody>
      </p:sp>
      <p:sp>
        <p:nvSpPr>
          <p:cNvPr id="45"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smtClean="0"/>
              <a:pPr/>
              <a:t>‹#›</a:t>
            </a:fld>
            <a:endParaRPr lang="nl-NL"/>
          </a:p>
        </p:txBody>
      </p:sp>
    </p:spTree>
    <p:extLst>
      <p:ext uri="{BB962C8B-B14F-4D97-AF65-F5344CB8AC3E}">
        <p14:creationId xmlns:p14="http://schemas.microsoft.com/office/powerpoint/2010/main" val="33371372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oud van twee - cyaan">
    <p:spTree>
      <p:nvGrpSpPr>
        <p:cNvPr id="1" name=""/>
        <p:cNvGrpSpPr/>
        <p:nvPr/>
      </p:nvGrpSpPr>
      <p:grpSpPr>
        <a:xfrm>
          <a:off x="0" y="0"/>
          <a:ext cx="0" cy="0"/>
          <a:chOff x="0" y="0"/>
          <a:chExt cx="0" cy="0"/>
        </a:xfrm>
      </p:grpSpPr>
      <p:grpSp>
        <p:nvGrpSpPr>
          <p:cNvPr id="10" name="Groep 9"/>
          <p:cNvGrpSpPr/>
          <p:nvPr userDrawn="1"/>
        </p:nvGrpSpPr>
        <p:grpSpPr>
          <a:xfrm>
            <a:off x="8026593" y="1542429"/>
            <a:ext cx="3609281" cy="4466381"/>
            <a:chOff x="6014916" y="1922985"/>
            <a:chExt cx="2706961" cy="4466381"/>
          </a:xfrm>
          <a:solidFill>
            <a:schemeClr val="accent6"/>
          </a:solidFill>
        </p:grpSpPr>
        <p:sp>
          <p:nvSpPr>
            <p:cNvPr id="11" name="Vrije vorm 10"/>
            <p:cNvSpPr/>
            <p:nvPr/>
          </p:nvSpPr>
          <p:spPr>
            <a:xfrm>
              <a:off x="8377238" y="1922985"/>
              <a:ext cx="344639" cy="337506"/>
            </a:xfrm>
            <a:custGeom>
              <a:avLst/>
              <a:gdLst>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79937 w 2607128"/>
                <a:gd name="connsiteY7" fmla="*/ 176943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64946 w 2607128"/>
                <a:gd name="connsiteY7" fmla="*/ 181940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264946 w 2607128"/>
                <a:gd name="connsiteY6" fmla="*/ 181940 h 279788"/>
                <a:gd name="connsiteX7" fmla="*/ 2404269 w 2607128"/>
                <a:gd name="connsiteY7" fmla="*/ 111570 h 279788"/>
                <a:gd name="connsiteX8" fmla="*/ 2563503 w 2607128"/>
                <a:gd name="connsiteY8" fmla="*/ 436 h 279788"/>
                <a:gd name="connsiteX9" fmla="*/ 2570319 w 2607128"/>
                <a:gd name="connsiteY9" fmla="*/ 95 h 279788"/>
                <a:gd name="connsiteX0" fmla="*/ 305373 w 342182"/>
                <a:gd name="connsiteY0" fmla="*/ 95 h 279788"/>
                <a:gd name="connsiteX1" fmla="*/ 342182 w 342182"/>
                <a:gd name="connsiteY1" fmla="*/ 76704 h 279788"/>
                <a:gd name="connsiteX2" fmla="*/ 342182 w 342182"/>
                <a:gd name="connsiteY2" fmla="*/ 279788 h 279788"/>
                <a:gd name="connsiteX3" fmla="*/ 339262 w 342182"/>
                <a:gd name="connsiteY3" fmla="*/ 265325 h 279788"/>
                <a:gd name="connsiteX4" fmla="*/ 213326 w 342182"/>
                <a:gd name="connsiteY4" fmla="*/ 181849 h 279788"/>
                <a:gd name="connsiteX5" fmla="*/ 0 w 342182"/>
                <a:gd name="connsiteY5" fmla="*/ 181940 h 279788"/>
                <a:gd name="connsiteX6" fmla="*/ 139323 w 342182"/>
                <a:gd name="connsiteY6" fmla="*/ 111570 h 279788"/>
                <a:gd name="connsiteX7" fmla="*/ 298557 w 342182"/>
                <a:gd name="connsiteY7" fmla="*/ 436 h 279788"/>
                <a:gd name="connsiteX8" fmla="*/ 305373 w 342182"/>
                <a:gd name="connsiteY8" fmla="*/ 95 h 279788"/>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65325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41681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4424 w 347020"/>
                <a:gd name="connsiteY3" fmla="*/ 267744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4639"/>
                <a:gd name="connsiteY0" fmla="*/ 95 h 337506"/>
                <a:gd name="connsiteX1" fmla="*/ 342182 w 344639"/>
                <a:gd name="connsiteY1" fmla="*/ 76704 h 337506"/>
                <a:gd name="connsiteX2" fmla="*/ 344639 w 344639"/>
                <a:gd name="connsiteY2" fmla="*/ 337506 h 337506"/>
                <a:gd name="connsiteX3" fmla="*/ 334424 w 344639"/>
                <a:gd name="connsiteY3" fmla="*/ 267744 h 337506"/>
                <a:gd name="connsiteX4" fmla="*/ 213326 w 344639"/>
                <a:gd name="connsiteY4" fmla="*/ 181849 h 337506"/>
                <a:gd name="connsiteX5" fmla="*/ 0 w 344639"/>
                <a:gd name="connsiteY5" fmla="*/ 181940 h 337506"/>
                <a:gd name="connsiteX6" fmla="*/ 139323 w 344639"/>
                <a:gd name="connsiteY6" fmla="*/ 111570 h 337506"/>
                <a:gd name="connsiteX7" fmla="*/ 298557 w 344639"/>
                <a:gd name="connsiteY7" fmla="*/ 436 h 337506"/>
                <a:gd name="connsiteX8" fmla="*/ 305373 w 344639"/>
                <a:gd name="connsiteY8" fmla="*/ 95 h 33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639" h="337506">
                  <a:moveTo>
                    <a:pt x="305373" y="95"/>
                  </a:moveTo>
                  <a:cubicBezTo>
                    <a:pt x="317643" y="1117"/>
                    <a:pt x="342182" y="11331"/>
                    <a:pt x="342182" y="76704"/>
                  </a:cubicBezTo>
                  <a:cubicBezTo>
                    <a:pt x="343795" y="156494"/>
                    <a:pt x="343026" y="257716"/>
                    <a:pt x="344639" y="337506"/>
                  </a:cubicBezTo>
                  <a:cubicBezTo>
                    <a:pt x="340440" y="321396"/>
                    <a:pt x="338623" y="283854"/>
                    <a:pt x="334424" y="267744"/>
                  </a:cubicBezTo>
                  <a:cubicBezTo>
                    <a:pt x="313676" y="218689"/>
                    <a:pt x="269940" y="181849"/>
                    <a:pt x="213326" y="181849"/>
                  </a:cubicBezTo>
                  <a:lnTo>
                    <a:pt x="0" y="181940"/>
                  </a:lnTo>
                  <a:cubicBezTo>
                    <a:pt x="0" y="181940"/>
                    <a:pt x="100061" y="170406"/>
                    <a:pt x="139323" y="111570"/>
                  </a:cubicBezTo>
                  <a:cubicBezTo>
                    <a:pt x="139323" y="111570"/>
                    <a:pt x="235299" y="436"/>
                    <a:pt x="298557" y="436"/>
                  </a:cubicBezTo>
                  <a:cubicBezTo>
                    <a:pt x="298557" y="436"/>
                    <a:pt x="301284" y="-245"/>
                    <a:pt x="305373" y="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2" name="Afgeronde rechthoek 11"/>
            <p:cNvSpPr/>
            <p:nvPr/>
          </p:nvSpPr>
          <p:spPr>
            <a:xfrm>
              <a:off x="6014916" y="2088295"/>
              <a:ext cx="2706885" cy="4301071"/>
            </a:xfrm>
            <a:prstGeom prst="roundRect">
              <a:avLst>
                <a:gd name="adj" fmla="val 481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8" name="Afgeronde rechthoek 7"/>
          <p:cNvSpPr/>
          <p:nvPr userDrawn="1"/>
        </p:nvSpPr>
        <p:spPr>
          <a:xfrm>
            <a:off x="658302" y="1708486"/>
            <a:ext cx="7136801" cy="4268241"/>
          </a:xfrm>
          <a:prstGeom prst="roundRect">
            <a:avLst>
              <a:gd name="adj" fmla="val 3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 name="Title 1"/>
          <p:cNvSpPr>
            <a:spLocks noGrp="1"/>
          </p:cNvSpPr>
          <p:nvPr>
            <p:ph type="title"/>
          </p:nvPr>
        </p:nvSpPr>
        <p:spPr>
          <a:xfrm>
            <a:off x="502652" y="533569"/>
            <a:ext cx="11133221" cy="584775"/>
          </a:xfrm>
        </p:spPr>
        <p:txBody>
          <a:bodyPr>
            <a:spAutoFit/>
          </a:bodyPr>
          <a:lstStyle>
            <a:lvl1pPr>
              <a:defRPr>
                <a:solidFill>
                  <a:schemeClr val="accent6"/>
                </a:solidFill>
              </a:defRPr>
            </a:lvl1pPr>
          </a:lstStyle>
          <a:p>
            <a:r>
              <a:rPr lang="nl-NL" noProof="0"/>
              <a:t>Klik om de stijl te bewerken</a:t>
            </a:r>
          </a:p>
        </p:txBody>
      </p:sp>
      <p:sp>
        <p:nvSpPr>
          <p:cNvPr id="13" name="Tekstvak 12"/>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Inhoud van twee</a:t>
            </a:r>
            <a:r>
              <a:rPr lang="nl-NL" sz="1600" b="1" baseline="0" noProof="0">
                <a:solidFill>
                  <a:schemeClr val="tx1"/>
                </a:solidFill>
              </a:rPr>
              <a:t> - cyaan</a:t>
            </a:r>
            <a:endParaRPr lang="nl-NL" sz="1600" b="1" noProof="0">
              <a:solidFill>
                <a:schemeClr val="tx1"/>
              </a:solidFill>
            </a:endParaRPr>
          </a:p>
        </p:txBody>
      </p:sp>
      <p:sp>
        <p:nvSpPr>
          <p:cNvPr id="46"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47" name="Content Placeholder 2"/>
          <p:cNvSpPr>
            <a:spLocks noGrp="1"/>
          </p:cNvSpPr>
          <p:nvPr>
            <p:ph sz="half" idx="1"/>
          </p:nvPr>
        </p:nvSpPr>
        <p:spPr>
          <a:xfrm>
            <a:off x="762066" y="1708486"/>
            <a:ext cx="6916300" cy="389718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48" name="Content Placeholder 3"/>
          <p:cNvSpPr>
            <a:spLocks noGrp="1"/>
          </p:cNvSpPr>
          <p:nvPr>
            <p:ph sz="half" idx="2"/>
          </p:nvPr>
        </p:nvSpPr>
        <p:spPr bwMode="gray">
          <a:xfrm>
            <a:off x="8130359" y="1708485"/>
            <a:ext cx="3387191" cy="307777"/>
          </a:xfrm>
        </p:spPr>
        <p:txBody>
          <a:bodyPr>
            <a:spAutoFit/>
          </a:bodyPr>
          <a:lstStyle>
            <a:lvl1pP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p:txBody>
      </p:sp>
      <p:sp>
        <p:nvSpPr>
          <p:cNvPr id="50" name="Content Placeholder 3"/>
          <p:cNvSpPr>
            <a:spLocks noGrp="1"/>
          </p:cNvSpPr>
          <p:nvPr>
            <p:ph sz="half" idx="15"/>
          </p:nvPr>
        </p:nvSpPr>
        <p:spPr bwMode="gray">
          <a:xfrm>
            <a:off x="8130359" y="2315817"/>
            <a:ext cx="3387191" cy="3766524"/>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grpSp>
        <p:nvGrpSpPr>
          <p:cNvPr id="72" name="Groep 71"/>
          <p:cNvGrpSpPr/>
          <p:nvPr userDrawn="1"/>
        </p:nvGrpSpPr>
        <p:grpSpPr>
          <a:xfrm>
            <a:off x="-3279573" y="5020705"/>
            <a:ext cx="3086613" cy="1841358"/>
            <a:chOff x="8427776" y="4654945"/>
            <a:chExt cx="2314960" cy="1841358"/>
          </a:xfrm>
        </p:grpSpPr>
        <p:grpSp>
          <p:nvGrpSpPr>
            <p:cNvPr id="73" name="Groep 72"/>
            <p:cNvGrpSpPr/>
            <p:nvPr userDrawn="1"/>
          </p:nvGrpSpPr>
          <p:grpSpPr>
            <a:xfrm>
              <a:off x="8432864" y="4781014"/>
              <a:ext cx="2309872" cy="1592662"/>
              <a:chOff x="-3092517" y="-83840"/>
              <a:chExt cx="3136706" cy="2509126"/>
            </a:xfrm>
          </p:grpSpPr>
          <p:sp>
            <p:nvSpPr>
              <p:cNvPr id="76"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7" name="Ovaal 76"/>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78" name="Ovaal 77"/>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79" name="Ovaal 78"/>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0"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1"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2"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3" name="Ovaal 82"/>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84" name="Ovaal 83"/>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85"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74" name="Rechte verbindingslijn 73"/>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Rechte verbindingslijn 74"/>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87"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88" name="Tijdelijke aanduiding voor tekst 46"/>
          <p:cNvSpPr>
            <a:spLocks noGrp="1"/>
          </p:cNvSpPr>
          <p:nvPr userDrawn="1">
            <p:ph type="body" sz="quarter" idx="14" hasCustomPrompt="1"/>
          </p:nvPr>
        </p:nvSpPr>
        <p:spPr>
          <a:xfrm>
            <a:off x="762066" y="5611213"/>
            <a:ext cx="6916300" cy="476671"/>
          </a:xfrm>
        </p:spPr>
        <p:txBody>
          <a:bodyPr/>
          <a:lstStyle>
            <a:lvl1pPr>
              <a:lnSpc>
                <a:spcPts val="1100"/>
              </a:lnSpc>
              <a:defRPr sz="1000" i="1">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Legenda</a:t>
            </a:r>
          </a:p>
        </p:txBody>
      </p:sp>
      <p:grpSp>
        <p:nvGrpSpPr>
          <p:cNvPr id="89" name="Groep 88"/>
          <p:cNvGrpSpPr/>
          <p:nvPr userDrawn="1"/>
        </p:nvGrpSpPr>
        <p:grpSpPr>
          <a:xfrm>
            <a:off x="-3471145" y="-46322"/>
            <a:ext cx="3471145" cy="3781320"/>
            <a:chOff x="-2603359" y="-46322"/>
            <a:chExt cx="2603359" cy="3781320"/>
          </a:xfrm>
        </p:grpSpPr>
        <p:sp>
          <p:nvSpPr>
            <p:cNvPr id="90" name="Afgeronde rechthoek 89"/>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91"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92"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93"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95" name="Afgeronde rechthoek 94"/>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96" name="Rechthoek 95"/>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97" name="Rechte verbindingslijn 96"/>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99"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0"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1"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2"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03"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04" name="Afgeronde rechthoek 103"/>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05"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6"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7"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08"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09"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7062077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EL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CF5872B9-550B-4CC1-9739-3BE576E17868}"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ABEL 2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1" y="1459112"/>
            <a:ext cx="5015239" cy="4119774"/>
          </a:xfrm>
          <a:solidFill>
            <a:schemeClr val="bg1">
              <a:lumMod val="95000"/>
            </a:schemeClr>
          </a:solidFill>
        </p:spPr>
        <p:txBody>
          <a:bodyPr tIns="16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14" name="Tijdelijke aanduiding voor tabel 8">
            <a:extLst>
              <a:ext uri="{FF2B5EF4-FFF2-40B4-BE49-F238E27FC236}">
                <a16:creationId xmlns:a16="http://schemas.microsoft.com/office/drawing/2014/main" id="{A226F564-B653-436B-A00E-574B5C7449F3}"/>
              </a:ext>
            </a:extLst>
          </p:cNvPr>
          <p:cNvSpPr>
            <a:spLocks noGrp="1"/>
          </p:cNvSpPr>
          <p:nvPr>
            <p:ph type="tbl" sz="quarter" idx="18" hasCustomPrompt="1"/>
          </p:nvPr>
        </p:nvSpPr>
        <p:spPr>
          <a:xfrm>
            <a:off x="540380" y="1459112"/>
            <a:ext cx="5015239" cy="4119774"/>
          </a:xfrm>
          <a:solidFill>
            <a:schemeClr val="bg1">
              <a:lumMod val="95000"/>
            </a:schemeClr>
          </a:solidFill>
        </p:spPr>
        <p:txBody>
          <a:bodyPr tIns="16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45" name="Instructie">
            <a:extLst>
              <a:ext uri="{FF2B5EF4-FFF2-40B4-BE49-F238E27FC236}">
                <a16:creationId xmlns:a16="http://schemas.microsoft.com/office/drawing/2014/main" id="{8A0C0D31-D75C-446A-BB9E-A076D8C77657}"/>
              </a:ext>
            </a:extLst>
          </p:cNvPr>
          <p:cNvGrpSpPr/>
          <p:nvPr userDrawn="1"/>
        </p:nvGrpSpPr>
        <p:grpSpPr>
          <a:xfrm>
            <a:off x="12391601" y="0"/>
            <a:ext cx="3183677" cy="2499789"/>
            <a:chOff x="12391601" y="0"/>
            <a:chExt cx="3183677" cy="2499789"/>
          </a:xfrm>
        </p:grpSpPr>
        <p:sp>
          <p:nvSpPr>
            <p:cNvPr id="46" name="Rechthoek 45">
              <a:extLst>
                <a:ext uri="{FF2B5EF4-FFF2-40B4-BE49-F238E27FC236}">
                  <a16:creationId xmlns:a16="http://schemas.microsoft.com/office/drawing/2014/main" id="{B91290DC-856A-433E-BFD5-F7E7E9C60F3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47" name="Ovaal 46">
              <a:extLst>
                <a:ext uri="{FF2B5EF4-FFF2-40B4-BE49-F238E27FC236}">
                  <a16:creationId xmlns:a16="http://schemas.microsoft.com/office/drawing/2014/main" id="{70CC8C3A-960B-4D17-9755-4A2479A43500}"/>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8" name="Rechte verbindingslijn 47">
              <a:extLst>
                <a:ext uri="{FF2B5EF4-FFF2-40B4-BE49-F238E27FC236}">
                  <a16:creationId xmlns:a16="http://schemas.microsoft.com/office/drawing/2014/main" id="{2B36F137-5F0D-4ADC-80FB-927F46A8EA1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9" name="Rechte verbindingslijn 48">
              <a:extLst>
                <a:ext uri="{FF2B5EF4-FFF2-40B4-BE49-F238E27FC236}">
                  <a16:creationId xmlns:a16="http://schemas.microsoft.com/office/drawing/2014/main" id="{B931654A-0EC1-49B4-8053-F30B802B63B1}"/>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50" name="Rechthoek 49">
              <a:extLst>
                <a:ext uri="{FF2B5EF4-FFF2-40B4-BE49-F238E27FC236}">
                  <a16:creationId xmlns:a16="http://schemas.microsoft.com/office/drawing/2014/main" id="{F5CA018A-CCA7-425F-97A0-BD3B72B22C3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51" name="Ovaal 50">
              <a:extLst>
                <a:ext uri="{FF2B5EF4-FFF2-40B4-BE49-F238E27FC236}">
                  <a16:creationId xmlns:a16="http://schemas.microsoft.com/office/drawing/2014/main" id="{C90BF624-314A-4C15-A3AE-64C4AE648F50}"/>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52" name="Rechthoek 51">
              <a:extLst>
                <a:ext uri="{FF2B5EF4-FFF2-40B4-BE49-F238E27FC236}">
                  <a16:creationId xmlns:a16="http://schemas.microsoft.com/office/drawing/2014/main" id="{CB5C31F9-49E1-4FFD-8549-ECA3E5901AC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53" name="Groep 52">
              <a:extLst>
                <a:ext uri="{FF2B5EF4-FFF2-40B4-BE49-F238E27FC236}">
                  <a16:creationId xmlns:a16="http://schemas.microsoft.com/office/drawing/2014/main" id="{30BA01A7-81DD-4656-A23E-F192B0BE5E03}"/>
                </a:ext>
              </a:extLst>
            </p:cNvPr>
            <p:cNvGrpSpPr/>
            <p:nvPr userDrawn="1"/>
          </p:nvGrpSpPr>
          <p:grpSpPr>
            <a:xfrm>
              <a:off x="12757282" y="2184550"/>
              <a:ext cx="825500" cy="209550"/>
              <a:chOff x="13504624" y="2482850"/>
              <a:chExt cx="825500" cy="209550"/>
            </a:xfrm>
          </p:grpSpPr>
          <p:sp>
            <p:nvSpPr>
              <p:cNvPr id="64" name="Rechthoek 63">
                <a:extLst>
                  <a:ext uri="{FF2B5EF4-FFF2-40B4-BE49-F238E27FC236}">
                    <a16:creationId xmlns:a16="http://schemas.microsoft.com/office/drawing/2014/main" id="{1E736A58-EB82-4B13-9BB8-BAFBD0A520D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65" name="Rechte verbindingslijn 64">
                <a:extLst>
                  <a:ext uri="{FF2B5EF4-FFF2-40B4-BE49-F238E27FC236}">
                    <a16:creationId xmlns:a16="http://schemas.microsoft.com/office/drawing/2014/main" id="{8F907CA0-E66A-4404-B31E-EE3522B7D8E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66" name="Gelijkbenige driehoek 65">
                <a:extLst>
                  <a:ext uri="{FF2B5EF4-FFF2-40B4-BE49-F238E27FC236}">
                    <a16:creationId xmlns:a16="http://schemas.microsoft.com/office/drawing/2014/main" id="{5B071A01-3045-476F-BDF5-D617A1657D1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54" name="Rechte verbindingslijn 53">
              <a:extLst>
                <a:ext uri="{FF2B5EF4-FFF2-40B4-BE49-F238E27FC236}">
                  <a16:creationId xmlns:a16="http://schemas.microsoft.com/office/drawing/2014/main" id="{8701935B-ED1E-42CF-BFCB-40C74CDC616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5" name="Tabel icoon">
              <a:extLst>
                <a:ext uri="{FF2B5EF4-FFF2-40B4-BE49-F238E27FC236}">
                  <a16:creationId xmlns:a16="http://schemas.microsoft.com/office/drawing/2014/main" id="{7F103449-72D5-4E5E-A74E-E20BBA11BF27}"/>
                </a:ext>
              </a:extLst>
            </p:cNvPr>
            <p:cNvGrpSpPr/>
            <p:nvPr userDrawn="1"/>
          </p:nvGrpSpPr>
          <p:grpSpPr>
            <a:xfrm>
              <a:off x="12757283" y="1133664"/>
              <a:ext cx="375500" cy="339168"/>
              <a:chOff x="6072040" y="3376043"/>
              <a:chExt cx="1227920" cy="1109109"/>
            </a:xfrm>
          </p:grpSpPr>
          <p:sp>
            <p:nvSpPr>
              <p:cNvPr id="56" name="Rechthoek 55">
                <a:extLst>
                  <a:ext uri="{FF2B5EF4-FFF2-40B4-BE49-F238E27FC236}">
                    <a16:creationId xmlns:a16="http://schemas.microsoft.com/office/drawing/2014/main" id="{F25AF511-6A90-4A1C-95A5-720F9DC59D8F}"/>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57" name="Rechthoek 56">
                <a:extLst>
                  <a:ext uri="{FF2B5EF4-FFF2-40B4-BE49-F238E27FC236}">
                    <a16:creationId xmlns:a16="http://schemas.microsoft.com/office/drawing/2014/main" id="{437D3D54-530E-4568-ACDA-E74DC82FB04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58" name="Rechte verbindingslijn 57">
                <a:extLst>
                  <a:ext uri="{FF2B5EF4-FFF2-40B4-BE49-F238E27FC236}">
                    <a16:creationId xmlns:a16="http://schemas.microsoft.com/office/drawing/2014/main" id="{DF9254E2-11B8-4621-B19A-737008A6D0A3}"/>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9" name="Rechte verbindingslijn 58">
                <a:extLst>
                  <a:ext uri="{FF2B5EF4-FFF2-40B4-BE49-F238E27FC236}">
                    <a16:creationId xmlns:a16="http://schemas.microsoft.com/office/drawing/2014/main" id="{2AD9DDE3-43CC-4A25-9142-864E7BC1A68D}"/>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0E7D6EE7-389B-469B-B664-3F09DA01611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D805E76C-5B31-4B5C-84AA-31CE6A29789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90891540-F250-4BD9-ABE7-74D25A6D2012}"/>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F1B0D6FD-047A-48FB-852A-E861943C4035}"/>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20812300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EL 6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34D46D2F-812F-4989-981C-2673365C7FDB}"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ABEL 6X</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0" y="333899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7828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BAA97654-86F5-45C9-B8DC-C6648BCE9369}"/>
                </a:ext>
              </a:extLst>
            </p:cNvPr>
            <p:cNvSpPr/>
            <p:nvPr userDrawn="1"/>
          </p:nvSpPr>
          <p:spPr>
            <a:xfrm>
              <a:off x="4004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0" name="Tijdelijke aanduiding voor tabel 8">
            <a:extLst>
              <a:ext uri="{FF2B5EF4-FFF2-40B4-BE49-F238E27FC236}">
                <a16:creationId xmlns:a16="http://schemas.microsoft.com/office/drawing/2014/main" id="{80107622-679C-4B64-AA31-F30D636B17F5}"/>
              </a:ext>
            </a:extLst>
          </p:cNvPr>
          <p:cNvSpPr>
            <a:spLocks noGrp="1"/>
          </p:cNvSpPr>
          <p:nvPr>
            <p:ph type="tbl" sz="quarter" idx="17" hasCustomPrompt="1"/>
          </p:nvPr>
        </p:nvSpPr>
        <p:spPr>
          <a:xfrm>
            <a:off x="539748" y="1459112"/>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34" name="Tijdelijke aanduiding voor tabel 8">
            <a:extLst>
              <a:ext uri="{FF2B5EF4-FFF2-40B4-BE49-F238E27FC236}">
                <a16:creationId xmlns:a16="http://schemas.microsoft.com/office/drawing/2014/main" id="{182F6DBE-CDDA-4656-9BC7-F8AE251C1B1B}"/>
              </a:ext>
            </a:extLst>
          </p:cNvPr>
          <p:cNvSpPr>
            <a:spLocks noGrp="1"/>
          </p:cNvSpPr>
          <p:nvPr>
            <p:ph type="tbl" sz="quarter" idx="18" hasCustomPrompt="1"/>
          </p:nvPr>
        </p:nvSpPr>
        <p:spPr>
          <a:xfrm>
            <a:off x="4363747" y="1459112"/>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1" name="Tijdelijke aanduiding voor tabel 8">
            <a:extLst>
              <a:ext uri="{FF2B5EF4-FFF2-40B4-BE49-F238E27FC236}">
                <a16:creationId xmlns:a16="http://schemas.microsoft.com/office/drawing/2014/main" id="{15D495A5-2912-4282-BCD4-3A183BAFFDCB}"/>
              </a:ext>
            </a:extLst>
          </p:cNvPr>
          <p:cNvSpPr>
            <a:spLocks noGrp="1"/>
          </p:cNvSpPr>
          <p:nvPr>
            <p:ph type="tbl" sz="quarter" idx="19" hasCustomPrompt="1"/>
          </p:nvPr>
        </p:nvSpPr>
        <p:spPr>
          <a:xfrm>
            <a:off x="8187745" y="1459112"/>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2" name="Tijdelijke aanduiding voor tabel 8">
            <a:extLst>
              <a:ext uri="{FF2B5EF4-FFF2-40B4-BE49-F238E27FC236}">
                <a16:creationId xmlns:a16="http://schemas.microsoft.com/office/drawing/2014/main" id="{073422C5-11F8-403A-B63D-02CF5E5EC9FE}"/>
              </a:ext>
            </a:extLst>
          </p:cNvPr>
          <p:cNvSpPr>
            <a:spLocks noGrp="1"/>
          </p:cNvSpPr>
          <p:nvPr>
            <p:ph type="tbl" sz="quarter" idx="20" hasCustomPrompt="1"/>
          </p:nvPr>
        </p:nvSpPr>
        <p:spPr>
          <a:xfrm>
            <a:off x="539748" y="3698999"/>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3" name="Tijdelijke aanduiding voor tabel 8">
            <a:extLst>
              <a:ext uri="{FF2B5EF4-FFF2-40B4-BE49-F238E27FC236}">
                <a16:creationId xmlns:a16="http://schemas.microsoft.com/office/drawing/2014/main" id="{0D40636B-2477-4352-B8C2-76C3F881622A}"/>
              </a:ext>
            </a:extLst>
          </p:cNvPr>
          <p:cNvSpPr>
            <a:spLocks noGrp="1"/>
          </p:cNvSpPr>
          <p:nvPr>
            <p:ph type="tbl" sz="quarter" idx="21" hasCustomPrompt="1"/>
          </p:nvPr>
        </p:nvSpPr>
        <p:spPr>
          <a:xfrm>
            <a:off x="4363747" y="3698999"/>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4" name="Tijdelijke aanduiding voor tabel 8">
            <a:extLst>
              <a:ext uri="{FF2B5EF4-FFF2-40B4-BE49-F238E27FC236}">
                <a16:creationId xmlns:a16="http://schemas.microsoft.com/office/drawing/2014/main" id="{AD8194A7-CE39-4217-886D-D9AFC72F0DA9}"/>
              </a:ext>
            </a:extLst>
          </p:cNvPr>
          <p:cNvSpPr>
            <a:spLocks noGrp="1"/>
          </p:cNvSpPr>
          <p:nvPr>
            <p:ph type="tbl" sz="quarter" idx="22" hasCustomPrompt="1"/>
          </p:nvPr>
        </p:nvSpPr>
        <p:spPr>
          <a:xfrm>
            <a:off x="8187745" y="3698999"/>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71" name="Instructie">
            <a:extLst>
              <a:ext uri="{FF2B5EF4-FFF2-40B4-BE49-F238E27FC236}">
                <a16:creationId xmlns:a16="http://schemas.microsoft.com/office/drawing/2014/main" id="{EE3F0FC0-35AF-4755-A0CA-49C25EA6A326}"/>
              </a:ext>
            </a:extLst>
          </p:cNvPr>
          <p:cNvGrpSpPr/>
          <p:nvPr userDrawn="1"/>
        </p:nvGrpSpPr>
        <p:grpSpPr>
          <a:xfrm>
            <a:off x="12391601" y="0"/>
            <a:ext cx="3183677" cy="2499789"/>
            <a:chOff x="12391601" y="0"/>
            <a:chExt cx="3183677" cy="2499789"/>
          </a:xfrm>
        </p:grpSpPr>
        <p:sp>
          <p:nvSpPr>
            <p:cNvPr id="72" name="Rechthoek 71">
              <a:extLst>
                <a:ext uri="{FF2B5EF4-FFF2-40B4-BE49-F238E27FC236}">
                  <a16:creationId xmlns:a16="http://schemas.microsoft.com/office/drawing/2014/main" id="{E731DB2F-CC10-4081-99AF-A03609A7342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73" name="Ovaal 72">
              <a:extLst>
                <a:ext uri="{FF2B5EF4-FFF2-40B4-BE49-F238E27FC236}">
                  <a16:creationId xmlns:a16="http://schemas.microsoft.com/office/drawing/2014/main" id="{2E402626-25E7-42AC-9226-03F71DF72111}"/>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74" name="Rechte verbindingslijn 73">
              <a:extLst>
                <a:ext uri="{FF2B5EF4-FFF2-40B4-BE49-F238E27FC236}">
                  <a16:creationId xmlns:a16="http://schemas.microsoft.com/office/drawing/2014/main" id="{63185E89-B85A-4882-9991-56ADB67D2E04}"/>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75" name="Rechte verbindingslijn 74">
              <a:extLst>
                <a:ext uri="{FF2B5EF4-FFF2-40B4-BE49-F238E27FC236}">
                  <a16:creationId xmlns:a16="http://schemas.microsoft.com/office/drawing/2014/main" id="{FE5F08F2-9D3B-4B3C-B5F2-901F91B37D6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76" name="Rechthoek 75">
              <a:extLst>
                <a:ext uri="{FF2B5EF4-FFF2-40B4-BE49-F238E27FC236}">
                  <a16:creationId xmlns:a16="http://schemas.microsoft.com/office/drawing/2014/main" id="{CB281058-440C-4B63-AC05-F320CE1A1C5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77" name="Ovaal 76">
              <a:extLst>
                <a:ext uri="{FF2B5EF4-FFF2-40B4-BE49-F238E27FC236}">
                  <a16:creationId xmlns:a16="http://schemas.microsoft.com/office/drawing/2014/main" id="{DF63A5BD-86BD-40E5-9F7D-D1DD789DED73}"/>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8" name="Rechthoek 77">
              <a:extLst>
                <a:ext uri="{FF2B5EF4-FFF2-40B4-BE49-F238E27FC236}">
                  <a16:creationId xmlns:a16="http://schemas.microsoft.com/office/drawing/2014/main" id="{60E5AA8A-4D01-4A21-BECB-1B65DEFBBFA7}"/>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9" name="Groep 78">
              <a:extLst>
                <a:ext uri="{FF2B5EF4-FFF2-40B4-BE49-F238E27FC236}">
                  <a16:creationId xmlns:a16="http://schemas.microsoft.com/office/drawing/2014/main" id="{F744C072-389E-4370-9918-1814ACC4565C}"/>
                </a:ext>
              </a:extLst>
            </p:cNvPr>
            <p:cNvGrpSpPr/>
            <p:nvPr userDrawn="1"/>
          </p:nvGrpSpPr>
          <p:grpSpPr>
            <a:xfrm>
              <a:off x="12757282" y="2184550"/>
              <a:ext cx="825500" cy="209550"/>
              <a:chOff x="13504624" y="2482850"/>
              <a:chExt cx="825500" cy="209550"/>
            </a:xfrm>
          </p:grpSpPr>
          <p:sp>
            <p:nvSpPr>
              <p:cNvPr id="90" name="Rechthoek 89">
                <a:extLst>
                  <a:ext uri="{FF2B5EF4-FFF2-40B4-BE49-F238E27FC236}">
                    <a16:creationId xmlns:a16="http://schemas.microsoft.com/office/drawing/2014/main" id="{87F12D03-5527-489C-8820-79315F9017B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91" name="Rechte verbindingslijn 90">
                <a:extLst>
                  <a:ext uri="{FF2B5EF4-FFF2-40B4-BE49-F238E27FC236}">
                    <a16:creationId xmlns:a16="http://schemas.microsoft.com/office/drawing/2014/main" id="{694010AB-7F5A-402D-81BA-2786D1D95BA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92" name="Gelijkbenige driehoek 91">
                <a:extLst>
                  <a:ext uri="{FF2B5EF4-FFF2-40B4-BE49-F238E27FC236}">
                    <a16:creationId xmlns:a16="http://schemas.microsoft.com/office/drawing/2014/main" id="{B6A59092-6CEE-4817-AE38-60EEFFCB102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80" name="Rechte verbindingslijn 79">
              <a:extLst>
                <a:ext uri="{FF2B5EF4-FFF2-40B4-BE49-F238E27FC236}">
                  <a16:creationId xmlns:a16="http://schemas.microsoft.com/office/drawing/2014/main" id="{C9013B4A-5641-46AA-8094-5C5A18A2326E}"/>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81" name="Tabel icoon">
              <a:extLst>
                <a:ext uri="{FF2B5EF4-FFF2-40B4-BE49-F238E27FC236}">
                  <a16:creationId xmlns:a16="http://schemas.microsoft.com/office/drawing/2014/main" id="{A84CC061-8ECC-4E9B-8A7A-B6A5644CCF55}"/>
                </a:ext>
              </a:extLst>
            </p:cNvPr>
            <p:cNvGrpSpPr/>
            <p:nvPr userDrawn="1"/>
          </p:nvGrpSpPr>
          <p:grpSpPr>
            <a:xfrm>
              <a:off x="12757283" y="1133664"/>
              <a:ext cx="375500" cy="339168"/>
              <a:chOff x="6072040" y="3376043"/>
              <a:chExt cx="1227920" cy="1109109"/>
            </a:xfrm>
          </p:grpSpPr>
          <p:sp>
            <p:nvSpPr>
              <p:cNvPr id="82" name="Rechthoek 81">
                <a:extLst>
                  <a:ext uri="{FF2B5EF4-FFF2-40B4-BE49-F238E27FC236}">
                    <a16:creationId xmlns:a16="http://schemas.microsoft.com/office/drawing/2014/main" id="{E05CC56B-7646-455D-8CAD-63B57DF1245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83" name="Rechthoek 82">
                <a:extLst>
                  <a:ext uri="{FF2B5EF4-FFF2-40B4-BE49-F238E27FC236}">
                    <a16:creationId xmlns:a16="http://schemas.microsoft.com/office/drawing/2014/main" id="{305CF445-927E-45C9-82BA-54235C8D23A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84" name="Rechte verbindingslijn 83">
                <a:extLst>
                  <a:ext uri="{FF2B5EF4-FFF2-40B4-BE49-F238E27FC236}">
                    <a16:creationId xmlns:a16="http://schemas.microsoft.com/office/drawing/2014/main" id="{4EF85484-F8F0-43DE-84CC-9CC51305D36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5" name="Rechte verbindingslijn 84">
                <a:extLst>
                  <a:ext uri="{FF2B5EF4-FFF2-40B4-BE49-F238E27FC236}">
                    <a16:creationId xmlns:a16="http://schemas.microsoft.com/office/drawing/2014/main" id="{BF2B1DD3-BD4E-4A6A-B961-161E853EC50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6" name="Rechte verbindingslijn 85">
                <a:extLst>
                  <a:ext uri="{FF2B5EF4-FFF2-40B4-BE49-F238E27FC236}">
                    <a16:creationId xmlns:a16="http://schemas.microsoft.com/office/drawing/2014/main" id="{410335EB-C74C-47C4-898D-7B011AECD9FF}"/>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7" name="Rechte verbindingslijn 86">
                <a:extLst>
                  <a:ext uri="{FF2B5EF4-FFF2-40B4-BE49-F238E27FC236}">
                    <a16:creationId xmlns:a16="http://schemas.microsoft.com/office/drawing/2014/main" id="{0321AD66-BF8E-4353-8B9C-12B3BBA1108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8" name="Rechte verbindingslijn 87">
                <a:extLst>
                  <a:ext uri="{FF2B5EF4-FFF2-40B4-BE49-F238E27FC236}">
                    <a16:creationId xmlns:a16="http://schemas.microsoft.com/office/drawing/2014/main" id="{3E678D10-BF29-493C-8A31-1571E6A65867}"/>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89" name="Rechthoek 88">
                <a:extLst>
                  <a:ext uri="{FF2B5EF4-FFF2-40B4-BE49-F238E27FC236}">
                    <a16:creationId xmlns:a16="http://schemas.microsoft.com/office/drawing/2014/main" id="{D794D67A-1AA5-4FEC-AF2C-CF111E2080AD}"/>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13817826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8" name="Tijdelijke aanduiding voor media 7">
            <a:extLst>
              <a:ext uri="{FF2B5EF4-FFF2-40B4-BE49-F238E27FC236}">
                <a16:creationId xmlns:a16="http://schemas.microsoft.com/office/drawing/2014/main" id="{BE6A6D5B-9ECB-44A7-854F-A4E3691CCAC3}"/>
              </a:ext>
            </a:extLst>
          </p:cNvPr>
          <p:cNvSpPr>
            <a:spLocks noGrp="1"/>
          </p:cNvSpPr>
          <p:nvPr>
            <p:ph type="media" sz="quarter" idx="16" hasCustomPrompt="1"/>
          </p:nvPr>
        </p:nvSpPr>
        <p:spPr>
          <a:xfrm>
            <a:off x="0" y="0"/>
            <a:ext cx="12192000" cy="6858000"/>
          </a:xfrm>
          <a:solidFill>
            <a:schemeClr val="bg1">
              <a:lumMod val="95000"/>
            </a:schemeClr>
          </a:solidFill>
        </p:spPr>
        <p:txBody>
          <a:bodyPr tIns="3024000"/>
          <a:lstStyle>
            <a:lvl1pPr marL="0" indent="0" algn="ctr">
              <a:buNone/>
              <a:defRPr sz="1200" i="1">
                <a:solidFill>
                  <a:schemeClr val="bg1">
                    <a:lumMod val="50000"/>
                  </a:schemeClr>
                </a:solidFill>
              </a:defRPr>
            </a:lvl1pPr>
          </a:lstStyle>
          <a:p>
            <a:r>
              <a:rPr lang="nl-NL" noProof="0"/>
              <a:t>Klik op onderstaand pictogram om een video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CB2170DD-3001-4CC7-A277-113A4FBAD773}" type="datetime4">
              <a:rPr lang="nl-NL" noProof="0" smtClean="0"/>
              <a:t>24 oktober 2023</a:t>
            </a:fld>
            <a:endParaRPr lang="nl-NL" noProof="0"/>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7952874" y="7108010"/>
            <a:ext cx="3699126" cy="368122"/>
          </a:xfrm>
        </p:spPr>
        <p:txBody>
          <a:bodyPr/>
          <a:lstStyle>
            <a:lvl1pPr algn="r">
              <a:defRPr sz="1100"/>
            </a:lvl1p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1741399" y="7133798"/>
            <a:ext cx="264977" cy="158273"/>
          </a:xfrm>
        </p:spPr>
        <p:txBody>
          <a:bodyPr/>
          <a:lstStyle>
            <a:lvl1pPr algn="r">
              <a:defRPr/>
            </a:lvl1pPr>
          </a:lstStyle>
          <a:p>
            <a:fld id="{8D374ABD-355D-4B52-8A38-020B3DD5CC75}" type="slidenum">
              <a:rPr lang="nl-NL" smtClean="0"/>
              <a:pPr/>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VIDEO</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nl-NL" noProof="0"/>
              <a:t> </a:t>
            </a:r>
          </a:p>
        </p:txBody>
      </p:sp>
      <p:grpSp>
        <p:nvGrpSpPr>
          <p:cNvPr id="37" name="Instructie">
            <a:extLst>
              <a:ext uri="{FF2B5EF4-FFF2-40B4-BE49-F238E27FC236}">
                <a16:creationId xmlns:a16="http://schemas.microsoft.com/office/drawing/2014/main" id="{B2A2EEEF-6899-43EA-A420-2F27C18CCE18}"/>
              </a:ext>
            </a:extLst>
          </p:cNvPr>
          <p:cNvGrpSpPr/>
          <p:nvPr userDrawn="1"/>
        </p:nvGrpSpPr>
        <p:grpSpPr>
          <a:xfrm>
            <a:off x="12391601" y="0"/>
            <a:ext cx="3183678" cy="3883011"/>
            <a:chOff x="12391601" y="0"/>
            <a:chExt cx="3183678" cy="3883011"/>
          </a:xfrm>
        </p:grpSpPr>
        <p:grpSp>
          <p:nvGrpSpPr>
            <p:cNvPr id="38" name="Groep 37">
              <a:extLst>
                <a:ext uri="{FF2B5EF4-FFF2-40B4-BE49-F238E27FC236}">
                  <a16:creationId xmlns:a16="http://schemas.microsoft.com/office/drawing/2014/main" id="{777F5D38-8845-435C-8625-F82501433ED5}"/>
                </a:ext>
              </a:extLst>
            </p:cNvPr>
            <p:cNvGrpSpPr/>
            <p:nvPr userDrawn="1"/>
          </p:nvGrpSpPr>
          <p:grpSpPr>
            <a:xfrm>
              <a:off x="12757282" y="3100116"/>
              <a:ext cx="1499406" cy="678267"/>
              <a:chOff x="12757283" y="3120781"/>
              <a:chExt cx="1499406" cy="678267"/>
            </a:xfrm>
          </p:grpSpPr>
          <p:sp>
            <p:nvSpPr>
              <p:cNvPr id="62" name="Rechthoek 61">
                <a:extLst>
                  <a:ext uri="{FF2B5EF4-FFF2-40B4-BE49-F238E27FC236}">
                    <a16:creationId xmlns:a16="http://schemas.microsoft.com/office/drawing/2014/main" id="{71F9E537-8C64-4FD1-AA88-58151D5CABCB}"/>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63" name="Rechthoek 62">
                <a:extLst>
                  <a:ext uri="{FF2B5EF4-FFF2-40B4-BE49-F238E27FC236}">
                    <a16:creationId xmlns:a16="http://schemas.microsoft.com/office/drawing/2014/main" id="{FEFFC45A-A206-4EBE-8313-320389848735}"/>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64" name="Tekstvak 63">
                <a:extLst>
                  <a:ext uri="{FF2B5EF4-FFF2-40B4-BE49-F238E27FC236}">
                    <a16:creationId xmlns:a16="http://schemas.microsoft.com/office/drawing/2014/main" id="{180EB770-FA7A-45A2-8B7E-0021C17B03D6}"/>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65" name="Tekstvak 64">
                <a:extLst>
                  <a:ext uri="{FF2B5EF4-FFF2-40B4-BE49-F238E27FC236}">
                    <a16:creationId xmlns:a16="http://schemas.microsoft.com/office/drawing/2014/main" id="{95D1FF77-1B90-464F-9AB4-9D164C639A55}"/>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66" name="Picture 3">
                <a:extLst>
                  <a:ext uri="{FF2B5EF4-FFF2-40B4-BE49-F238E27FC236}">
                    <a16:creationId xmlns:a16="http://schemas.microsoft.com/office/drawing/2014/main" id="{8DEFE058-EE60-456D-876D-9F60956A98EF}"/>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Gelijkbenige driehoek 66">
                <a:extLst>
                  <a:ext uri="{FF2B5EF4-FFF2-40B4-BE49-F238E27FC236}">
                    <a16:creationId xmlns:a16="http://schemas.microsoft.com/office/drawing/2014/main" id="{85ED4A2E-5B7D-4ADF-AA34-41CCC0F3C1CB}"/>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68" name="Groep 67">
                <a:extLst>
                  <a:ext uri="{FF2B5EF4-FFF2-40B4-BE49-F238E27FC236}">
                    <a16:creationId xmlns:a16="http://schemas.microsoft.com/office/drawing/2014/main" id="{501F1A80-AFBE-44E4-8DE0-1587BC6DC44F}"/>
                  </a:ext>
                </a:extLst>
              </p:cNvPr>
              <p:cNvGrpSpPr/>
              <p:nvPr userDrawn="1"/>
            </p:nvGrpSpPr>
            <p:grpSpPr>
              <a:xfrm>
                <a:off x="12822311" y="3178534"/>
                <a:ext cx="182309" cy="163794"/>
                <a:chOff x="12832541" y="3162395"/>
                <a:chExt cx="219532" cy="197236"/>
              </a:xfrm>
            </p:grpSpPr>
            <p:sp>
              <p:nvSpPr>
                <p:cNvPr id="73" name="Rechthoek 72">
                  <a:extLst>
                    <a:ext uri="{FF2B5EF4-FFF2-40B4-BE49-F238E27FC236}">
                      <a16:creationId xmlns:a16="http://schemas.microsoft.com/office/drawing/2014/main" id="{22A2F926-5BF1-4F88-947D-DD978CE25ABA}"/>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74" name="Rechthoek 73">
                  <a:extLst>
                    <a:ext uri="{FF2B5EF4-FFF2-40B4-BE49-F238E27FC236}">
                      <a16:creationId xmlns:a16="http://schemas.microsoft.com/office/drawing/2014/main" id="{8BC638EB-CDD3-4E48-A9A1-6086279A0595}"/>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75" name="Rechthoek 74">
                  <a:extLst>
                    <a:ext uri="{FF2B5EF4-FFF2-40B4-BE49-F238E27FC236}">
                      <a16:creationId xmlns:a16="http://schemas.microsoft.com/office/drawing/2014/main" id="{2F2E1424-81F9-42BF-A20F-F20BD4641436}"/>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nvGrpSpPr>
              <p:cNvPr id="69" name="Groep 68">
                <a:extLst>
                  <a:ext uri="{FF2B5EF4-FFF2-40B4-BE49-F238E27FC236}">
                    <a16:creationId xmlns:a16="http://schemas.microsoft.com/office/drawing/2014/main" id="{A1B093F0-00B4-4923-B76A-129C63B1890C}"/>
                  </a:ext>
                </a:extLst>
              </p:cNvPr>
              <p:cNvGrpSpPr/>
              <p:nvPr userDrawn="1"/>
            </p:nvGrpSpPr>
            <p:grpSpPr>
              <a:xfrm>
                <a:off x="12822311" y="3480352"/>
                <a:ext cx="182309" cy="163794"/>
                <a:chOff x="12832541" y="3162395"/>
                <a:chExt cx="219532" cy="197236"/>
              </a:xfrm>
            </p:grpSpPr>
            <p:sp>
              <p:nvSpPr>
                <p:cNvPr id="70" name="Rechthoek 69">
                  <a:extLst>
                    <a:ext uri="{FF2B5EF4-FFF2-40B4-BE49-F238E27FC236}">
                      <a16:creationId xmlns:a16="http://schemas.microsoft.com/office/drawing/2014/main" id="{229BC8A6-D2B3-4F65-9241-59C2DA929F4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71" name="Rechthoek 70">
                  <a:extLst>
                    <a:ext uri="{FF2B5EF4-FFF2-40B4-BE49-F238E27FC236}">
                      <a16:creationId xmlns:a16="http://schemas.microsoft.com/office/drawing/2014/main" id="{F6D5CA3A-51CD-498E-8746-0869C11EEBAF}"/>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72" name="Rechthoek 71">
                  <a:extLst>
                    <a:ext uri="{FF2B5EF4-FFF2-40B4-BE49-F238E27FC236}">
                      <a16:creationId xmlns:a16="http://schemas.microsoft.com/office/drawing/2014/main" id="{D608BBC9-1001-4E66-A312-6088C407AFB4}"/>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
          <p:nvSpPr>
            <p:cNvPr id="40" name="Rechthoek 39">
              <a:extLst>
                <a:ext uri="{FF2B5EF4-FFF2-40B4-BE49-F238E27FC236}">
                  <a16:creationId xmlns:a16="http://schemas.microsoft.com/office/drawing/2014/main" id="{C0C7C318-3E96-4B81-ACB4-7C36BF46974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Video invoegen/veranderen</a:t>
              </a:r>
            </a:p>
          </p:txBody>
        </p:sp>
        <p:sp>
          <p:nvSpPr>
            <p:cNvPr id="41" name="Ovaal 40">
              <a:extLst>
                <a:ext uri="{FF2B5EF4-FFF2-40B4-BE49-F238E27FC236}">
                  <a16:creationId xmlns:a16="http://schemas.microsoft.com/office/drawing/2014/main" id="{D0743919-FB33-451B-8DC4-F2B387D8CEF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2" name="Rechte verbindingslijn 41">
              <a:extLst>
                <a:ext uri="{FF2B5EF4-FFF2-40B4-BE49-F238E27FC236}">
                  <a16:creationId xmlns:a16="http://schemas.microsoft.com/office/drawing/2014/main" id="{A1EB5A75-89AB-4158-BF50-215212A08A01}"/>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3" name="Rechte verbindingslijn 42">
              <a:extLst>
                <a:ext uri="{FF2B5EF4-FFF2-40B4-BE49-F238E27FC236}">
                  <a16:creationId xmlns:a16="http://schemas.microsoft.com/office/drawing/2014/main" id="{B0B3092D-0DFD-4D6E-9146-A41AA2C4735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4" name="Rechthoek 43">
              <a:extLst>
                <a:ext uri="{FF2B5EF4-FFF2-40B4-BE49-F238E27FC236}">
                  <a16:creationId xmlns:a16="http://schemas.microsoft.com/office/drawing/2014/main" id="{D1F3E125-8E03-486C-B4D8-8D9811393DEB}"/>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video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video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45" name="Rechte verbindingslijn 44">
              <a:extLst>
                <a:ext uri="{FF2B5EF4-FFF2-40B4-BE49-F238E27FC236}">
                  <a16:creationId xmlns:a16="http://schemas.microsoft.com/office/drawing/2014/main" id="{0E12CFCD-3A49-4E90-AD60-63DF6D637287}"/>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46" name="Ovaal 45">
              <a:extLst>
                <a:ext uri="{FF2B5EF4-FFF2-40B4-BE49-F238E27FC236}">
                  <a16:creationId xmlns:a16="http://schemas.microsoft.com/office/drawing/2014/main" id="{B6877113-4806-4C8A-AF8A-DC1F93F8FBEF}"/>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7" name="Rechthoek 46">
              <a:extLst>
                <a:ext uri="{FF2B5EF4-FFF2-40B4-BE49-F238E27FC236}">
                  <a16:creationId xmlns:a16="http://schemas.microsoft.com/office/drawing/2014/main" id="{F01103AC-E18C-44A5-BA89-6A49E2A01F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video</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 name="Groep 47">
              <a:extLst>
                <a:ext uri="{FF2B5EF4-FFF2-40B4-BE49-F238E27FC236}">
                  <a16:creationId xmlns:a16="http://schemas.microsoft.com/office/drawing/2014/main" id="{C12A0970-B4FD-4023-B57B-3980B33E6B3D}"/>
                </a:ext>
              </a:extLst>
            </p:cNvPr>
            <p:cNvGrpSpPr/>
            <p:nvPr userDrawn="1"/>
          </p:nvGrpSpPr>
          <p:grpSpPr>
            <a:xfrm>
              <a:off x="12757282" y="2184550"/>
              <a:ext cx="825500" cy="209550"/>
              <a:chOff x="13504624" y="2482850"/>
              <a:chExt cx="825500" cy="209550"/>
            </a:xfrm>
          </p:grpSpPr>
          <p:sp>
            <p:nvSpPr>
              <p:cNvPr id="56" name="Rechthoek 55">
                <a:extLst>
                  <a:ext uri="{FF2B5EF4-FFF2-40B4-BE49-F238E27FC236}">
                    <a16:creationId xmlns:a16="http://schemas.microsoft.com/office/drawing/2014/main" id="{36AC0901-09AF-4907-8355-39CA730014D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57" name="Rechte verbindingslijn 56">
                <a:extLst>
                  <a:ext uri="{FF2B5EF4-FFF2-40B4-BE49-F238E27FC236}">
                    <a16:creationId xmlns:a16="http://schemas.microsoft.com/office/drawing/2014/main" id="{2EE6CC0C-00EB-4E2B-A3D5-47B1FADD317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58" name="Gelijkbenige driehoek 57">
                <a:extLst>
                  <a:ext uri="{FF2B5EF4-FFF2-40B4-BE49-F238E27FC236}">
                    <a16:creationId xmlns:a16="http://schemas.microsoft.com/office/drawing/2014/main" id="{E6CDECED-9158-47AD-9032-44003A5B8C1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49" name="Ovaal 48">
              <a:extLst>
                <a:ext uri="{FF2B5EF4-FFF2-40B4-BE49-F238E27FC236}">
                  <a16:creationId xmlns:a16="http://schemas.microsoft.com/office/drawing/2014/main" id="{78BCD690-05FD-4530-813A-8676AE32715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50" name="Rechthoek 49">
              <a:extLst>
                <a:ext uri="{FF2B5EF4-FFF2-40B4-BE49-F238E27FC236}">
                  <a16:creationId xmlns:a16="http://schemas.microsoft.com/office/drawing/2014/main" id="{1C57B8CD-55B0-4BE8-9A34-4803A8723C58}"/>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video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51" name="Rechte verbindingslijn 50">
              <a:extLst>
                <a:ext uri="{FF2B5EF4-FFF2-40B4-BE49-F238E27FC236}">
                  <a16:creationId xmlns:a16="http://schemas.microsoft.com/office/drawing/2014/main" id="{761C4B32-44A6-4B00-805F-C7B6DB018D5F}"/>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2" name="Video icoon">
              <a:extLst>
                <a:ext uri="{FF2B5EF4-FFF2-40B4-BE49-F238E27FC236}">
                  <a16:creationId xmlns:a16="http://schemas.microsoft.com/office/drawing/2014/main" id="{91A37CCC-AF39-465F-BEA1-73B0A456E011}"/>
                </a:ext>
              </a:extLst>
            </p:cNvPr>
            <p:cNvGrpSpPr/>
            <p:nvPr userDrawn="1"/>
          </p:nvGrpSpPr>
          <p:grpSpPr>
            <a:xfrm>
              <a:off x="12757282" y="1122460"/>
              <a:ext cx="326087" cy="328143"/>
              <a:chOff x="8066315" y="1676399"/>
              <a:chExt cx="1371600" cy="1380253"/>
            </a:xfrm>
          </p:grpSpPr>
          <p:sp>
            <p:nvSpPr>
              <p:cNvPr id="53" name="Rechthoek 52">
                <a:extLst>
                  <a:ext uri="{FF2B5EF4-FFF2-40B4-BE49-F238E27FC236}">
                    <a16:creationId xmlns:a16="http://schemas.microsoft.com/office/drawing/2014/main" id="{8ECF6D49-2487-49C3-B7E5-83526196CF45}"/>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54" name="Vrije vorm 112">
                <a:extLst>
                  <a:ext uri="{FF2B5EF4-FFF2-40B4-BE49-F238E27FC236}">
                    <a16:creationId xmlns:a16="http://schemas.microsoft.com/office/drawing/2014/main" id="{412C8A5D-7A14-4590-B55F-183B23A72F12}"/>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55" name="Vrije vorm 113">
                <a:extLst>
                  <a:ext uri="{FF2B5EF4-FFF2-40B4-BE49-F238E27FC236}">
                    <a16:creationId xmlns:a16="http://schemas.microsoft.com/office/drawing/2014/main" id="{E67C5FB5-833D-438E-A7D8-2E3FFB73E3E2}"/>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nvGrpSpPr>
          <p:cNvPr id="7" name="Groep 6">
            <a:extLst>
              <a:ext uri="{FF2B5EF4-FFF2-40B4-BE49-F238E27FC236}">
                <a16:creationId xmlns:a16="http://schemas.microsoft.com/office/drawing/2014/main" id="{BEFF6C6F-6B4A-4D33-A5D7-E56B6DFBFF7A}"/>
              </a:ext>
            </a:extLst>
          </p:cNvPr>
          <p:cNvGrpSpPr/>
          <p:nvPr userDrawn="1"/>
        </p:nvGrpSpPr>
        <p:grpSpPr>
          <a:xfrm>
            <a:off x="12391601" y="3998810"/>
            <a:ext cx="3183677" cy="2859190"/>
            <a:chOff x="12391601" y="3998810"/>
            <a:chExt cx="3183677" cy="2859190"/>
          </a:xfrm>
        </p:grpSpPr>
        <p:sp>
          <p:nvSpPr>
            <p:cNvPr id="80" name="Rechthoek 79">
              <a:extLst>
                <a:ext uri="{FF2B5EF4-FFF2-40B4-BE49-F238E27FC236}">
                  <a16:creationId xmlns:a16="http://schemas.microsoft.com/office/drawing/2014/main" id="{9D5C4836-49E1-437D-A0AC-11DEE1B33CAE}"/>
                </a:ext>
              </a:extLst>
            </p:cNvPr>
            <p:cNvSpPr/>
            <p:nvPr userDrawn="1"/>
          </p:nvSpPr>
          <p:spPr>
            <a:xfrm>
              <a:off x="12397262" y="399881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Video automatisch laten afspelen</a:t>
              </a:r>
            </a:p>
          </p:txBody>
        </p:sp>
        <p:sp>
          <p:nvSpPr>
            <p:cNvPr id="81" name="Ovaal 80">
              <a:extLst>
                <a:ext uri="{FF2B5EF4-FFF2-40B4-BE49-F238E27FC236}">
                  <a16:creationId xmlns:a16="http://schemas.microsoft.com/office/drawing/2014/main" id="{F4410F6C-0971-4B24-A4E0-A9F0C8FC1665}"/>
                </a:ext>
              </a:extLst>
            </p:cNvPr>
            <p:cNvSpPr/>
            <p:nvPr userDrawn="1"/>
          </p:nvSpPr>
          <p:spPr>
            <a:xfrm>
              <a:off x="12391601" y="436530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2" name="Rechte verbindingslijn 81">
              <a:extLst>
                <a:ext uri="{FF2B5EF4-FFF2-40B4-BE49-F238E27FC236}">
                  <a16:creationId xmlns:a16="http://schemas.microsoft.com/office/drawing/2014/main" id="{223CA539-791E-464C-8AF4-4FF2D5BB1978}"/>
                </a:ext>
              </a:extLst>
            </p:cNvPr>
            <p:cNvCxnSpPr>
              <a:cxnSpLocks/>
            </p:cNvCxnSpPr>
            <p:nvPr userDrawn="1"/>
          </p:nvCxnSpPr>
          <p:spPr>
            <a:xfrm>
              <a:off x="12397261" y="4240445"/>
              <a:ext cx="3178017" cy="0"/>
            </a:xfrm>
            <a:prstGeom prst="line">
              <a:avLst/>
            </a:prstGeom>
            <a:noFill/>
            <a:ln w="3175" cap="flat" cmpd="sng" algn="ctr">
              <a:solidFill>
                <a:schemeClr val="bg1">
                  <a:lumMod val="50000"/>
                </a:schemeClr>
              </a:solidFill>
              <a:prstDash val="solid"/>
            </a:ln>
            <a:effectLst/>
          </p:spPr>
        </p:cxnSp>
        <p:sp>
          <p:nvSpPr>
            <p:cNvPr id="84" name="Rechthoek 83">
              <a:extLst>
                <a:ext uri="{FF2B5EF4-FFF2-40B4-BE49-F238E27FC236}">
                  <a16:creationId xmlns:a16="http://schemas.microsoft.com/office/drawing/2014/main" id="{AD26DEDE-987C-4ABA-B8EC-8D14D6B40409}"/>
                </a:ext>
              </a:extLst>
            </p:cNvPr>
            <p:cNvSpPr/>
            <p:nvPr userDrawn="1"/>
          </p:nvSpPr>
          <p:spPr>
            <a:xfrm>
              <a:off x="12757282" y="443136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video door er op te klikk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video – Afspel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bij ‘Begin’ het keuze menu open door op het pijltje naar beneden te klikken.</a:t>
              </a:r>
            </a:p>
          </p:txBody>
        </p:sp>
        <p:pic>
          <p:nvPicPr>
            <p:cNvPr id="2" name="Afbeelding 1">
              <a:extLst>
                <a:ext uri="{FF2B5EF4-FFF2-40B4-BE49-F238E27FC236}">
                  <a16:creationId xmlns:a16="http://schemas.microsoft.com/office/drawing/2014/main" id="{09DAFE33-AC6E-4D6F-B14F-56F3A9758AF4}"/>
                </a:ext>
              </a:extLst>
            </p:cNvPr>
            <p:cNvPicPr>
              <a:picLocks noChangeAspect="1"/>
            </p:cNvPicPr>
            <p:nvPr userDrawn="1"/>
          </p:nvPicPr>
          <p:blipFill rotWithShape="1">
            <a:blip r:embed="rId3"/>
            <a:srcRect l="1140" r="1773" b="3305"/>
            <a:stretch/>
          </p:blipFill>
          <p:spPr>
            <a:xfrm>
              <a:off x="12757281" y="5888445"/>
              <a:ext cx="1518277" cy="860372"/>
            </a:xfrm>
            <a:prstGeom prst="rect">
              <a:avLst/>
            </a:prstGeom>
          </p:spPr>
        </p:pic>
        <p:pic>
          <p:nvPicPr>
            <p:cNvPr id="3" name="Afbeelding 2">
              <a:extLst>
                <a:ext uri="{FF2B5EF4-FFF2-40B4-BE49-F238E27FC236}">
                  <a16:creationId xmlns:a16="http://schemas.microsoft.com/office/drawing/2014/main" id="{60153270-ACD1-4483-9549-881A0264CEA9}"/>
                </a:ext>
              </a:extLst>
            </p:cNvPr>
            <p:cNvPicPr>
              <a:picLocks noChangeAspect="1"/>
            </p:cNvPicPr>
            <p:nvPr userDrawn="1"/>
          </p:nvPicPr>
          <p:blipFill rotWithShape="1">
            <a:blip r:embed="rId4"/>
            <a:srcRect l="9571" t="19546" r="12230" b="24211"/>
            <a:stretch/>
          </p:blipFill>
          <p:spPr>
            <a:xfrm>
              <a:off x="12761416" y="5127585"/>
              <a:ext cx="628605" cy="206109"/>
            </a:xfrm>
            <a:prstGeom prst="rect">
              <a:avLst/>
            </a:prstGeom>
          </p:spPr>
        </p:pic>
        <p:sp>
          <p:nvSpPr>
            <p:cNvPr id="113" name="Ovaal 112">
              <a:extLst>
                <a:ext uri="{FF2B5EF4-FFF2-40B4-BE49-F238E27FC236}">
                  <a16:creationId xmlns:a16="http://schemas.microsoft.com/office/drawing/2014/main" id="{6D67AD96-9036-4375-9159-F3D26402DB8E}"/>
                </a:ext>
              </a:extLst>
            </p:cNvPr>
            <p:cNvSpPr/>
            <p:nvPr userDrawn="1"/>
          </p:nvSpPr>
          <p:spPr>
            <a:xfrm>
              <a:off x="12391601" y="557995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cxnSp>
          <p:nvCxnSpPr>
            <p:cNvPr id="114" name="Rechte verbindingslijn 113">
              <a:extLst>
                <a:ext uri="{FF2B5EF4-FFF2-40B4-BE49-F238E27FC236}">
                  <a16:creationId xmlns:a16="http://schemas.microsoft.com/office/drawing/2014/main" id="{6B105775-15A2-4253-BF55-3E264D54FD11}"/>
                </a:ext>
              </a:extLst>
            </p:cNvPr>
            <p:cNvCxnSpPr>
              <a:cxnSpLocks/>
            </p:cNvCxnSpPr>
            <p:nvPr userDrawn="1"/>
          </p:nvCxnSpPr>
          <p:spPr>
            <a:xfrm>
              <a:off x="12397261" y="5455095"/>
              <a:ext cx="3178017" cy="0"/>
            </a:xfrm>
            <a:prstGeom prst="line">
              <a:avLst/>
            </a:prstGeom>
            <a:noFill/>
            <a:ln w="3175" cap="flat" cmpd="sng" algn="ctr">
              <a:solidFill>
                <a:schemeClr val="bg1">
                  <a:lumMod val="50000"/>
                </a:schemeClr>
              </a:solidFill>
              <a:prstDash val="solid"/>
            </a:ln>
            <a:effectLst/>
          </p:spPr>
        </p:cxnSp>
        <p:sp>
          <p:nvSpPr>
            <p:cNvPr id="115" name="Rechthoek 114">
              <a:extLst>
                <a:ext uri="{FF2B5EF4-FFF2-40B4-BE49-F238E27FC236}">
                  <a16:creationId xmlns:a16="http://schemas.microsoft.com/office/drawing/2014/main" id="{E70B9610-5594-43B7-93B3-ECE3B8E0C0FE}"/>
                </a:ext>
              </a:extLst>
            </p:cNvPr>
            <p:cNvSpPr/>
            <p:nvPr userDrawn="1"/>
          </p:nvSpPr>
          <p:spPr>
            <a:xfrm>
              <a:off x="12757282" y="5646012"/>
              <a:ext cx="2817995" cy="16794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in het keuze menu op ‘Automatisch’ </a:t>
              </a:r>
            </a:p>
          </p:txBody>
        </p:sp>
        <p:cxnSp>
          <p:nvCxnSpPr>
            <p:cNvPr id="116" name="Rechte verbindingslijn 115">
              <a:extLst>
                <a:ext uri="{FF2B5EF4-FFF2-40B4-BE49-F238E27FC236}">
                  <a16:creationId xmlns:a16="http://schemas.microsoft.com/office/drawing/2014/main" id="{425F5135-4E4D-46DC-AA50-6C6D60AB5276}"/>
                </a:ext>
              </a:extLst>
            </p:cNvPr>
            <p:cNvCxnSpPr>
              <a:cxnSpLocks/>
            </p:cNvCxnSpPr>
            <p:nvPr userDrawn="1"/>
          </p:nvCxnSpPr>
          <p:spPr>
            <a:xfrm>
              <a:off x="12397261" y="6858000"/>
              <a:ext cx="3178017" cy="0"/>
            </a:xfrm>
            <a:prstGeom prst="line">
              <a:avLst/>
            </a:prstGeom>
            <a:noFill/>
            <a:ln w="3175" cap="flat" cmpd="sng" algn="ctr">
              <a:solidFill>
                <a:schemeClr val="bg1">
                  <a:lumMod val="50000"/>
                </a:schemeClr>
              </a:solidFill>
              <a:prstDash val="solid"/>
            </a:ln>
            <a:effectLst/>
          </p:spPr>
        </p:cxnSp>
      </p:grpSp>
    </p:spTree>
    <p:extLst>
      <p:ext uri="{BB962C8B-B14F-4D97-AF65-F5344CB8AC3E}">
        <p14:creationId xmlns:p14="http://schemas.microsoft.com/office/powerpoint/2010/main" val="97078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7E85E3C-7F64-48DE-AE59-AF0186AA5C0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ALLEEN TITEL</a:t>
            </a:r>
          </a:p>
        </p:txBody>
      </p:sp>
      <p:sp>
        <p:nvSpPr>
          <p:cNvPr id="19" name="Tijdelijke aanduiding voor tekst 43">
            <a:extLst>
              <a:ext uri="{FF2B5EF4-FFF2-40B4-BE49-F238E27FC236}">
                <a16:creationId xmlns:a16="http://schemas.microsoft.com/office/drawing/2014/main" id="{10D5AB53-53B8-4CBF-8A13-9A3F3A740454}"/>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Tree>
    <p:extLst>
      <p:ext uri="{BB962C8B-B14F-4D97-AF65-F5344CB8AC3E}">
        <p14:creationId xmlns:p14="http://schemas.microsoft.com/office/powerpoint/2010/main" val="2901174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DIA/AFSLUITIN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104BC9A4-C991-4F53-A0A7-889E630CFEAA}"/>
              </a:ext>
            </a:extLst>
          </p:cNvPr>
          <p:cNvSpPr/>
          <p:nvPr userDrawn="1"/>
        </p:nvSpPr>
        <p:spPr>
          <a:xfrm>
            <a:off x="-1" y="0"/>
            <a:ext cx="1219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3963" tIns="143963" rIns="143963" bIns="143963" rtlCol="0" anchor="ctr"/>
          <a:lstStyle/>
          <a:p>
            <a:pPr algn="ctr"/>
            <a:endParaRPr lang="nl-NL" sz="1600" noProof="0"/>
          </a:p>
        </p:txBody>
      </p:sp>
      <p:sp>
        <p:nvSpPr>
          <p:cNvPr id="25" name="Tijdelijke aanduiding voor tekst 9">
            <a:extLst>
              <a:ext uri="{FF2B5EF4-FFF2-40B4-BE49-F238E27FC236}">
                <a16:creationId xmlns:a16="http://schemas.microsoft.com/office/drawing/2014/main" id="{C75CE4DD-58C0-4779-ADB1-4FC233CAB26A}"/>
              </a:ext>
            </a:extLst>
          </p:cNvPr>
          <p:cNvSpPr>
            <a:spLocks noGrp="1"/>
          </p:cNvSpPr>
          <p:nvPr>
            <p:ph type="body" sz="quarter" idx="19" hasCustomPrompt="1"/>
          </p:nvPr>
        </p:nvSpPr>
        <p:spPr>
          <a:xfrm>
            <a:off x="10670999" y="6457938"/>
            <a:ext cx="1353982" cy="255682"/>
          </a:xfrm>
          <a:prstGeom prst="rect">
            <a:avLst/>
          </a:prstGeom>
          <a:blipFill>
            <a:blip r:embed="rId2" cstate="screen">
              <a:extLst>
                <a:ext uri="{28A0092B-C50C-407E-A947-70E740481C1C}">
                  <a14:useLocalDpi xmlns:a14="http://schemas.microsoft.com/office/drawing/2010/main"/>
                </a:ext>
              </a:extLst>
            </a:blip>
            <a:srcRect/>
            <a:stretch>
              <a:fillRect t="782" b="782"/>
            </a:stretch>
          </a:blipFill>
          <a:ln w="9525">
            <a:noFill/>
          </a:ln>
        </p:spPr>
        <p:txBody>
          <a:bodyPr anchor="ctr"/>
          <a:lstStyle>
            <a:lvl1pPr marL="0" indent="0" algn="ctr">
              <a:buNone/>
              <a:defRPr sz="100">
                <a:solidFill>
                  <a:schemeClr val="bg1"/>
                </a:solidFill>
              </a:defRPr>
            </a:lvl1pPr>
            <a:lvl2pPr algn="ctr">
              <a:defRPr/>
            </a:lvl2pPr>
            <a:lvl3pPr algn="ctr">
              <a:defRPr/>
            </a:lvl3pPr>
            <a:lvl4pPr algn="ctr">
              <a:defRPr/>
            </a:lvl4pPr>
            <a:lvl5pPr algn="ctr">
              <a:defRPr/>
            </a:lvl5pPr>
          </a:lstStyle>
          <a:p>
            <a:pPr lvl="0"/>
            <a:r>
              <a:rPr lang="nl-NL" noProof="0"/>
              <a:t> </a:t>
            </a:r>
          </a:p>
        </p:txBody>
      </p:sp>
      <p:sp>
        <p:nvSpPr>
          <p:cNvPr id="8" name="Tijdelijke aanduiding voor afbeelding 16">
            <a:extLst>
              <a:ext uri="{FF2B5EF4-FFF2-40B4-BE49-F238E27FC236}">
                <a16:creationId xmlns:a16="http://schemas.microsoft.com/office/drawing/2014/main" id="{1AE1DD67-91EA-45BC-A069-9AC4D021582E}"/>
              </a:ext>
            </a:extLst>
          </p:cNvPr>
          <p:cNvSpPr>
            <a:spLocks noGrp="1"/>
          </p:cNvSpPr>
          <p:nvPr>
            <p:ph type="pic" sz="quarter" idx="13" hasCustomPrompt="1"/>
          </p:nvPr>
        </p:nvSpPr>
        <p:spPr>
          <a:xfrm>
            <a:off x="-1" y="-1"/>
            <a:ext cx="12192000" cy="4900042"/>
          </a:xfrm>
          <a:solidFill>
            <a:schemeClr val="bg1">
              <a:lumMod val="95000"/>
            </a:schemeClr>
          </a:solidFill>
        </p:spPr>
        <p:txBody>
          <a:bodyPr tIns="2016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 name="Titel 1">
            <a:extLst>
              <a:ext uri="{FF2B5EF4-FFF2-40B4-BE49-F238E27FC236}">
                <a16:creationId xmlns:a16="http://schemas.microsoft.com/office/drawing/2014/main" id="{2A71DEDF-37F1-4689-8FA1-5E743C7DD6C0}"/>
              </a:ext>
            </a:extLst>
          </p:cNvPr>
          <p:cNvSpPr>
            <a:spLocks noGrp="1"/>
          </p:cNvSpPr>
          <p:nvPr>
            <p:ph type="ctrTitle" hasCustomPrompt="1"/>
          </p:nvPr>
        </p:nvSpPr>
        <p:spPr>
          <a:xfrm>
            <a:off x="1080015" y="5315717"/>
            <a:ext cx="10031970" cy="477864"/>
          </a:xfrm>
        </p:spPr>
        <p:txBody>
          <a:bodyPr anchor="b"/>
          <a:lstStyle>
            <a:lvl1pPr algn="ctr">
              <a:defRPr sz="3999"/>
            </a:lvl1pPr>
          </a:lstStyle>
          <a:p>
            <a:r>
              <a:rPr lang="nl-NL" noProof="0"/>
              <a:t>Titel van de presentatie van max. 1 regel</a:t>
            </a:r>
          </a:p>
        </p:txBody>
      </p:sp>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1080015" y="5954917"/>
            <a:ext cx="10031970" cy="255682"/>
          </a:xfrm>
        </p:spPr>
        <p:txBody>
          <a:bodyPr anchor="b"/>
          <a:lstStyle>
            <a:lvl1pPr marL="0" indent="0" algn="ctr">
              <a:buNone/>
              <a:defRPr sz="19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noProof="0"/>
              <a:t>Naam spreker | Plaats</a:t>
            </a:r>
          </a:p>
        </p:txBody>
      </p:sp>
      <p:sp>
        <p:nvSpPr>
          <p:cNvPr id="4" name="Tijdelijke aanduiding voor datum 3">
            <a:extLst>
              <a:ext uri="{FF2B5EF4-FFF2-40B4-BE49-F238E27FC236}">
                <a16:creationId xmlns:a16="http://schemas.microsoft.com/office/drawing/2014/main" id="{5EEA2768-3B92-4FC5-8ED3-7B1C505E87AE}"/>
              </a:ext>
            </a:extLst>
          </p:cNvPr>
          <p:cNvSpPr>
            <a:spLocks noGrp="1"/>
          </p:cNvSpPr>
          <p:nvPr>
            <p:ph type="dt" sz="half" idx="10"/>
          </p:nvPr>
        </p:nvSpPr>
        <p:spPr>
          <a:xfrm>
            <a:off x="3756006" y="6240029"/>
            <a:ext cx="4679988" cy="173525"/>
          </a:xfrm>
        </p:spPr>
        <p:txBody>
          <a:bodyPr/>
          <a:lstStyle>
            <a:lvl1pPr algn="ctr">
              <a:defRPr sz="1600">
                <a:solidFill>
                  <a:schemeClr val="accent1"/>
                </a:solidFill>
              </a:defRPr>
            </a:lvl1pPr>
          </a:lstStyle>
          <a:p>
            <a:fld id="{50E0E405-E035-4768-9485-D8FA00B07A45}"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9494CA00-555D-4751-8668-226BC887CEBE}"/>
              </a:ext>
            </a:extLst>
          </p:cNvPr>
          <p:cNvSpPr>
            <a:spLocks noGrp="1"/>
          </p:cNvSpPr>
          <p:nvPr>
            <p:ph type="ftr" sz="quarter" idx="11"/>
          </p:nvPr>
        </p:nvSpPr>
        <p:spPr>
          <a:xfrm>
            <a:off x="7531878" y="7001401"/>
            <a:ext cx="4114800" cy="151790"/>
          </a:xfrm>
          <a:prstGeom prst="rect">
            <a:avLst/>
          </a:prstGeom>
        </p:spPr>
        <p:txBody>
          <a:bodyPr/>
          <a:lstStyle>
            <a:lvl1pPr algn="r">
              <a:defRPr sz="1050"/>
            </a:lvl1p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2D1BBC6E-F9BF-4357-8F2F-8FFB4D00068A}"/>
              </a:ext>
            </a:extLst>
          </p:cNvPr>
          <p:cNvSpPr>
            <a:spLocks noGrp="1"/>
          </p:cNvSpPr>
          <p:nvPr>
            <p:ph type="sldNum" sz="quarter" idx="12"/>
          </p:nvPr>
        </p:nvSpPr>
        <p:spPr>
          <a:xfrm>
            <a:off x="11740384" y="7001401"/>
            <a:ext cx="284597" cy="151790"/>
          </a:xfrm>
          <a:prstGeom prst="rect">
            <a:avLst/>
          </a:prstGeom>
        </p:spPr>
        <p:txBody>
          <a:bodyPr/>
          <a:lstStyle/>
          <a:p>
            <a:fld id="{D7B5DC5B-6873-43DB-ADC7-B15ACCE0DFDB}" type="slidenum">
              <a:rPr lang="nl-NL" noProof="0" smtClean="0"/>
              <a:t>‹#›</a:t>
            </a:fld>
            <a:endParaRPr lang="nl-NL" noProof="0"/>
          </a:p>
        </p:txBody>
      </p:sp>
      <p:sp>
        <p:nvSpPr>
          <p:cNvPr id="7" name="Rechthoek: afgeronde hoeken 6">
            <a:extLst>
              <a:ext uri="{FF2B5EF4-FFF2-40B4-BE49-F238E27FC236}">
                <a16:creationId xmlns:a16="http://schemas.microsoft.com/office/drawing/2014/main" id="{7D3AA19E-3DC8-4556-BC42-05B65FEB6237}"/>
              </a:ext>
            </a:extLst>
          </p:cNvPr>
          <p:cNvSpPr/>
          <p:nvPr userDrawn="1"/>
        </p:nvSpPr>
        <p:spPr>
          <a:xfrm>
            <a:off x="3048000" y="-491317"/>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algn="ctr"/>
            <a:r>
              <a:rPr lang="nl-NL" sz="2799" b="0" cap="all" baseline="0" noProof="0">
                <a:solidFill>
                  <a:schemeClr val="accent1"/>
                </a:solidFill>
                <a:latin typeface="+mn-lt"/>
              </a:rPr>
              <a:t>TITELDIA/Afsluiting</a:t>
            </a:r>
          </a:p>
        </p:txBody>
      </p:sp>
      <p:sp>
        <p:nvSpPr>
          <p:cNvPr id="21" name="Tijdelijke aanduiding voor tekst 9">
            <a:extLst>
              <a:ext uri="{FF2B5EF4-FFF2-40B4-BE49-F238E27FC236}">
                <a16:creationId xmlns:a16="http://schemas.microsoft.com/office/drawing/2014/main" id="{D162A0BC-575D-4DA1-806F-F51EC72B72CA}"/>
              </a:ext>
            </a:extLst>
          </p:cNvPr>
          <p:cNvSpPr>
            <a:spLocks noGrp="1"/>
          </p:cNvSpPr>
          <p:nvPr>
            <p:ph type="body" sz="quarter" idx="15" hasCustomPrompt="1"/>
          </p:nvPr>
        </p:nvSpPr>
        <p:spPr>
          <a:xfrm>
            <a:off x="5556000" y="4900421"/>
            <a:ext cx="1080000" cy="72000"/>
          </a:xfrm>
          <a:prstGeom prst="rect">
            <a:avLst/>
          </a:prstGeom>
          <a:solidFill>
            <a:schemeClr val="accent1"/>
          </a:solidFill>
          <a:ln w="9525">
            <a:noFill/>
          </a:ln>
        </p:spPr>
        <p:txBody>
          <a:bodyPr anchor="ctr"/>
          <a:lstStyle>
            <a:lvl1pPr marL="0" indent="0" algn="ctr">
              <a:buNone/>
              <a:defRPr sz="100">
                <a:solidFill>
                  <a:schemeClr val="accent1"/>
                </a:solidFill>
              </a:defRPr>
            </a:lvl1pPr>
            <a:lvl2pPr algn="ctr">
              <a:defRPr/>
            </a:lvl2pPr>
            <a:lvl3pPr algn="ctr">
              <a:defRPr/>
            </a:lvl3pPr>
            <a:lvl4pPr algn="ctr">
              <a:defRPr/>
            </a:lvl4pPr>
            <a:lvl5pPr algn="ctr">
              <a:defRPr/>
            </a:lvl5pPr>
          </a:lstStyle>
          <a:p>
            <a:pPr lvl="0"/>
            <a:r>
              <a:rPr lang="nl-NL" noProof="0"/>
              <a:t> </a:t>
            </a:r>
          </a:p>
        </p:txBody>
      </p:sp>
      <p:sp>
        <p:nvSpPr>
          <p:cNvPr id="26" name="Tijdelijke aanduiding voor tekst 9">
            <a:extLst>
              <a:ext uri="{FF2B5EF4-FFF2-40B4-BE49-F238E27FC236}">
                <a16:creationId xmlns:a16="http://schemas.microsoft.com/office/drawing/2014/main" id="{B1B4D0D6-0979-4945-8789-95A2B294D691}"/>
              </a:ext>
            </a:extLst>
          </p:cNvPr>
          <p:cNvSpPr>
            <a:spLocks noGrp="1"/>
          </p:cNvSpPr>
          <p:nvPr>
            <p:ph type="body" sz="quarter" idx="16" hasCustomPrompt="1"/>
          </p:nvPr>
        </p:nvSpPr>
        <p:spPr>
          <a:xfrm>
            <a:off x="4783603" y="4285399"/>
            <a:ext cx="2624801" cy="421928"/>
          </a:xfrm>
          <a:prstGeom prst="roundRect">
            <a:avLst>
              <a:gd name="adj" fmla="val 13596"/>
            </a:avLst>
          </a:prstGeom>
          <a:solidFill>
            <a:schemeClr val="accent1"/>
          </a:solidFill>
          <a:ln w="9525">
            <a:noFill/>
          </a:ln>
        </p:spPr>
        <p:txBody>
          <a:bodyPr wrap="none" lIns="108000" tIns="72000" rIns="108000" bIns="72000" anchor="ctr">
            <a:spAutoFit/>
          </a:bodyPr>
          <a:lstStyle>
            <a:lvl1pPr marL="0" indent="0" algn="ctr">
              <a:buNone/>
              <a:defRPr sz="1600">
                <a:solidFill>
                  <a:schemeClr val="bg1"/>
                </a:solidFill>
              </a:defRPr>
            </a:lvl1pPr>
            <a:lvl2pPr algn="ctr">
              <a:defRPr/>
            </a:lvl2pPr>
            <a:lvl3pPr algn="ctr">
              <a:defRPr/>
            </a:lvl3pPr>
            <a:lvl4pPr algn="ctr">
              <a:defRPr/>
            </a:lvl4pPr>
            <a:lvl5pPr algn="ctr">
              <a:defRPr/>
            </a:lvl5pPr>
          </a:lstStyle>
          <a:p>
            <a:pPr lvl="0"/>
            <a:r>
              <a:rPr lang="nl-NL" noProof="0"/>
              <a:t> naam van bedrijfsonderdeel</a:t>
            </a:r>
          </a:p>
        </p:txBody>
      </p:sp>
      <p:sp>
        <p:nvSpPr>
          <p:cNvPr id="24" name="Tijdelijke aanduiding voor tekst 9">
            <a:extLst>
              <a:ext uri="{FF2B5EF4-FFF2-40B4-BE49-F238E27FC236}">
                <a16:creationId xmlns:a16="http://schemas.microsoft.com/office/drawing/2014/main" id="{B90DCB3A-5392-4CF4-8622-F077FEB7E798}"/>
              </a:ext>
            </a:extLst>
          </p:cNvPr>
          <p:cNvSpPr>
            <a:spLocks noGrp="1"/>
          </p:cNvSpPr>
          <p:nvPr>
            <p:ph type="body" sz="quarter" idx="17" hasCustomPrompt="1"/>
          </p:nvPr>
        </p:nvSpPr>
        <p:spPr>
          <a:xfrm>
            <a:off x="-1" y="6786000"/>
            <a:ext cx="12192000" cy="72000"/>
          </a:xfrm>
          <a:prstGeom prst="rect">
            <a:avLst/>
          </a:prstGeom>
          <a:solidFill>
            <a:srgbClr val="427FA1"/>
          </a:solidFill>
          <a:ln w="9525">
            <a:noFill/>
          </a:ln>
        </p:spPr>
        <p:txBody>
          <a:bodyPr anchor="ctr"/>
          <a:lstStyle>
            <a:lvl1pPr marL="0" indent="0" algn="ctr">
              <a:buNone/>
              <a:defRPr sz="100">
                <a:solidFill>
                  <a:schemeClr val="bg1"/>
                </a:solidFill>
              </a:defRPr>
            </a:lvl1pPr>
            <a:lvl2pPr algn="ctr">
              <a:defRPr/>
            </a:lvl2pPr>
            <a:lvl3pPr algn="ctr">
              <a:defRPr/>
            </a:lvl3pPr>
            <a:lvl4pPr algn="ctr">
              <a:defRPr/>
            </a:lvl4pPr>
            <a:lvl5pPr algn="ctr">
              <a:defRPr/>
            </a:lvl5pPr>
          </a:lstStyle>
          <a:p>
            <a:pPr lvl="0"/>
            <a:r>
              <a:rPr lang="nl-NL" noProof="0"/>
              <a:t> </a:t>
            </a:r>
          </a:p>
        </p:txBody>
      </p:sp>
      <p:grpSp>
        <p:nvGrpSpPr>
          <p:cNvPr id="59" name="GRID" hidden="1">
            <a:extLst>
              <a:ext uri="{FF2B5EF4-FFF2-40B4-BE49-F238E27FC236}">
                <a16:creationId xmlns:a16="http://schemas.microsoft.com/office/drawing/2014/main" id="{E4C2A759-8F26-4F33-B83B-C40BE60F085F}"/>
              </a:ext>
            </a:extLst>
          </p:cNvPr>
          <p:cNvGrpSpPr/>
          <p:nvPr userDrawn="1"/>
        </p:nvGrpSpPr>
        <p:grpSpPr>
          <a:xfrm>
            <a:off x="0" y="0"/>
            <a:ext cx="12192000" cy="6858000"/>
            <a:chOff x="0" y="0"/>
            <a:chExt cx="12192000" cy="6858000"/>
          </a:xfrm>
          <a:solidFill>
            <a:schemeClr val="tx1">
              <a:alpha val="30000"/>
            </a:schemeClr>
          </a:solidFill>
        </p:grpSpPr>
        <p:sp>
          <p:nvSpPr>
            <p:cNvPr id="60" name="Rechthoek 59">
              <a:extLst>
                <a:ext uri="{FF2B5EF4-FFF2-40B4-BE49-F238E27FC236}">
                  <a16:creationId xmlns:a16="http://schemas.microsoft.com/office/drawing/2014/main" id="{B34F9F53-D2D3-4D8E-A83D-3B954A176349}"/>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61" name="Rechthoek 60">
              <a:extLst>
                <a:ext uri="{FF2B5EF4-FFF2-40B4-BE49-F238E27FC236}">
                  <a16:creationId xmlns:a16="http://schemas.microsoft.com/office/drawing/2014/main" id="{4E03818F-4B22-4B19-A092-A2F8C97EBBC1}"/>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62" name="Rechthoek 61">
              <a:extLst>
                <a:ext uri="{FF2B5EF4-FFF2-40B4-BE49-F238E27FC236}">
                  <a16:creationId xmlns:a16="http://schemas.microsoft.com/office/drawing/2014/main" id="{D8D3F0EC-420E-48DC-AFD1-32B337B33BEA}"/>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63" name="Rechthoek 62">
              <a:extLst>
                <a:ext uri="{FF2B5EF4-FFF2-40B4-BE49-F238E27FC236}">
                  <a16:creationId xmlns:a16="http://schemas.microsoft.com/office/drawing/2014/main" id="{0571A95A-D1C2-4221-94DA-22CEB80F9B52}"/>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64" name="Rechthoek 63">
              <a:extLst>
                <a:ext uri="{FF2B5EF4-FFF2-40B4-BE49-F238E27FC236}">
                  <a16:creationId xmlns:a16="http://schemas.microsoft.com/office/drawing/2014/main" id="{3AA57B5A-A3CF-4D53-BDDF-A09CD9FC28B8}"/>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65" name="Rechthoek 64">
              <a:extLst>
                <a:ext uri="{FF2B5EF4-FFF2-40B4-BE49-F238E27FC236}">
                  <a16:creationId xmlns:a16="http://schemas.microsoft.com/office/drawing/2014/main" id="{45BE349D-76A4-4C5E-8712-6532587820F9}"/>
                </a:ext>
              </a:extLst>
            </p:cNvPr>
            <p:cNvSpPr/>
            <p:nvPr userDrawn="1"/>
          </p:nvSpPr>
          <p:spPr>
            <a:xfrm>
              <a:off x="0" y="6426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68" name="Rechthoek 67">
              <a:extLst>
                <a:ext uri="{FF2B5EF4-FFF2-40B4-BE49-F238E27FC236}">
                  <a16:creationId xmlns:a16="http://schemas.microsoft.com/office/drawing/2014/main" id="{1F721CCE-28AF-4770-A966-48719EA5DD36}"/>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69" name="Rechthoek 68">
              <a:extLst>
                <a:ext uri="{FF2B5EF4-FFF2-40B4-BE49-F238E27FC236}">
                  <a16:creationId xmlns:a16="http://schemas.microsoft.com/office/drawing/2014/main" id="{652CC678-784F-447B-B4D7-B10F5335906A}"/>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70" name="Rechthoek 69">
              <a:extLst>
                <a:ext uri="{FF2B5EF4-FFF2-40B4-BE49-F238E27FC236}">
                  <a16:creationId xmlns:a16="http://schemas.microsoft.com/office/drawing/2014/main" id="{D5BC6CEE-7574-4A92-92B5-AD22648B1A96}"/>
                </a:ext>
              </a:extLst>
            </p:cNvPr>
            <p:cNvSpPr/>
            <p:nvPr userDrawn="1"/>
          </p:nvSpPr>
          <p:spPr>
            <a:xfrm>
              <a:off x="0" y="497242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grpSp>
        <p:nvGrpSpPr>
          <p:cNvPr id="76" name="Instructie">
            <a:extLst>
              <a:ext uri="{FF2B5EF4-FFF2-40B4-BE49-F238E27FC236}">
                <a16:creationId xmlns:a16="http://schemas.microsoft.com/office/drawing/2014/main" id="{A7C5DCED-18A8-4BCA-88A6-26A48943BA7B}"/>
              </a:ext>
            </a:extLst>
          </p:cNvPr>
          <p:cNvGrpSpPr/>
          <p:nvPr userDrawn="1"/>
        </p:nvGrpSpPr>
        <p:grpSpPr>
          <a:xfrm>
            <a:off x="12391601" y="1"/>
            <a:ext cx="3183678" cy="3883011"/>
            <a:chOff x="12391601" y="0"/>
            <a:chExt cx="3183678" cy="3883011"/>
          </a:xfrm>
        </p:grpSpPr>
        <p:grpSp>
          <p:nvGrpSpPr>
            <p:cNvPr id="80" name="Groep 79">
              <a:extLst>
                <a:ext uri="{FF2B5EF4-FFF2-40B4-BE49-F238E27FC236}">
                  <a16:creationId xmlns:a16="http://schemas.microsoft.com/office/drawing/2014/main" id="{B2FD0359-C487-4235-8B0B-4F8441D51C3E}"/>
                </a:ext>
              </a:extLst>
            </p:cNvPr>
            <p:cNvGrpSpPr/>
            <p:nvPr userDrawn="1"/>
          </p:nvGrpSpPr>
          <p:grpSpPr>
            <a:xfrm>
              <a:off x="12757282" y="3100116"/>
              <a:ext cx="1499406" cy="678267"/>
              <a:chOff x="12757283" y="3120781"/>
              <a:chExt cx="1499406" cy="678267"/>
            </a:xfrm>
          </p:grpSpPr>
          <p:sp>
            <p:nvSpPr>
              <p:cNvPr id="103" name="Rechthoek 102">
                <a:extLst>
                  <a:ext uri="{FF2B5EF4-FFF2-40B4-BE49-F238E27FC236}">
                    <a16:creationId xmlns:a16="http://schemas.microsoft.com/office/drawing/2014/main" id="{30339959-42BF-44BD-9B32-446D1EDF5D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4" name="Rechthoek 103">
                <a:extLst>
                  <a:ext uri="{FF2B5EF4-FFF2-40B4-BE49-F238E27FC236}">
                    <a16:creationId xmlns:a16="http://schemas.microsoft.com/office/drawing/2014/main" id="{5B4BA334-5B96-4122-A9DE-CC3D57E9B95C}"/>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5" name="Tekstvak 104">
                <a:extLst>
                  <a:ext uri="{FF2B5EF4-FFF2-40B4-BE49-F238E27FC236}">
                    <a16:creationId xmlns:a16="http://schemas.microsoft.com/office/drawing/2014/main" id="{7F6D4F7E-978D-4740-9136-0C46F575BEFB}"/>
                  </a:ext>
                </a:extLst>
              </p:cNvPr>
              <p:cNvSpPr txBox="1"/>
              <p:nvPr userDrawn="1"/>
            </p:nvSpPr>
            <p:spPr>
              <a:xfrm>
                <a:off x="12997648" y="3159891"/>
                <a:ext cx="957818" cy="203133"/>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106" name="Tekstvak 105">
                <a:extLst>
                  <a:ext uri="{FF2B5EF4-FFF2-40B4-BE49-F238E27FC236}">
                    <a16:creationId xmlns:a16="http://schemas.microsoft.com/office/drawing/2014/main" id="{34A034C6-50DE-4BFE-952B-32B7F38C7FA3}"/>
                  </a:ext>
                </a:extLst>
              </p:cNvPr>
              <p:cNvSpPr txBox="1"/>
              <p:nvPr userDrawn="1"/>
            </p:nvSpPr>
            <p:spPr>
              <a:xfrm>
                <a:off x="12984219" y="3481017"/>
                <a:ext cx="1165564" cy="203133"/>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107" name="Picture 3">
                <a:extLst>
                  <a:ext uri="{FF2B5EF4-FFF2-40B4-BE49-F238E27FC236}">
                    <a16:creationId xmlns:a16="http://schemas.microsoft.com/office/drawing/2014/main" id="{F0977799-6EC4-45FE-BFE7-98A224CBF11A}"/>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 name="Gelijkbenige driehoek 107">
                <a:extLst>
                  <a:ext uri="{FF2B5EF4-FFF2-40B4-BE49-F238E27FC236}">
                    <a16:creationId xmlns:a16="http://schemas.microsoft.com/office/drawing/2014/main" id="{7D08ACEE-7813-4912-B1B0-96C65D6A464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109" name="Groep 108">
                <a:extLst>
                  <a:ext uri="{FF2B5EF4-FFF2-40B4-BE49-F238E27FC236}">
                    <a16:creationId xmlns:a16="http://schemas.microsoft.com/office/drawing/2014/main" id="{9242D21B-8D47-4460-BFC3-999A110474CC}"/>
                  </a:ext>
                </a:extLst>
              </p:cNvPr>
              <p:cNvGrpSpPr/>
              <p:nvPr userDrawn="1"/>
            </p:nvGrpSpPr>
            <p:grpSpPr>
              <a:xfrm>
                <a:off x="12822311" y="3178534"/>
                <a:ext cx="182309" cy="163794"/>
                <a:chOff x="12832541" y="3162395"/>
                <a:chExt cx="219532" cy="197236"/>
              </a:xfrm>
            </p:grpSpPr>
            <p:sp>
              <p:nvSpPr>
                <p:cNvPr id="114" name="Rechthoek 113">
                  <a:extLst>
                    <a:ext uri="{FF2B5EF4-FFF2-40B4-BE49-F238E27FC236}">
                      <a16:creationId xmlns:a16="http://schemas.microsoft.com/office/drawing/2014/main" id="{D236EB61-5263-4D5F-8FD7-9E9F2B1BCBEC}"/>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15" name="Rechthoek 114">
                  <a:extLst>
                    <a:ext uri="{FF2B5EF4-FFF2-40B4-BE49-F238E27FC236}">
                      <a16:creationId xmlns:a16="http://schemas.microsoft.com/office/drawing/2014/main" id="{7BCC57FF-07F3-44A6-BDDA-18FF86611859}"/>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16" name="Rechthoek 115">
                  <a:extLst>
                    <a:ext uri="{FF2B5EF4-FFF2-40B4-BE49-F238E27FC236}">
                      <a16:creationId xmlns:a16="http://schemas.microsoft.com/office/drawing/2014/main" id="{E5D57E57-89A7-4E8E-8268-3046F6A94D44}"/>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nvGrpSpPr>
              <p:cNvPr id="110" name="Groep 109">
                <a:extLst>
                  <a:ext uri="{FF2B5EF4-FFF2-40B4-BE49-F238E27FC236}">
                    <a16:creationId xmlns:a16="http://schemas.microsoft.com/office/drawing/2014/main" id="{CE64DD25-4A21-48E9-BA5B-742A72C00E87}"/>
                  </a:ext>
                </a:extLst>
              </p:cNvPr>
              <p:cNvGrpSpPr/>
              <p:nvPr userDrawn="1"/>
            </p:nvGrpSpPr>
            <p:grpSpPr>
              <a:xfrm>
                <a:off x="12822311" y="3480352"/>
                <a:ext cx="182309" cy="163794"/>
                <a:chOff x="12832541" y="3162395"/>
                <a:chExt cx="219532" cy="197236"/>
              </a:xfrm>
            </p:grpSpPr>
            <p:sp>
              <p:nvSpPr>
                <p:cNvPr id="111" name="Rechthoek 110">
                  <a:extLst>
                    <a:ext uri="{FF2B5EF4-FFF2-40B4-BE49-F238E27FC236}">
                      <a16:creationId xmlns:a16="http://schemas.microsoft.com/office/drawing/2014/main" id="{D9A03206-EC98-4032-A2BA-F307061D1DA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12" name="Rechthoek 111">
                  <a:extLst>
                    <a:ext uri="{FF2B5EF4-FFF2-40B4-BE49-F238E27FC236}">
                      <a16:creationId xmlns:a16="http://schemas.microsoft.com/office/drawing/2014/main" id="{5B162F1D-7353-4CE6-A1B0-E1E071915FC0}"/>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13" name="Rechthoek 112">
                  <a:extLst>
                    <a:ext uri="{FF2B5EF4-FFF2-40B4-BE49-F238E27FC236}">
                      <a16:creationId xmlns:a16="http://schemas.microsoft.com/office/drawing/2014/main" id="{91B8FD5F-CC8C-47E1-BC4E-423EEBCCD7AC}"/>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
          <p:nvSpPr>
            <p:cNvPr id="81" name="Rechthoek 80">
              <a:extLst>
                <a:ext uri="{FF2B5EF4-FFF2-40B4-BE49-F238E27FC236}">
                  <a16:creationId xmlns:a16="http://schemas.microsoft.com/office/drawing/2014/main" id="{00B59C7E-193F-4D0B-A955-FCD17B9AABE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82" name="Ovaal 81">
              <a:extLst>
                <a:ext uri="{FF2B5EF4-FFF2-40B4-BE49-F238E27FC236}">
                  <a16:creationId xmlns:a16="http://schemas.microsoft.com/office/drawing/2014/main" id="{C88F2BFE-1EBD-4088-8F39-6534E79E23A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3" name="Rechte verbindingslijn 82">
              <a:extLst>
                <a:ext uri="{FF2B5EF4-FFF2-40B4-BE49-F238E27FC236}">
                  <a16:creationId xmlns:a16="http://schemas.microsoft.com/office/drawing/2014/main" id="{76CB2299-2B62-4F43-BA2C-96DCFFE8C528}"/>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84" name="Rechte verbindingslijn 83">
              <a:extLst>
                <a:ext uri="{FF2B5EF4-FFF2-40B4-BE49-F238E27FC236}">
                  <a16:creationId xmlns:a16="http://schemas.microsoft.com/office/drawing/2014/main" id="{057D3894-88C4-4C83-8F87-599712FFABD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85" name="Rechthoek 84">
              <a:extLst>
                <a:ext uri="{FF2B5EF4-FFF2-40B4-BE49-F238E27FC236}">
                  <a16:creationId xmlns:a16="http://schemas.microsoft.com/office/drawing/2014/main" id="{1495C823-2C18-4951-B86A-749D9631FEF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86" name="Rechte verbindingslijn 85">
              <a:extLst>
                <a:ext uri="{FF2B5EF4-FFF2-40B4-BE49-F238E27FC236}">
                  <a16:creationId xmlns:a16="http://schemas.microsoft.com/office/drawing/2014/main" id="{E802DE7B-E1F2-4686-87CD-4AF993D27E9E}"/>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87" name="Ovaal 86">
              <a:extLst>
                <a:ext uri="{FF2B5EF4-FFF2-40B4-BE49-F238E27FC236}">
                  <a16:creationId xmlns:a16="http://schemas.microsoft.com/office/drawing/2014/main" id="{26DDAD4D-4022-4A00-8486-8F987CB3847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88" name="Rechthoek 87">
              <a:extLst>
                <a:ext uri="{FF2B5EF4-FFF2-40B4-BE49-F238E27FC236}">
                  <a16:creationId xmlns:a16="http://schemas.microsoft.com/office/drawing/2014/main" id="{F057954F-8C77-4E11-9DB0-51F7FA70896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89" name="Groep 88">
              <a:extLst>
                <a:ext uri="{FF2B5EF4-FFF2-40B4-BE49-F238E27FC236}">
                  <a16:creationId xmlns:a16="http://schemas.microsoft.com/office/drawing/2014/main" id="{033A4A22-69F6-43DF-99D3-71C402EF6A17}"/>
                </a:ext>
              </a:extLst>
            </p:cNvPr>
            <p:cNvGrpSpPr/>
            <p:nvPr userDrawn="1"/>
          </p:nvGrpSpPr>
          <p:grpSpPr>
            <a:xfrm>
              <a:off x="12757282" y="2184550"/>
              <a:ext cx="825500" cy="209550"/>
              <a:chOff x="13504624" y="2482850"/>
              <a:chExt cx="825500" cy="209550"/>
            </a:xfrm>
          </p:grpSpPr>
          <p:sp>
            <p:nvSpPr>
              <p:cNvPr id="100" name="Rechthoek 99">
                <a:extLst>
                  <a:ext uri="{FF2B5EF4-FFF2-40B4-BE49-F238E27FC236}">
                    <a16:creationId xmlns:a16="http://schemas.microsoft.com/office/drawing/2014/main" id="{EF286B8A-5D47-43BE-8E5D-AD52C28E312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01" name="Rechte verbindingslijn 100">
                <a:extLst>
                  <a:ext uri="{FF2B5EF4-FFF2-40B4-BE49-F238E27FC236}">
                    <a16:creationId xmlns:a16="http://schemas.microsoft.com/office/drawing/2014/main" id="{69C398AB-B347-40EF-9457-D1299C60B64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02" name="Gelijkbenige driehoek 101">
                <a:extLst>
                  <a:ext uri="{FF2B5EF4-FFF2-40B4-BE49-F238E27FC236}">
                    <a16:creationId xmlns:a16="http://schemas.microsoft.com/office/drawing/2014/main" id="{FF708588-A9DE-4739-8F50-C24064DF259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90" name="Groep 89">
              <a:extLst>
                <a:ext uri="{FF2B5EF4-FFF2-40B4-BE49-F238E27FC236}">
                  <a16:creationId xmlns:a16="http://schemas.microsoft.com/office/drawing/2014/main" id="{45EA5EB3-AA32-4BA2-95F3-261E7B7754D6}"/>
                </a:ext>
              </a:extLst>
            </p:cNvPr>
            <p:cNvGrpSpPr/>
            <p:nvPr userDrawn="1"/>
          </p:nvGrpSpPr>
          <p:grpSpPr>
            <a:xfrm>
              <a:off x="12757282" y="1141626"/>
              <a:ext cx="294789" cy="318834"/>
              <a:chOff x="14466489" y="1001522"/>
              <a:chExt cx="290627" cy="314333"/>
            </a:xfrm>
          </p:grpSpPr>
          <p:sp>
            <p:nvSpPr>
              <p:cNvPr id="94" name="Rechthoek 93">
                <a:extLst>
                  <a:ext uri="{FF2B5EF4-FFF2-40B4-BE49-F238E27FC236}">
                    <a16:creationId xmlns:a16="http://schemas.microsoft.com/office/drawing/2014/main" id="{273118CE-989E-42B3-9023-6090BCE5D1D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95" name="Ovaal 94">
                <a:extLst>
                  <a:ext uri="{FF2B5EF4-FFF2-40B4-BE49-F238E27FC236}">
                    <a16:creationId xmlns:a16="http://schemas.microsoft.com/office/drawing/2014/main" id="{EFF5EAE8-1B89-422E-A5AD-78F52E3348A3}"/>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6" name="Vrije vorm: vorm 95">
                <a:extLst>
                  <a:ext uri="{FF2B5EF4-FFF2-40B4-BE49-F238E27FC236}">
                    <a16:creationId xmlns:a16="http://schemas.microsoft.com/office/drawing/2014/main" id="{1941F0BB-D4B4-4BA2-8B19-9BE4186761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7" name="Rechthoek: afgeronde hoeken 96">
                <a:extLst>
                  <a:ext uri="{FF2B5EF4-FFF2-40B4-BE49-F238E27FC236}">
                    <a16:creationId xmlns:a16="http://schemas.microsoft.com/office/drawing/2014/main" id="{D4D148B3-B787-46A7-9F7A-3E7C332CCFF0}"/>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98" name="Rechte verbindingslijn 97">
                <a:extLst>
                  <a:ext uri="{FF2B5EF4-FFF2-40B4-BE49-F238E27FC236}">
                    <a16:creationId xmlns:a16="http://schemas.microsoft.com/office/drawing/2014/main" id="{0814D724-37D2-42AA-983F-CBB36268F35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99" name="Rechte verbindingslijn 98">
                <a:extLst>
                  <a:ext uri="{FF2B5EF4-FFF2-40B4-BE49-F238E27FC236}">
                    <a16:creationId xmlns:a16="http://schemas.microsoft.com/office/drawing/2014/main" id="{F3A4A562-A36D-49D4-BD61-8826010E2FF8}"/>
                  </a:ext>
                </a:extLst>
              </p:cNvPr>
              <p:cNvCxnSpPr>
                <a:cxnSpLocks/>
                <a:stCxn id="9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91" name="Ovaal 90">
              <a:extLst>
                <a:ext uri="{FF2B5EF4-FFF2-40B4-BE49-F238E27FC236}">
                  <a16:creationId xmlns:a16="http://schemas.microsoft.com/office/drawing/2014/main" id="{EA084D35-F4AE-403C-B8A9-EF038E119193}"/>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92" name="Rechthoek 91">
              <a:extLst>
                <a:ext uri="{FF2B5EF4-FFF2-40B4-BE49-F238E27FC236}">
                  <a16:creationId xmlns:a16="http://schemas.microsoft.com/office/drawing/2014/main" id="{F2A9A87D-41CE-4E32-BB70-B049CD6381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93" name="Rechte verbindingslijn 92">
              <a:extLst>
                <a:ext uri="{FF2B5EF4-FFF2-40B4-BE49-F238E27FC236}">
                  <a16:creationId xmlns:a16="http://schemas.microsoft.com/office/drawing/2014/main" id="{F9BD3C04-532C-47B1-A6A5-35552C24B529}"/>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spTree>
    <p:extLst>
      <p:ext uri="{BB962C8B-B14F-4D97-AF65-F5344CB8AC3E}">
        <p14:creationId xmlns:p14="http://schemas.microsoft.com/office/powerpoint/2010/main" val="23773004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ppt_x"/>
                                          </p:val>
                                        </p:tav>
                                        <p:tav tm="100000">
                                          <p:val>
                                            <p:strVal val="#ppt_x"/>
                                          </p:val>
                                        </p:tav>
                                      </p:tavLst>
                                    </p:anim>
                                    <p:anim calcmode="lin" valueType="num">
                                      <p:cBhvr additive="base">
                                        <p:cTn id="8" dur="75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5"/>
            <a:ext cx="11112000" cy="301139"/>
          </a:xfrm>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9D203AB1-76A8-4541-8811-C1B933DEA746}"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Vul hier een bron in (of laat dit </a:t>
            </a:r>
            <a:r>
              <a:rPr lang="nl-NL" noProof="0" err="1"/>
              <a:t>tekstvak</a:t>
            </a:r>
            <a:r>
              <a:rPr lang="nl-NL" noProof="0"/>
              <a:t> leeg wanneer een bron ontbreekt)</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a:t>
            </a:r>
          </a:p>
        </p:txBody>
      </p:sp>
      <p:sp>
        <p:nvSpPr>
          <p:cNvPr id="44" name="Tijdelijke aanduiding voor tekst 43">
            <a:extLst>
              <a:ext uri="{FF2B5EF4-FFF2-40B4-BE49-F238E27FC236}">
                <a16:creationId xmlns:a16="http://schemas.microsoft.com/office/drawing/2014/main" id="{C39606EC-1987-41D2-AE51-A1A79674F48D}"/>
              </a:ext>
            </a:extLst>
          </p:cNvPr>
          <p:cNvSpPr>
            <a:spLocks noGrp="1"/>
          </p:cNvSpPr>
          <p:nvPr>
            <p:ph type="body" sz="quarter" idx="15"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8" name="Instructie">
            <a:extLst>
              <a:ext uri="{FF2B5EF4-FFF2-40B4-BE49-F238E27FC236}">
                <a16:creationId xmlns:a16="http://schemas.microsoft.com/office/drawing/2014/main" id="{CE3C711D-2017-404E-847B-AB4DEB87F028}"/>
              </a:ext>
            </a:extLst>
          </p:cNvPr>
          <p:cNvGrpSpPr/>
          <p:nvPr userDrawn="1"/>
        </p:nvGrpSpPr>
        <p:grpSpPr>
          <a:xfrm>
            <a:off x="-3437546" y="1436"/>
            <a:ext cx="3201327" cy="6041867"/>
            <a:chOff x="-3437547" y="1434"/>
            <a:chExt cx="3201327" cy="6041867"/>
          </a:xfrm>
        </p:grpSpPr>
        <p:cxnSp>
          <p:nvCxnSpPr>
            <p:cNvPr id="23" name="Rechte verbindingslijn 22">
              <a:extLst>
                <a:ext uri="{FF2B5EF4-FFF2-40B4-BE49-F238E27FC236}">
                  <a16:creationId xmlns:a16="http://schemas.microsoft.com/office/drawing/2014/main" id="{B573ECE5-8B26-421E-B340-85DC5FBC5D3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4" name="Ovaal 23">
              <a:extLst>
                <a:ext uri="{FF2B5EF4-FFF2-40B4-BE49-F238E27FC236}">
                  <a16:creationId xmlns:a16="http://schemas.microsoft.com/office/drawing/2014/main" id="{7F69DEA5-422C-4E20-9D82-F332E3A683A8}"/>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5" name="Rechthoek 24">
              <a:extLst>
                <a:ext uri="{FF2B5EF4-FFF2-40B4-BE49-F238E27FC236}">
                  <a16:creationId xmlns:a16="http://schemas.microsoft.com/office/drawing/2014/main" id="{A25A09AD-A11B-4C29-AC8E-9F7F34618732}"/>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 name="Ovaal 25">
              <a:extLst>
                <a:ext uri="{FF2B5EF4-FFF2-40B4-BE49-F238E27FC236}">
                  <a16:creationId xmlns:a16="http://schemas.microsoft.com/office/drawing/2014/main" id="{0E7B5A5A-CDF9-400A-9597-9EAC1A4986B6}"/>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7" name="Rechthoek 26">
              <a:extLst>
                <a:ext uri="{FF2B5EF4-FFF2-40B4-BE49-F238E27FC236}">
                  <a16:creationId xmlns:a16="http://schemas.microsoft.com/office/drawing/2014/main" id="{ED506BF8-3B02-4DC7-B980-DA7A16229F08}"/>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8" name="Ovaal 27">
              <a:extLst>
                <a:ext uri="{FF2B5EF4-FFF2-40B4-BE49-F238E27FC236}">
                  <a16:creationId xmlns:a16="http://schemas.microsoft.com/office/drawing/2014/main" id="{29C6A98D-11CD-48B6-9127-DAC0D53A1849}"/>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9" name="Rechthoek 28">
              <a:extLst>
                <a:ext uri="{FF2B5EF4-FFF2-40B4-BE49-F238E27FC236}">
                  <a16:creationId xmlns:a16="http://schemas.microsoft.com/office/drawing/2014/main" id="{7770311C-EF99-4E7F-840A-B800D333C699}"/>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0" name="Ovaal 29">
              <a:extLst>
                <a:ext uri="{FF2B5EF4-FFF2-40B4-BE49-F238E27FC236}">
                  <a16:creationId xmlns:a16="http://schemas.microsoft.com/office/drawing/2014/main" id="{6C1F6DEA-553B-410A-9A95-8C3DD7FCA4EA}"/>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1" name="Rechthoek 30">
              <a:extLst>
                <a:ext uri="{FF2B5EF4-FFF2-40B4-BE49-F238E27FC236}">
                  <a16:creationId xmlns:a16="http://schemas.microsoft.com/office/drawing/2014/main" id="{FCF75767-3FEF-4250-A5B4-7C160D3444B7}"/>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45" name="Rechthoek 44">
              <a:extLst>
                <a:ext uri="{FF2B5EF4-FFF2-40B4-BE49-F238E27FC236}">
                  <a16:creationId xmlns:a16="http://schemas.microsoft.com/office/drawing/2014/main" id="{3B276D92-7A41-49DF-8C88-185CB47BA65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46" name="Ovaal 45">
              <a:extLst>
                <a:ext uri="{FF2B5EF4-FFF2-40B4-BE49-F238E27FC236}">
                  <a16:creationId xmlns:a16="http://schemas.microsoft.com/office/drawing/2014/main" id="{48C479DB-B8BC-4506-9181-30DF60A1539A}"/>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 name="Rechte verbindingslijn 46">
              <a:extLst>
                <a:ext uri="{FF2B5EF4-FFF2-40B4-BE49-F238E27FC236}">
                  <a16:creationId xmlns:a16="http://schemas.microsoft.com/office/drawing/2014/main" id="{3052ED36-84F4-48FF-B422-49B9578D7FB0}"/>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48" name="Groep 47">
              <a:extLst>
                <a:ext uri="{FF2B5EF4-FFF2-40B4-BE49-F238E27FC236}">
                  <a16:creationId xmlns:a16="http://schemas.microsoft.com/office/drawing/2014/main" id="{2B7D56E9-EEB3-4AF4-BC5B-4BFF6F083B90}"/>
                </a:ext>
              </a:extLst>
            </p:cNvPr>
            <p:cNvGrpSpPr/>
            <p:nvPr userDrawn="1"/>
          </p:nvGrpSpPr>
          <p:grpSpPr>
            <a:xfrm>
              <a:off x="-3437547" y="1295337"/>
              <a:ext cx="2933825" cy="558875"/>
              <a:chOff x="-3419346" y="368233"/>
              <a:chExt cx="3904920" cy="743862"/>
            </a:xfrm>
          </p:grpSpPr>
          <p:sp>
            <p:nvSpPr>
              <p:cNvPr id="60" name="Rechthoek 59">
                <a:extLst>
                  <a:ext uri="{FF2B5EF4-FFF2-40B4-BE49-F238E27FC236}">
                    <a16:creationId xmlns:a16="http://schemas.microsoft.com/office/drawing/2014/main" id="{61E16074-F3FA-4189-ADBD-C927E78887B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61" name="Rechte verbindingslijn 60">
                <a:extLst>
                  <a:ext uri="{FF2B5EF4-FFF2-40B4-BE49-F238E27FC236}">
                    <a16:creationId xmlns:a16="http://schemas.microsoft.com/office/drawing/2014/main" id="{AC9D2FE3-7A38-4D0F-B5D8-D4B088A87F1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ACA54EBA-22C4-4EB3-AD0C-97610A1785D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96BB71A8-82F1-4422-A5A1-C3391CDECF4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64" name="Groep 63">
                <a:extLst>
                  <a:ext uri="{FF2B5EF4-FFF2-40B4-BE49-F238E27FC236}">
                    <a16:creationId xmlns:a16="http://schemas.microsoft.com/office/drawing/2014/main" id="{780219A5-8C04-42C6-A4D0-881DA7D5E459}"/>
                  </a:ext>
                </a:extLst>
              </p:cNvPr>
              <p:cNvGrpSpPr/>
              <p:nvPr userDrawn="1"/>
            </p:nvGrpSpPr>
            <p:grpSpPr>
              <a:xfrm>
                <a:off x="-3002834" y="720303"/>
                <a:ext cx="182598" cy="143759"/>
                <a:chOff x="-3310843" y="700986"/>
                <a:chExt cx="182598" cy="143759"/>
              </a:xfrm>
            </p:grpSpPr>
            <p:grpSp>
              <p:nvGrpSpPr>
                <p:cNvPr id="103" name="Groep 102">
                  <a:extLst>
                    <a:ext uri="{FF2B5EF4-FFF2-40B4-BE49-F238E27FC236}">
                      <a16:creationId xmlns:a16="http://schemas.microsoft.com/office/drawing/2014/main" id="{FC7CC685-AA38-4D4E-B2C4-F90C521D0CF9}"/>
                    </a:ext>
                  </a:extLst>
                </p:cNvPr>
                <p:cNvGrpSpPr/>
                <p:nvPr userDrawn="1"/>
              </p:nvGrpSpPr>
              <p:grpSpPr>
                <a:xfrm>
                  <a:off x="-3310843" y="700986"/>
                  <a:ext cx="182598" cy="143759"/>
                  <a:chOff x="-3310843" y="700986"/>
                  <a:chExt cx="182598" cy="143759"/>
                </a:xfrm>
              </p:grpSpPr>
              <p:cxnSp>
                <p:nvCxnSpPr>
                  <p:cNvPr id="107" name="Rechte verbindingslijn 106">
                    <a:extLst>
                      <a:ext uri="{FF2B5EF4-FFF2-40B4-BE49-F238E27FC236}">
                        <a16:creationId xmlns:a16="http://schemas.microsoft.com/office/drawing/2014/main" id="{2D694759-A192-42AC-A457-14D6A864265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08" name="Rechte verbindingslijn 107">
                    <a:extLst>
                      <a:ext uri="{FF2B5EF4-FFF2-40B4-BE49-F238E27FC236}">
                        <a16:creationId xmlns:a16="http://schemas.microsoft.com/office/drawing/2014/main" id="{CC7F71B4-EACA-4BE8-A865-1E7CFA95D6B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09" name="Rechte verbindingslijn 108">
                    <a:extLst>
                      <a:ext uri="{FF2B5EF4-FFF2-40B4-BE49-F238E27FC236}">
                        <a16:creationId xmlns:a16="http://schemas.microsoft.com/office/drawing/2014/main" id="{B2831E05-563B-4742-B07B-E78E166CB65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10" name="Rechte verbindingslijn 109">
                    <a:extLst>
                      <a:ext uri="{FF2B5EF4-FFF2-40B4-BE49-F238E27FC236}">
                        <a16:creationId xmlns:a16="http://schemas.microsoft.com/office/drawing/2014/main" id="{F795F7FC-258B-4EC6-9B7E-EAD57CF93A1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11" name="Rechte verbindingslijn 110">
                    <a:extLst>
                      <a:ext uri="{FF2B5EF4-FFF2-40B4-BE49-F238E27FC236}">
                        <a16:creationId xmlns:a16="http://schemas.microsoft.com/office/drawing/2014/main" id="{1DBD846C-E37C-4635-A8CD-660F6D9FA634}"/>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04" name="Groep 103">
                  <a:extLst>
                    <a:ext uri="{FF2B5EF4-FFF2-40B4-BE49-F238E27FC236}">
                      <a16:creationId xmlns:a16="http://schemas.microsoft.com/office/drawing/2014/main" id="{3D97D966-D71A-4FA8-AE20-3105BFDC3B66}"/>
                    </a:ext>
                  </a:extLst>
                </p:cNvPr>
                <p:cNvGrpSpPr/>
                <p:nvPr userDrawn="1"/>
              </p:nvGrpSpPr>
              <p:grpSpPr>
                <a:xfrm flipH="1">
                  <a:off x="-3310774" y="735854"/>
                  <a:ext cx="88801" cy="72568"/>
                  <a:chOff x="-2091059" y="1395403"/>
                  <a:chExt cx="157316" cy="128558"/>
                </a:xfrm>
              </p:grpSpPr>
              <p:sp>
                <p:nvSpPr>
                  <p:cNvPr id="105" name="Rechthoek 104">
                    <a:extLst>
                      <a:ext uri="{FF2B5EF4-FFF2-40B4-BE49-F238E27FC236}">
                        <a16:creationId xmlns:a16="http://schemas.microsoft.com/office/drawing/2014/main" id="{0689700D-B843-4EAC-92D9-758AC881AB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6" name="Pijl: punthaak 105">
                    <a:extLst>
                      <a:ext uri="{FF2B5EF4-FFF2-40B4-BE49-F238E27FC236}">
                        <a16:creationId xmlns:a16="http://schemas.microsoft.com/office/drawing/2014/main" id="{2CFA9A02-7131-4E8B-B7CE-35CE98E8065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65" name="Groep 64">
                <a:extLst>
                  <a:ext uri="{FF2B5EF4-FFF2-40B4-BE49-F238E27FC236}">
                    <a16:creationId xmlns:a16="http://schemas.microsoft.com/office/drawing/2014/main" id="{5C288CB5-A6DD-4AAA-84E4-2D67A2F0924D}"/>
                  </a:ext>
                </a:extLst>
              </p:cNvPr>
              <p:cNvGrpSpPr/>
              <p:nvPr userDrawn="1"/>
            </p:nvGrpSpPr>
            <p:grpSpPr>
              <a:xfrm>
                <a:off x="-3326107" y="720303"/>
                <a:ext cx="182598" cy="143759"/>
                <a:chOff x="-3634116" y="700986"/>
                <a:chExt cx="182598" cy="143759"/>
              </a:xfrm>
            </p:grpSpPr>
            <p:grpSp>
              <p:nvGrpSpPr>
                <p:cNvPr id="94" name="Groep 93">
                  <a:extLst>
                    <a:ext uri="{FF2B5EF4-FFF2-40B4-BE49-F238E27FC236}">
                      <a16:creationId xmlns:a16="http://schemas.microsoft.com/office/drawing/2014/main" id="{3A8AECE4-060D-4703-8A8A-444C4CA93266}"/>
                    </a:ext>
                  </a:extLst>
                </p:cNvPr>
                <p:cNvGrpSpPr/>
                <p:nvPr userDrawn="1"/>
              </p:nvGrpSpPr>
              <p:grpSpPr>
                <a:xfrm>
                  <a:off x="-3634116" y="700986"/>
                  <a:ext cx="182598" cy="143759"/>
                  <a:chOff x="-3634116" y="700986"/>
                  <a:chExt cx="182598" cy="143759"/>
                </a:xfrm>
              </p:grpSpPr>
              <p:cxnSp>
                <p:nvCxnSpPr>
                  <p:cNvPr id="98" name="Rechte verbindingslijn 97">
                    <a:extLst>
                      <a:ext uri="{FF2B5EF4-FFF2-40B4-BE49-F238E27FC236}">
                        <a16:creationId xmlns:a16="http://schemas.microsoft.com/office/drawing/2014/main" id="{1544CA00-C208-445C-BB6B-F5CC9C3DAF5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99" name="Rechte verbindingslijn 98">
                    <a:extLst>
                      <a:ext uri="{FF2B5EF4-FFF2-40B4-BE49-F238E27FC236}">
                        <a16:creationId xmlns:a16="http://schemas.microsoft.com/office/drawing/2014/main" id="{3257705F-AA56-47A0-B282-4E57BC000EB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00" name="Rechte verbindingslijn 99">
                    <a:extLst>
                      <a:ext uri="{FF2B5EF4-FFF2-40B4-BE49-F238E27FC236}">
                        <a16:creationId xmlns:a16="http://schemas.microsoft.com/office/drawing/2014/main" id="{46701D0E-2CE2-4806-BE99-A872AE17BB4F}"/>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01" name="Rechte verbindingslijn 100">
                    <a:extLst>
                      <a:ext uri="{FF2B5EF4-FFF2-40B4-BE49-F238E27FC236}">
                        <a16:creationId xmlns:a16="http://schemas.microsoft.com/office/drawing/2014/main" id="{1BE5CA17-AEB5-4192-B144-365F5F03963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02" name="Rechte verbindingslijn 101">
                    <a:extLst>
                      <a:ext uri="{FF2B5EF4-FFF2-40B4-BE49-F238E27FC236}">
                        <a16:creationId xmlns:a16="http://schemas.microsoft.com/office/drawing/2014/main" id="{6BB58DAA-BFD4-493A-8826-A11AAD309D7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95" name="Groep 94">
                  <a:extLst>
                    <a:ext uri="{FF2B5EF4-FFF2-40B4-BE49-F238E27FC236}">
                      <a16:creationId xmlns:a16="http://schemas.microsoft.com/office/drawing/2014/main" id="{297D8323-6433-463C-BA17-485A6998634F}"/>
                    </a:ext>
                  </a:extLst>
                </p:cNvPr>
                <p:cNvGrpSpPr/>
                <p:nvPr userDrawn="1"/>
              </p:nvGrpSpPr>
              <p:grpSpPr>
                <a:xfrm>
                  <a:off x="-3634047" y="735854"/>
                  <a:ext cx="88801" cy="72568"/>
                  <a:chOff x="-2091059" y="1395403"/>
                  <a:chExt cx="157316" cy="128558"/>
                </a:xfrm>
              </p:grpSpPr>
              <p:sp>
                <p:nvSpPr>
                  <p:cNvPr id="96" name="Rechthoek 95">
                    <a:extLst>
                      <a:ext uri="{FF2B5EF4-FFF2-40B4-BE49-F238E27FC236}">
                        <a16:creationId xmlns:a16="http://schemas.microsoft.com/office/drawing/2014/main" id="{9FCE541F-2D4F-4633-BDC6-6E1DBED57B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7" name="Pijl: punthaak 96">
                    <a:extLst>
                      <a:ext uri="{FF2B5EF4-FFF2-40B4-BE49-F238E27FC236}">
                        <a16:creationId xmlns:a16="http://schemas.microsoft.com/office/drawing/2014/main" id="{FBFA69ED-5FD5-4EEE-9432-20F41D0BD65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66" name="Rechte verbindingslijn 65">
                <a:extLst>
                  <a:ext uri="{FF2B5EF4-FFF2-40B4-BE49-F238E27FC236}">
                    <a16:creationId xmlns:a16="http://schemas.microsoft.com/office/drawing/2014/main" id="{F2AE5A10-0BC9-4045-AA22-F2029F4F78EB}"/>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67" name="Rechte verbindingslijn 66">
                <a:extLst>
                  <a:ext uri="{FF2B5EF4-FFF2-40B4-BE49-F238E27FC236}">
                    <a16:creationId xmlns:a16="http://schemas.microsoft.com/office/drawing/2014/main" id="{C72928FC-A8D8-4CD5-8766-B5992A5DE907}"/>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68" name="Groep 67">
                <a:extLst>
                  <a:ext uri="{FF2B5EF4-FFF2-40B4-BE49-F238E27FC236}">
                    <a16:creationId xmlns:a16="http://schemas.microsoft.com/office/drawing/2014/main" id="{FBB251F0-9219-4686-B399-B49D07BB0635}"/>
                  </a:ext>
                </a:extLst>
              </p:cNvPr>
              <p:cNvGrpSpPr/>
              <p:nvPr userDrawn="1"/>
            </p:nvGrpSpPr>
            <p:grpSpPr>
              <a:xfrm>
                <a:off x="-2425037" y="370226"/>
                <a:ext cx="357690" cy="330595"/>
                <a:chOff x="-2721817" y="347336"/>
                <a:chExt cx="432805" cy="400021"/>
              </a:xfrm>
            </p:grpSpPr>
            <p:sp>
              <p:nvSpPr>
                <p:cNvPr id="83" name="Rechthoek 82">
                  <a:extLst>
                    <a:ext uri="{FF2B5EF4-FFF2-40B4-BE49-F238E27FC236}">
                      <a16:creationId xmlns:a16="http://schemas.microsoft.com/office/drawing/2014/main" id="{87C7F542-D348-4FFA-BCBB-D4537D135E2F}"/>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84" name="Groep 83">
                  <a:extLst>
                    <a:ext uri="{FF2B5EF4-FFF2-40B4-BE49-F238E27FC236}">
                      <a16:creationId xmlns:a16="http://schemas.microsoft.com/office/drawing/2014/main" id="{C34001F2-0355-4A0A-A00C-0117C894376B}"/>
                    </a:ext>
                  </a:extLst>
                </p:cNvPr>
                <p:cNvGrpSpPr/>
                <p:nvPr userDrawn="1"/>
              </p:nvGrpSpPr>
              <p:grpSpPr>
                <a:xfrm>
                  <a:off x="-2652453" y="431583"/>
                  <a:ext cx="294076" cy="231526"/>
                  <a:chOff x="-3634116" y="700986"/>
                  <a:chExt cx="182598" cy="143759"/>
                </a:xfrm>
              </p:grpSpPr>
              <p:grpSp>
                <p:nvGrpSpPr>
                  <p:cNvPr id="85" name="Groep 84">
                    <a:extLst>
                      <a:ext uri="{FF2B5EF4-FFF2-40B4-BE49-F238E27FC236}">
                        <a16:creationId xmlns:a16="http://schemas.microsoft.com/office/drawing/2014/main" id="{D435672E-7DF7-4A7A-B665-6589B0458185}"/>
                      </a:ext>
                    </a:extLst>
                  </p:cNvPr>
                  <p:cNvGrpSpPr/>
                  <p:nvPr userDrawn="1"/>
                </p:nvGrpSpPr>
                <p:grpSpPr>
                  <a:xfrm>
                    <a:off x="-3634116" y="700986"/>
                    <a:ext cx="182598" cy="143759"/>
                    <a:chOff x="-3634116" y="700986"/>
                    <a:chExt cx="182598" cy="143759"/>
                  </a:xfrm>
                </p:grpSpPr>
                <p:cxnSp>
                  <p:nvCxnSpPr>
                    <p:cNvPr id="89" name="Rechte verbindingslijn 88">
                      <a:extLst>
                        <a:ext uri="{FF2B5EF4-FFF2-40B4-BE49-F238E27FC236}">
                          <a16:creationId xmlns:a16="http://schemas.microsoft.com/office/drawing/2014/main" id="{745800E6-675C-494B-8BFD-1AE7A355CC87}"/>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90" name="Rechte verbindingslijn 89">
                      <a:extLst>
                        <a:ext uri="{FF2B5EF4-FFF2-40B4-BE49-F238E27FC236}">
                          <a16:creationId xmlns:a16="http://schemas.microsoft.com/office/drawing/2014/main" id="{1F91FCC2-E719-4097-80F5-859B56F4CC5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91" name="Rechte verbindingslijn 90">
                      <a:extLst>
                        <a:ext uri="{FF2B5EF4-FFF2-40B4-BE49-F238E27FC236}">
                          <a16:creationId xmlns:a16="http://schemas.microsoft.com/office/drawing/2014/main" id="{62BD121F-23B2-44BF-922F-4F8EA024C3E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92" name="Rechte verbindingslijn 91">
                      <a:extLst>
                        <a:ext uri="{FF2B5EF4-FFF2-40B4-BE49-F238E27FC236}">
                          <a16:creationId xmlns:a16="http://schemas.microsoft.com/office/drawing/2014/main" id="{6A4C6646-0A84-4002-9739-0FF0C3524A1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93" name="Rechte verbindingslijn 92">
                      <a:extLst>
                        <a:ext uri="{FF2B5EF4-FFF2-40B4-BE49-F238E27FC236}">
                          <a16:creationId xmlns:a16="http://schemas.microsoft.com/office/drawing/2014/main" id="{68960CA0-FFCC-40E2-B850-7D3F57D7E72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86" name="Groep 85">
                    <a:extLst>
                      <a:ext uri="{FF2B5EF4-FFF2-40B4-BE49-F238E27FC236}">
                        <a16:creationId xmlns:a16="http://schemas.microsoft.com/office/drawing/2014/main" id="{31404A9F-D1D2-47B1-8FAC-FA1EC574D479}"/>
                      </a:ext>
                    </a:extLst>
                  </p:cNvPr>
                  <p:cNvGrpSpPr/>
                  <p:nvPr userDrawn="1"/>
                </p:nvGrpSpPr>
                <p:grpSpPr>
                  <a:xfrm>
                    <a:off x="-3634047" y="735854"/>
                    <a:ext cx="88801" cy="72568"/>
                    <a:chOff x="-2091059" y="1395403"/>
                    <a:chExt cx="157316" cy="128558"/>
                  </a:xfrm>
                </p:grpSpPr>
                <p:sp>
                  <p:nvSpPr>
                    <p:cNvPr id="87" name="Rechthoek 86">
                      <a:extLst>
                        <a:ext uri="{FF2B5EF4-FFF2-40B4-BE49-F238E27FC236}">
                          <a16:creationId xmlns:a16="http://schemas.microsoft.com/office/drawing/2014/main" id="{52C12336-DBED-487E-9DB9-55716F7131D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8" name="Pijl: punthaak 87">
                      <a:extLst>
                        <a:ext uri="{FF2B5EF4-FFF2-40B4-BE49-F238E27FC236}">
                          <a16:creationId xmlns:a16="http://schemas.microsoft.com/office/drawing/2014/main" id="{BF8C35BE-093E-4EEA-88EC-8EB2A4B4D1B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69" name="Groep 68">
                <a:extLst>
                  <a:ext uri="{FF2B5EF4-FFF2-40B4-BE49-F238E27FC236}">
                    <a16:creationId xmlns:a16="http://schemas.microsoft.com/office/drawing/2014/main" id="{EB33B0E1-8595-4B3C-B366-F927E2668600}"/>
                  </a:ext>
                </a:extLst>
              </p:cNvPr>
              <p:cNvGrpSpPr/>
              <p:nvPr userDrawn="1"/>
            </p:nvGrpSpPr>
            <p:grpSpPr>
              <a:xfrm>
                <a:off x="-2425037" y="781500"/>
                <a:ext cx="357690" cy="330595"/>
                <a:chOff x="-2721817" y="782525"/>
                <a:chExt cx="432805" cy="400021"/>
              </a:xfrm>
            </p:grpSpPr>
            <p:sp>
              <p:nvSpPr>
                <p:cNvPr id="72" name="Rechthoek 71">
                  <a:extLst>
                    <a:ext uri="{FF2B5EF4-FFF2-40B4-BE49-F238E27FC236}">
                      <a16:creationId xmlns:a16="http://schemas.microsoft.com/office/drawing/2014/main" id="{A1C1434C-A92C-4573-B044-C0918AB0153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73" name="Groep 72">
                  <a:extLst>
                    <a:ext uri="{FF2B5EF4-FFF2-40B4-BE49-F238E27FC236}">
                      <a16:creationId xmlns:a16="http://schemas.microsoft.com/office/drawing/2014/main" id="{59B5C24E-4E39-4035-A9D5-9939099BCD1F}"/>
                    </a:ext>
                  </a:extLst>
                </p:cNvPr>
                <p:cNvGrpSpPr/>
                <p:nvPr userDrawn="1"/>
              </p:nvGrpSpPr>
              <p:grpSpPr>
                <a:xfrm>
                  <a:off x="-2652453" y="866772"/>
                  <a:ext cx="294076" cy="231526"/>
                  <a:chOff x="-3310843" y="700986"/>
                  <a:chExt cx="182598" cy="143759"/>
                </a:xfrm>
              </p:grpSpPr>
              <p:grpSp>
                <p:nvGrpSpPr>
                  <p:cNvPr id="74" name="Groep 73">
                    <a:extLst>
                      <a:ext uri="{FF2B5EF4-FFF2-40B4-BE49-F238E27FC236}">
                        <a16:creationId xmlns:a16="http://schemas.microsoft.com/office/drawing/2014/main" id="{00F30649-8E2B-4D33-8DB7-D44568F091C5}"/>
                      </a:ext>
                    </a:extLst>
                  </p:cNvPr>
                  <p:cNvGrpSpPr/>
                  <p:nvPr userDrawn="1"/>
                </p:nvGrpSpPr>
                <p:grpSpPr>
                  <a:xfrm>
                    <a:off x="-3310843" y="700986"/>
                    <a:ext cx="182598" cy="143759"/>
                    <a:chOff x="-3310843" y="700986"/>
                    <a:chExt cx="182598" cy="143759"/>
                  </a:xfrm>
                </p:grpSpPr>
                <p:cxnSp>
                  <p:nvCxnSpPr>
                    <p:cNvPr id="78" name="Rechte verbindingslijn 77">
                      <a:extLst>
                        <a:ext uri="{FF2B5EF4-FFF2-40B4-BE49-F238E27FC236}">
                          <a16:creationId xmlns:a16="http://schemas.microsoft.com/office/drawing/2014/main" id="{D54BD9AB-84B1-4B65-85E0-1FAAB9306A7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79" name="Rechte verbindingslijn 78">
                      <a:extLst>
                        <a:ext uri="{FF2B5EF4-FFF2-40B4-BE49-F238E27FC236}">
                          <a16:creationId xmlns:a16="http://schemas.microsoft.com/office/drawing/2014/main" id="{A0E7457C-DE2A-4B72-AD61-FFCCA98ED24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80" name="Rechte verbindingslijn 79">
                      <a:extLst>
                        <a:ext uri="{FF2B5EF4-FFF2-40B4-BE49-F238E27FC236}">
                          <a16:creationId xmlns:a16="http://schemas.microsoft.com/office/drawing/2014/main" id="{488DB9A3-7F63-430D-B96E-ED623B73C8C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81" name="Rechte verbindingslijn 80">
                      <a:extLst>
                        <a:ext uri="{FF2B5EF4-FFF2-40B4-BE49-F238E27FC236}">
                          <a16:creationId xmlns:a16="http://schemas.microsoft.com/office/drawing/2014/main" id="{309B7B97-CF8D-46A3-90EB-146C74828C94}"/>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id="{0AF1B1C8-2209-46A3-BDB8-3FFE0C809C9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75" name="Groep 74">
                    <a:extLst>
                      <a:ext uri="{FF2B5EF4-FFF2-40B4-BE49-F238E27FC236}">
                        <a16:creationId xmlns:a16="http://schemas.microsoft.com/office/drawing/2014/main" id="{192BD7C2-A853-444E-A97E-6BACAFEEEBC4}"/>
                      </a:ext>
                    </a:extLst>
                  </p:cNvPr>
                  <p:cNvGrpSpPr/>
                  <p:nvPr userDrawn="1"/>
                </p:nvGrpSpPr>
                <p:grpSpPr>
                  <a:xfrm flipH="1">
                    <a:off x="-3310774" y="735854"/>
                    <a:ext cx="88801" cy="72568"/>
                    <a:chOff x="-2091059" y="1395403"/>
                    <a:chExt cx="157316" cy="128558"/>
                  </a:xfrm>
                </p:grpSpPr>
                <p:sp>
                  <p:nvSpPr>
                    <p:cNvPr id="76" name="Rechthoek 75">
                      <a:extLst>
                        <a:ext uri="{FF2B5EF4-FFF2-40B4-BE49-F238E27FC236}">
                          <a16:creationId xmlns:a16="http://schemas.microsoft.com/office/drawing/2014/main" id="{57761CCC-86FB-49BE-B283-79EC50F9057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7" name="Pijl: punthaak 76">
                      <a:extLst>
                        <a:ext uri="{FF2B5EF4-FFF2-40B4-BE49-F238E27FC236}">
                          <a16:creationId xmlns:a16="http://schemas.microsoft.com/office/drawing/2014/main" id="{00C6F945-A9E6-4255-9380-35728B81BFE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70" name="Rechthoek 69">
                <a:extLst>
                  <a:ext uri="{FF2B5EF4-FFF2-40B4-BE49-F238E27FC236}">
                    <a16:creationId xmlns:a16="http://schemas.microsoft.com/office/drawing/2014/main" id="{890D8AA0-64AB-4043-B3F0-B691921E5672}"/>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71" name="Rechthoek 70">
                <a:extLst>
                  <a:ext uri="{FF2B5EF4-FFF2-40B4-BE49-F238E27FC236}">
                    <a16:creationId xmlns:a16="http://schemas.microsoft.com/office/drawing/2014/main" id="{C5941298-1B59-4D9A-95A5-B0CC3F6EB492}"/>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49" name="Rechte verbindingslijn 48">
              <a:extLst>
                <a:ext uri="{FF2B5EF4-FFF2-40B4-BE49-F238E27FC236}">
                  <a16:creationId xmlns:a16="http://schemas.microsoft.com/office/drawing/2014/main" id="{C70D9F50-006D-407B-A606-7C360CEDF871}"/>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50" name="Rechthoek 49">
              <a:extLst>
                <a:ext uri="{FF2B5EF4-FFF2-40B4-BE49-F238E27FC236}">
                  <a16:creationId xmlns:a16="http://schemas.microsoft.com/office/drawing/2014/main" id="{0687734F-2B29-42B3-BB6E-308076C71DD7}"/>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51" name="Ovaal 50">
              <a:extLst>
                <a:ext uri="{FF2B5EF4-FFF2-40B4-BE49-F238E27FC236}">
                  <a16:creationId xmlns:a16="http://schemas.microsoft.com/office/drawing/2014/main" id="{B3504BC6-4AAA-43EF-BA98-3B370169C258}"/>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52" name="Rechthoek 51">
              <a:extLst>
                <a:ext uri="{FF2B5EF4-FFF2-40B4-BE49-F238E27FC236}">
                  <a16:creationId xmlns:a16="http://schemas.microsoft.com/office/drawing/2014/main" id="{D0627E6F-A576-4F21-B9DB-7B99382A4AB4}"/>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53" name="Ovaal 52">
              <a:extLst>
                <a:ext uri="{FF2B5EF4-FFF2-40B4-BE49-F238E27FC236}">
                  <a16:creationId xmlns:a16="http://schemas.microsoft.com/office/drawing/2014/main" id="{EE4AE1BC-10AD-44AC-AF59-4F483F57A533}"/>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54" name="Rechthoek 53">
              <a:extLst>
                <a:ext uri="{FF2B5EF4-FFF2-40B4-BE49-F238E27FC236}">
                  <a16:creationId xmlns:a16="http://schemas.microsoft.com/office/drawing/2014/main" id="{5DD1FA82-BD86-4F88-AEBB-9ED96B6F80FC}"/>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55" name="Ovaal 54">
              <a:extLst>
                <a:ext uri="{FF2B5EF4-FFF2-40B4-BE49-F238E27FC236}">
                  <a16:creationId xmlns:a16="http://schemas.microsoft.com/office/drawing/2014/main" id="{DDD44BE1-0C8C-4865-AE12-1D0DC7FC5469}"/>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56" name="Rechthoek 55">
              <a:extLst>
                <a:ext uri="{FF2B5EF4-FFF2-40B4-BE49-F238E27FC236}">
                  <a16:creationId xmlns:a16="http://schemas.microsoft.com/office/drawing/2014/main" id="{E4DF1B2A-C0AE-44F7-8BD4-725DEC68E959}"/>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57" name="Ovaal 56">
              <a:extLst>
                <a:ext uri="{FF2B5EF4-FFF2-40B4-BE49-F238E27FC236}">
                  <a16:creationId xmlns:a16="http://schemas.microsoft.com/office/drawing/2014/main" id="{3EE90AA0-7FC6-4C99-AF8D-27509C732D8A}"/>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58" name="Rechthoek 57">
              <a:extLst>
                <a:ext uri="{FF2B5EF4-FFF2-40B4-BE49-F238E27FC236}">
                  <a16:creationId xmlns:a16="http://schemas.microsoft.com/office/drawing/2014/main" id="{03FAEA6B-B37B-44A8-8D38-02BA04679BAF}"/>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600" b="1" kern="1200" cap="none" baseline="0" noProof="0">
                  <a:solidFill>
                    <a:schemeClr val="accent1"/>
                  </a:solidFill>
                  <a:latin typeface="+mj-lt"/>
                  <a:ea typeface="+mn-ea"/>
                  <a:cs typeface="+mn-cs"/>
                </a:rPr>
                <a:t>Tussenkop (16pt)</a:t>
              </a:r>
            </a:p>
          </p:txBody>
        </p:sp>
        <p:sp>
          <p:nvSpPr>
            <p:cNvPr id="59" name="Rechthoek 58">
              <a:extLst>
                <a:ext uri="{FF2B5EF4-FFF2-40B4-BE49-F238E27FC236}">
                  <a16:creationId xmlns:a16="http://schemas.microsoft.com/office/drawing/2014/main" id="{122708D6-7122-4019-AA15-1968C668A710}"/>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115" name="Rechte verbindingslijn 114">
              <a:extLst>
                <a:ext uri="{FF2B5EF4-FFF2-40B4-BE49-F238E27FC236}">
                  <a16:creationId xmlns:a16="http://schemas.microsoft.com/office/drawing/2014/main" id="{A79ACEDD-5C11-49B8-BFC2-E66EEA8CA38B}"/>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116" name="Ovaal 115">
              <a:extLst>
                <a:ext uri="{FF2B5EF4-FFF2-40B4-BE49-F238E27FC236}">
                  <a16:creationId xmlns:a16="http://schemas.microsoft.com/office/drawing/2014/main" id="{F5679DC3-CEF2-4772-9ABB-92954717A816}"/>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117" name="Rechthoek 116">
              <a:extLst>
                <a:ext uri="{FF2B5EF4-FFF2-40B4-BE49-F238E27FC236}">
                  <a16:creationId xmlns:a16="http://schemas.microsoft.com/office/drawing/2014/main" id="{211274B4-8E9A-4D55-A35B-57117EE1346E}"/>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118" name="Ovaal 117">
              <a:extLst>
                <a:ext uri="{FF2B5EF4-FFF2-40B4-BE49-F238E27FC236}">
                  <a16:creationId xmlns:a16="http://schemas.microsoft.com/office/drawing/2014/main" id="{5351836F-0472-47FE-AC19-5C60C4F131EF}"/>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9" name="Rechthoek 118">
              <a:extLst>
                <a:ext uri="{FF2B5EF4-FFF2-40B4-BE49-F238E27FC236}">
                  <a16:creationId xmlns:a16="http://schemas.microsoft.com/office/drawing/2014/main" id="{53119B5F-71BF-41C1-AC41-5B54F2BE3FAE}"/>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120" name="GRID" hidden="1">
            <a:extLst>
              <a:ext uri="{FF2B5EF4-FFF2-40B4-BE49-F238E27FC236}">
                <a16:creationId xmlns:a16="http://schemas.microsoft.com/office/drawing/2014/main" id="{5296AF35-F896-43B3-ABCB-C095CFAAB915}"/>
              </a:ext>
            </a:extLst>
          </p:cNvPr>
          <p:cNvGrpSpPr/>
          <p:nvPr userDrawn="1"/>
        </p:nvGrpSpPr>
        <p:grpSpPr>
          <a:xfrm>
            <a:off x="0" y="0"/>
            <a:ext cx="12192000" cy="6858000"/>
            <a:chOff x="0" y="0"/>
            <a:chExt cx="12192000" cy="6858000"/>
          </a:xfrm>
          <a:solidFill>
            <a:schemeClr val="tx1">
              <a:alpha val="30000"/>
            </a:schemeClr>
          </a:solidFill>
        </p:grpSpPr>
        <p:sp>
          <p:nvSpPr>
            <p:cNvPr id="121" name="Rechthoek 120">
              <a:extLst>
                <a:ext uri="{FF2B5EF4-FFF2-40B4-BE49-F238E27FC236}">
                  <a16:creationId xmlns:a16="http://schemas.microsoft.com/office/drawing/2014/main" id="{F2EB2891-3A99-4ED4-8AFD-B438775A0AB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2" name="Rechthoek 121">
              <a:extLst>
                <a:ext uri="{FF2B5EF4-FFF2-40B4-BE49-F238E27FC236}">
                  <a16:creationId xmlns:a16="http://schemas.microsoft.com/office/drawing/2014/main" id="{FA8CC251-260C-48FB-A21A-4064D59E44A3}"/>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3" name="Rechthoek 122">
              <a:extLst>
                <a:ext uri="{FF2B5EF4-FFF2-40B4-BE49-F238E27FC236}">
                  <a16:creationId xmlns:a16="http://schemas.microsoft.com/office/drawing/2014/main" id="{7F3AA528-EF26-4236-99E2-579FAE2766C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4" name="Rechthoek 123">
              <a:extLst>
                <a:ext uri="{FF2B5EF4-FFF2-40B4-BE49-F238E27FC236}">
                  <a16:creationId xmlns:a16="http://schemas.microsoft.com/office/drawing/2014/main" id="{7DC92546-1751-4BAA-AA77-5307E8FACDC5}"/>
                </a:ext>
              </a:extLst>
            </p:cNvPr>
            <p:cNvSpPr/>
            <p:nvPr userDrawn="1"/>
          </p:nvSpPr>
          <p:spPr>
            <a:xfrm>
              <a:off x="0" y="825345"/>
              <a:ext cx="12192000" cy="754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5" name="Rechthoek 124">
              <a:extLst>
                <a:ext uri="{FF2B5EF4-FFF2-40B4-BE49-F238E27FC236}">
                  <a16:creationId xmlns:a16="http://schemas.microsoft.com/office/drawing/2014/main" id="{C45E7145-B912-4200-A331-B4273BB6199F}"/>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6" name="Rechthoek 125">
              <a:extLst>
                <a:ext uri="{FF2B5EF4-FFF2-40B4-BE49-F238E27FC236}">
                  <a16:creationId xmlns:a16="http://schemas.microsoft.com/office/drawing/2014/main" id="{D3D0F0CB-C84E-4062-996E-C129FEC2E3C5}"/>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7" name="Rechthoek 126">
              <a:extLst>
                <a:ext uri="{FF2B5EF4-FFF2-40B4-BE49-F238E27FC236}">
                  <a16:creationId xmlns:a16="http://schemas.microsoft.com/office/drawing/2014/main" id="{838D424E-D3A6-4B95-BFB7-234BCBF65129}"/>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8" name="Rechthoek 127">
              <a:extLst>
                <a:ext uri="{FF2B5EF4-FFF2-40B4-BE49-F238E27FC236}">
                  <a16:creationId xmlns:a16="http://schemas.microsoft.com/office/drawing/2014/main" id="{E0EC2466-F391-4C48-905A-547E5255BBA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9" name="Rechthoek 128">
              <a:extLst>
                <a:ext uri="{FF2B5EF4-FFF2-40B4-BE49-F238E27FC236}">
                  <a16:creationId xmlns:a16="http://schemas.microsoft.com/office/drawing/2014/main" id="{FA3DF976-567F-4CC5-8362-205B3BE176DB}"/>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30" name="Rechthoek 129">
              <a:extLst>
                <a:ext uri="{FF2B5EF4-FFF2-40B4-BE49-F238E27FC236}">
                  <a16:creationId xmlns:a16="http://schemas.microsoft.com/office/drawing/2014/main" id="{A2F401FB-26A6-4D49-A1E7-E09BC52F1A3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31" name="Rechthoek 130">
              <a:extLst>
                <a:ext uri="{FF2B5EF4-FFF2-40B4-BE49-F238E27FC236}">
                  <a16:creationId xmlns:a16="http://schemas.microsoft.com/office/drawing/2014/main" id="{7A917718-DF85-48ED-8424-FC9E59AA36E1}"/>
                </a:ext>
              </a:extLst>
            </p:cNvPr>
            <p:cNvSpPr/>
            <p:nvPr userDrawn="1"/>
          </p:nvSpPr>
          <p:spPr>
            <a:xfrm>
              <a:off x="0" y="1114210"/>
              <a:ext cx="12192000" cy="3423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
        <p:nvSpPr>
          <p:cNvPr id="113" name="Freeform 135">
            <a:extLst>
              <a:ext uri="{FF2B5EF4-FFF2-40B4-BE49-F238E27FC236}">
                <a16:creationId xmlns:a16="http://schemas.microsoft.com/office/drawing/2014/main" id="{208908EA-AAC4-40DA-B2B2-1F74A4B62F2D}"/>
              </a:ext>
            </a:extLst>
          </p:cNvPr>
          <p:cNvSpPr>
            <a:spLocks noEditPoints="1"/>
          </p:cNvSpPr>
          <p:nvPr userDrawn="1"/>
        </p:nvSpPr>
        <p:spPr bwMode="auto">
          <a:xfrm>
            <a:off x="5651939" y="6323081"/>
            <a:ext cx="182117" cy="231788"/>
          </a:xfrm>
          <a:custGeom>
            <a:avLst/>
            <a:gdLst>
              <a:gd name="T0" fmla="*/ 1367 w 2322"/>
              <a:gd name="T1" fmla="*/ 281 h 2950"/>
              <a:gd name="T2" fmla="*/ 164 w 2322"/>
              <a:gd name="T3" fmla="*/ 1490 h 2950"/>
              <a:gd name="T4" fmla="*/ 1343 w 2322"/>
              <a:gd name="T5" fmla="*/ 2669 h 2950"/>
              <a:gd name="T6" fmla="*/ 1343 w 2322"/>
              <a:gd name="T7" fmla="*/ 2098 h 2950"/>
              <a:gd name="T8" fmla="*/ 2205 w 2322"/>
              <a:gd name="T9" fmla="*/ 2098 h 2950"/>
              <a:gd name="T10" fmla="*/ 2205 w 2322"/>
              <a:gd name="T11" fmla="*/ 954 h 2950"/>
              <a:gd name="T12" fmla="*/ 1367 w 2322"/>
              <a:gd name="T13" fmla="*/ 954 h 2950"/>
              <a:gd name="T14" fmla="*/ 1367 w 2322"/>
              <a:gd name="T15" fmla="*/ 281 h 2950"/>
              <a:gd name="T16" fmla="*/ 1484 w 2322"/>
              <a:gd name="T17" fmla="*/ 0 h 2950"/>
              <a:gd name="T18" fmla="*/ 1484 w 2322"/>
              <a:gd name="T19" fmla="*/ 837 h 2950"/>
              <a:gd name="T20" fmla="*/ 2322 w 2322"/>
              <a:gd name="T21" fmla="*/ 837 h 2950"/>
              <a:gd name="T22" fmla="*/ 2322 w 2322"/>
              <a:gd name="T23" fmla="*/ 2214 h 2950"/>
              <a:gd name="T24" fmla="*/ 1460 w 2322"/>
              <a:gd name="T25" fmla="*/ 2214 h 2950"/>
              <a:gd name="T26" fmla="*/ 1460 w 2322"/>
              <a:gd name="T27" fmla="*/ 2950 h 2950"/>
              <a:gd name="T28" fmla="*/ 0 w 2322"/>
              <a:gd name="T29" fmla="*/ 1490 h 2950"/>
              <a:gd name="T30" fmla="*/ 1484 w 2322"/>
              <a:gd name="T31" fmla="*/ 0 h 2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2" h="2950">
                <a:moveTo>
                  <a:pt x="1367" y="281"/>
                </a:moveTo>
                <a:lnTo>
                  <a:pt x="164" y="1490"/>
                </a:lnTo>
                <a:lnTo>
                  <a:pt x="1343" y="2669"/>
                </a:lnTo>
                <a:lnTo>
                  <a:pt x="1343" y="2098"/>
                </a:lnTo>
                <a:lnTo>
                  <a:pt x="2205" y="2098"/>
                </a:lnTo>
                <a:lnTo>
                  <a:pt x="2205" y="954"/>
                </a:lnTo>
                <a:lnTo>
                  <a:pt x="1367" y="954"/>
                </a:lnTo>
                <a:lnTo>
                  <a:pt x="1367" y="281"/>
                </a:lnTo>
                <a:close/>
                <a:moveTo>
                  <a:pt x="1484" y="0"/>
                </a:moveTo>
                <a:lnTo>
                  <a:pt x="1484" y="837"/>
                </a:lnTo>
                <a:lnTo>
                  <a:pt x="2322" y="837"/>
                </a:lnTo>
                <a:lnTo>
                  <a:pt x="2322" y="2214"/>
                </a:lnTo>
                <a:lnTo>
                  <a:pt x="1460" y="2214"/>
                </a:lnTo>
                <a:lnTo>
                  <a:pt x="1460" y="2950"/>
                </a:lnTo>
                <a:lnTo>
                  <a:pt x="0" y="1490"/>
                </a:lnTo>
                <a:lnTo>
                  <a:pt x="1484" y="0"/>
                </a:lnTo>
                <a:close/>
              </a:path>
            </a:pathLst>
          </a:custGeom>
          <a:solidFill>
            <a:schemeClr val="accent1"/>
          </a:solidFill>
          <a:ln w="9525">
            <a:solidFill>
              <a:schemeClr val="bg1"/>
            </a:solidFill>
            <a:prstDash val="solid"/>
            <a:round/>
            <a:headEnd/>
            <a:tailEnd/>
          </a:ln>
        </p:spPr>
        <p:txBody>
          <a:bodyPr vert="horz" wrap="square" lIns="91416" tIns="45708" rIns="91416" bIns="45708" numCol="1" anchor="t" anchorCtr="0" compatLnSpc="1">
            <a:prstTxWarp prst="textNoShape">
              <a:avLst/>
            </a:prstTxWarp>
          </a:bodyPr>
          <a:lstStyle/>
          <a:p>
            <a:endParaRPr lang="nl-NL" sz="1799"/>
          </a:p>
        </p:txBody>
      </p:sp>
      <p:sp>
        <p:nvSpPr>
          <p:cNvPr id="114" name="Freeform 135">
            <a:extLst>
              <a:ext uri="{FF2B5EF4-FFF2-40B4-BE49-F238E27FC236}">
                <a16:creationId xmlns:a16="http://schemas.microsoft.com/office/drawing/2014/main" id="{372D03F0-BB2E-4815-AA3D-9B69AD1D04DC}"/>
              </a:ext>
            </a:extLst>
          </p:cNvPr>
          <p:cNvSpPr>
            <a:spLocks noEditPoints="1"/>
          </p:cNvSpPr>
          <p:nvPr userDrawn="1"/>
        </p:nvSpPr>
        <p:spPr bwMode="auto">
          <a:xfrm rot="10800000">
            <a:off x="6378127" y="6318636"/>
            <a:ext cx="182117" cy="231788"/>
          </a:xfrm>
          <a:custGeom>
            <a:avLst/>
            <a:gdLst>
              <a:gd name="T0" fmla="*/ 1367 w 2322"/>
              <a:gd name="T1" fmla="*/ 281 h 2950"/>
              <a:gd name="T2" fmla="*/ 164 w 2322"/>
              <a:gd name="T3" fmla="*/ 1490 h 2950"/>
              <a:gd name="T4" fmla="*/ 1343 w 2322"/>
              <a:gd name="T5" fmla="*/ 2669 h 2950"/>
              <a:gd name="T6" fmla="*/ 1343 w 2322"/>
              <a:gd name="T7" fmla="*/ 2098 h 2950"/>
              <a:gd name="T8" fmla="*/ 2205 w 2322"/>
              <a:gd name="T9" fmla="*/ 2098 h 2950"/>
              <a:gd name="T10" fmla="*/ 2205 w 2322"/>
              <a:gd name="T11" fmla="*/ 954 h 2950"/>
              <a:gd name="T12" fmla="*/ 1367 w 2322"/>
              <a:gd name="T13" fmla="*/ 954 h 2950"/>
              <a:gd name="T14" fmla="*/ 1367 w 2322"/>
              <a:gd name="T15" fmla="*/ 281 h 2950"/>
              <a:gd name="T16" fmla="*/ 1484 w 2322"/>
              <a:gd name="T17" fmla="*/ 0 h 2950"/>
              <a:gd name="T18" fmla="*/ 1484 w 2322"/>
              <a:gd name="T19" fmla="*/ 837 h 2950"/>
              <a:gd name="T20" fmla="*/ 2322 w 2322"/>
              <a:gd name="T21" fmla="*/ 837 h 2950"/>
              <a:gd name="T22" fmla="*/ 2322 w 2322"/>
              <a:gd name="T23" fmla="*/ 2214 h 2950"/>
              <a:gd name="T24" fmla="*/ 1460 w 2322"/>
              <a:gd name="T25" fmla="*/ 2214 h 2950"/>
              <a:gd name="T26" fmla="*/ 1460 w 2322"/>
              <a:gd name="T27" fmla="*/ 2950 h 2950"/>
              <a:gd name="T28" fmla="*/ 0 w 2322"/>
              <a:gd name="T29" fmla="*/ 1490 h 2950"/>
              <a:gd name="T30" fmla="*/ 1484 w 2322"/>
              <a:gd name="T31" fmla="*/ 0 h 2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2" h="2950">
                <a:moveTo>
                  <a:pt x="1367" y="281"/>
                </a:moveTo>
                <a:lnTo>
                  <a:pt x="164" y="1490"/>
                </a:lnTo>
                <a:lnTo>
                  <a:pt x="1343" y="2669"/>
                </a:lnTo>
                <a:lnTo>
                  <a:pt x="1343" y="2098"/>
                </a:lnTo>
                <a:lnTo>
                  <a:pt x="2205" y="2098"/>
                </a:lnTo>
                <a:lnTo>
                  <a:pt x="2205" y="954"/>
                </a:lnTo>
                <a:lnTo>
                  <a:pt x="1367" y="954"/>
                </a:lnTo>
                <a:lnTo>
                  <a:pt x="1367" y="281"/>
                </a:lnTo>
                <a:close/>
                <a:moveTo>
                  <a:pt x="1484" y="0"/>
                </a:moveTo>
                <a:lnTo>
                  <a:pt x="1484" y="837"/>
                </a:lnTo>
                <a:lnTo>
                  <a:pt x="2322" y="837"/>
                </a:lnTo>
                <a:lnTo>
                  <a:pt x="2322" y="2214"/>
                </a:lnTo>
                <a:lnTo>
                  <a:pt x="1460" y="2214"/>
                </a:lnTo>
                <a:lnTo>
                  <a:pt x="1460" y="2950"/>
                </a:lnTo>
                <a:lnTo>
                  <a:pt x="0" y="1490"/>
                </a:lnTo>
                <a:lnTo>
                  <a:pt x="1484" y="0"/>
                </a:lnTo>
                <a:close/>
              </a:path>
            </a:pathLst>
          </a:custGeom>
          <a:solidFill>
            <a:schemeClr val="bg1"/>
          </a:solidFill>
          <a:ln w="9525">
            <a:solidFill>
              <a:schemeClr val="bg1"/>
            </a:solidFill>
            <a:prstDash val="solid"/>
            <a:round/>
            <a:headEnd/>
            <a:tailEnd/>
          </a:ln>
        </p:spPr>
        <p:txBody>
          <a:bodyPr vert="horz" wrap="square" lIns="91416" tIns="45708" rIns="91416" bIns="45708" numCol="1" anchor="t" anchorCtr="0" compatLnSpc="1">
            <a:prstTxWarp prst="textNoShape">
              <a:avLst/>
            </a:prstTxWarp>
          </a:bodyPr>
          <a:lstStyle/>
          <a:p>
            <a:endParaRPr lang="nl-NL" sz="1799"/>
          </a:p>
        </p:txBody>
      </p:sp>
      <p:sp>
        <p:nvSpPr>
          <p:cNvPr id="132" name="Freeform 113">
            <a:extLst>
              <a:ext uri="{FF2B5EF4-FFF2-40B4-BE49-F238E27FC236}">
                <a16:creationId xmlns:a16="http://schemas.microsoft.com/office/drawing/2014/main" id="{174DBA93-F738-49DE-9D3F-A3DC30A72185}"/>
              </a:ext>
            </a:extLst>
          </p:cNvPr>
          <p:cNvSpPr>
            <a:spLocks noEditPoints="1"/>
          </p:cNvSpPr>
          <p:nvPr userDrawn="1"/>
        </p:nvSpPr>
        <p:spPr bwMode="auto">
          <a:xfrm>
            <a:off x="5973455" y="6319167"/>
            <a:ext cx="269077" cy="229761"/>
          </a:xfrm>
          <a:custGeom>
            <a:avLst/>
            <a:gdLst>
              <a:gd name="T0" fmla="*/ 1475 w 2950"/>
              <a:gd name="T1" fmla="*/ 300 h 2520"/>
              <a:gd name="T2" fmla="*/ 525 w 2950"/>
              <a:gd name="T3" fmla="*/ 1250 h 2520"/>
              <a:gd name="T4" fmla="*/ 721 w 2950"/>
              <a:gd name="T5" fmla="*/ 1250 h 2520"/>
              <a:gd name="T6" fmla="*/ 721 w 2950"/>
              <a:gd name="T7" fmla="*/ 2291 h 2520"/>
              <a:gd name="T8" fmla="*/ 1244 w 2950"/>
              <a:gd name="T9" fmla="*/ 2291 h 2520"/>
              <a:gd name="T10" fmla="*/ 1244 w 2950"/>
              <a:gd name="T11" fmla="*/ 1710 h 2520"/>
              <a:gd name="T12" fmla="*/ 1706 w 2950"/>
              <a:gd name="T13" fmla="*/ 1710 h 2520"/>
              <a:gd name="T14" fmla="*/ 1706 w 2950"/>
              <a:gd name="T15" fmla="*/ 2291 h 2520"/>
              <a:gd name="T16" fmla="*/ 2229 w 2950"/>
              <a:gd name="T17" fmla="*/ 2291 h 2520"/>
              <a:gd name="T18" fmla="*/ 2229 w 2950"/>
              <a:gd name="T19" fmla="*/ 1250 h 2520"/>
              <a:gd name="T20" fmla="*/ 2425 w 2950"/>
              <a:gd name="T21" fmla="*/ 1250 h 2520"/>
              <a:gd name="T22" fmla="*/ 1475 w 2950"/>
              <a:gd name="T23" fmla="*/ 300 h 2520"/>
              <a:gd name="T24" fmla="*/ 1475 w 2950"/>
              <a:gd name="T25" fmla="*/ 0 h 2520"/>
              <a:gd name="T26" fmla="*/ 1490 w 2950"/>
              <a:gd name="T27" fmla="*/ 1 h 2520"/>
              <a:gd name="T28" fmla="*/ 1504 w 2950"/>
              <a:gd name="T29" fmla="*/ 8 h 2520"/>
              <a:gd name="T30" fmla="*/ 1516 w 2950"/>
              <a:gd name="T31" fmla="*/ 18 h 2520"/>
              <a:gd name="T32" fmla="*/ 2938 w 2950"/>
              <a:gd name="T33" fmla="*/ 1438 h 2520"/>
              <a:gd name="T34" fmla="*/ 2946 w 2950"/>
              <a:gd name="T35" fmla="*/ 1449 h 2520"/>
              <a:gd name="T36" fmla="*/ 2950 w 2950"/>
              <a:gd name="T37" fmla="*/ 1459 h 2520"/>
              <a:gd name="T38" fmla="*/ 2949 w 2950"/>
              <a:gd name="T39" fmla="*/ 1466 h 2520"/>
              <a:gd name="T40" fmla="*/ 2944 w 2950"/>
              <a:gd name="T41" fmla="*/ 1474 h 2520"/>
              <a:gd name="T42" fmla="*/ 2934 w 2950"/>
              <a:gd name="T43" fmla="*/ 1478 h 2520"/>
              <a:gd name="T44" fmla="*/ 2920 w 2950"/>
              <a:gd name="T45" fmla="*/ 1479 h 2520"/>
              <a:gd name="T46" fmla="*/ 2457 w 2950"/>
              <a:gd name="T47" fmla="*/ 1479 h 2520"/>
              <a:gd name="T48" fmla="*/ 2457 w 2950"/>
              <a:gd name="T49" fmla="*/ 2520 h 2520"/>
              <a:gd name="T50" fmla="*/ 493 w 2950"/>
              <a:gd name="T51" fmla="*/ 2520 h 2520"/>
              <a:gd name="T52" fmla="*/ 493 w 2950"/>
              <a:gd name="T53" fmla="*/ 1479 h 2520"/>
              <a:gd name="T54" fmla="*/ 30 w 2950"/>
              <a:gd name="T55" fmla="*/ 1479 h 2520"/>
              <a:gd name="T56" fmla="*/ 16 w 2950"/>
              <a:gd name="T57" fmla="*/ 1478 h 2520"/>
              <a:gd name="T58" fmla="*/ 6 w 2950"/>
              <a:gd name="T59" fmla="*/ 1474 h 2520"/>
              <a:gd name="T60" fmla="*/ 1 w 2950"/>
              <a:gd name="T61" fmla="*/ 1466 h 2520"/>
              <a:gd name="T62" fmla="*/ 0 w 2950"/>
              <a:gd name="T63" fmla="*/ 1459 h 2520"/>
              <a:gd name="T64" fmla="*/ 4 w 2950"/>
              <a:gd name="T65" fmla="*/ 1449 h 2520"/>
              <a:gd name="T66" fmla="*/ 12 w 2950"/>
              <a:gd name="T67" fmla="*/ 1438 h 2520"/>
              <a:gd name="T68" fmla="*/ 665 w 2950"/>
              <a:gd name="T69" fmla="*/ 785 h 2520"/>
              <a:gd name="T70" fmla="*/ 665 w 2950"/>
              <a:gd name="T71" fmla="*/ 208 h 2520"/>
              <a:gd name="T72" fmla="*/ 897 w 2950"/>
              <a:gd name="T73" fmla="*/ 208 h 2520"/>
              <a:gd name="T74" fmla="*/ 897 w 2950"/>
              <a:gd name="T75" fmla="*/ 554 h 2520"/>
              <a:gd name="T76" fmla="*/ 1434 w 2950"/>
              <a:gd name="T77" fmla="*/ 18 h 2520"/>
              <a:gd name="T78" fmla="*/ 1446 w 2950"/>
              <a:gd name="T79" fmla="*/ 8 h 2520"/>
              <a:gd name="T80" fmla="*/ 1460 w 2950"/>
              <a:gd name="T81" fmla="*/ 1 h 2520"/>
              <a:gd name="T82" fmla="*/ 1475 w 2950"/>
              <a:gd name="T83" fmla="*/ 0 h 2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50" h="2520">
                <a:moveTo>
                  <a:pt x="1475" y="300"/>
                </a:moveTo>
                <a:lnTo>
                  <a:pt x="525" y="1250"/>
                </a:lnTo>
                <a:lnTo>
                  <a:pt x="721" y="1250"/>
                </a:lnTo>
                <a:lnTo>
                  <a:pt x="721" y="2291"/>
                </a:lnTo>
                <a:lnTo>
                  <a:pt x="1244" y="2291"/>
                </a:lnTo>
                <a:lnTo>
                  <a:pt x="1244" y="1710"/>
                </a:lnTo>
                <a:lnTo>
                  <a:pt x="1706" y="1710"/>
                </a:lnTo>
                <a:lnTo>
                  <a:pt x="1706" y="2291"/>
                </a:lnTo>
                <a:lnTo>
                  <a:pt x="2229" y="2291"/>
                </a:lnTo>
                <a:lnTo>
                  <a:pt x="2229" y="1250"/>
                </a:lnTo>
                <a:lnTo>
                  <a:pt x="2425" y="1250"/>
                </a:lnTo>
                <a:lnTo>
                  <a:pt x="1475" y="300"/>
                </a:lnTo>
                <a:close/>
                <a:moveTo>
                  <a:pt x="1475" y="0"/>
                </a:moveTo>
                <a:lnTo>
                  <a:pt x="1490" y="1"/>
                </a:lnTo>
                <a:lnTo>
                  <a:pt x="1504" y="8"/>
                </a:lnTo>
                <a:lnTo>
                  <a:pt x="1516" y="18"/>
                </a:lnTo>
                <a:lnTo>
                  <a:pt x="2938" y="1438"/>
                </a:lnTo>
                <a:lnTo>
                  <a:pt x="2946" y="1449"/>
                </a:lnTo>
                <a:lnTo>
                  <a:pt x="2950" y="1459"/>
                </a:lnTo>
                <a:lnTo>
                  <a:pt x="2949" y="1466"/>
                </a:lnTo>
                <a:lnTo>
                  <a:pt x="2944" y="1474"/>
                </a:lnTo>
                <a:lnTo>
                  <a:pt x="2934" y="1478"/>
                </a:lnTo>
                <a:lnTo>
                  <a:pt x="2920" y="1479"/>
                </a:lnTo>
                <a:lnTo>
                  <a:pt x="2457" y="1479"/>
                </a:lnTo>
                <a:lnTo>
                  <a:pt x="2457" y="2520"/>
                </a:lnTo>
                <a:lnTo>
                  <a:pt x="493" y="2520"/>
                </a:lnTo>
                <a:lnTo>
                  <a:pt x="493" y="1479"/>
                </a:lnTo>
                <a:lnTo>
                  <a:pt x="30" y="1479"/>
                </a:lnTo>
                <a:lnTo>
                  <a:pt x="16" y="1478"/>
                </a:lnTo>
                <a:lnTo>
                  <a:pt x="6" y="1474"/>
                </a:lnTo>
                <a:lnTo>
                  <a:pt x="1" y="1466"/>
                </a:lnTo>
                <a:lnTo>
                  <a:pt x="0" y="1459"/>
                </a:lnTo>
                <a:lnTo>
                  <a:pt x="4" y="1449"/>
                </a:lnTo>
                <a:lnTo>
                  <a:pt x="12" y="1438"/>
                </a:lnTo>
                <a:lnTo>
                  <a:pt x="665" y="785"/>
                </a:lnTo>
                <a:lnTo>
                  <a:pt x="665" y="208"/>
                </a:lnTo>
                <a:lnTo>
                  <a:pt x="897" y="208"/>
                </a:lnTo>
                <a:lnTo>
                  <a:pt x="897" y="554"/>
                </a:lnTo>
                <a:lnTo>
                  <a:pt x="1434" y="18"/>
                </a:lnTo>
                <a:lnTo>
                  <a:pt x="1446" y="8"/>
                </a:lnTo>
                <a:lnTo>
                  <a:pt x="1460" y="1"/>
                </a:lnTo>
                <a:lnTo>
                  <a:pt x="1475" y="0"/>
                </a:lnTo>
                <a:close/>
              </a:path>
            </a:pathLst>
          </a:custGeom>
          <a:solidFill>
            <a:schemeClr val="bg1"/>
          </a:solidFill>
          <a:ln w="9525">
            <a:noFill/>
            <a:prstDash val="solid"/>
            <a:round/>
            <a:headEnd/>
            <a:tailEnd/>
          </a:ln>
        </p:spPr>
        <p:txBody>
          <a:bodyPr vert="horz" wrap="square" lIns="91416" tIns="45708" rIns="91416" bIns="45708" numCol="1" anchor="t" anchorCtr="0" compatLnSpc="1">
            <a:prstTxWarp prst="textNoShape">
              <a:avLst/>
            </a:prstTxWarp>
          </a:bodyPr>
          <a:lstStyle/>
          <a:p>
            <a:endParaRPr lang="nl-NL" sz="1799"/>
          </a:p>
        </p:txBody>
      </p:sp>
    </p:spTree>
    <p:extLst>
      <p:ext uri="{BB962C8B-B14F-4D97-AF65-F5344CB8AC3E}">
        <p14:creationId xmlns:p14="http://schemas.microsoft.com/office/powerpoint/2010/main" val="42318367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1043722" y="538834"/>
            <a:ext cx="10608278" cy="335412"/>
          </a:xfrm>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1043718" y="1459112"/>
            <a:ext cx="3838290"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FE57CD7F-46FD-4012-8C95-A53AC78C4B0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1043719" y="839971"/>
            <a:ext cx="10608278" cy="289159"/>
          </a:xfrm>
        </p:spPr>
        <p:txBody>
          <a:bodyPr/>
          <a:lstStyle>
            <a:lvl1pPr marL="0" indent="0">
              <a:buNone/>
              <a:defRPr sz="1999" b="0">
                <a:solidFill>
                  <a:schemeClr val="accent1"/>
                </a:solidFill>
              </a:defRPr>
            </a:lvl1pPr>
          </a:lstStyle>
          <a:p>
            <a:pPr lvl="0"/>
            <a:r>
              <a:rPr lang="nl-NL" noProof="0"/>
              <a:t>Voeg hier een subtitel i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Laptop</a:t>
            </a:r>
          </a:p>
        </p:txBody>
      </p:sp>
      <p:sp>
        <p:nvSpPr>
          <p:cNvPr id="44" name="Tijdelijke aanduiding voor tekst 43">
            <a:extLst>
              <a:ext uri="{FF2B5EF4-FFF2-40B4-BE49-F238E27FC236}">
                <a16:creationId xmlns:a16="http://schemas.microsoft.com/office/drawing/2014/main" id="{C39606EC-1987-41D2-AE51-A1A79674F48D}"/>
              </a:ext>
            </a:extLst>
          </p:cNvPr>
          <p:cNvSpPr>
            <a:spLocks noGrp="1"/>
          </p:cNvSpPr>
          <p:nvPr>
            <p:ph type="body" sz="quarter" idx="15" hasCustomPrompt="1"/>
          </p:nvPr>
        </p:nvSpPr>
        <p:spPr>
          <a:xfrm>
            <a:off x="1043719"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8" name="Instructie">
            <a:extLst>
              <a:ext uri="{FF2B5EF4-FFF2-40B4-BE49-F238E27FC236}">
                <a16:creationId xmlns:a16="http://schemas.microsoft.com/office/drawing/2014/main" id="{CE3C711D-2017-404E-847B-AB4DEB87F028}"/>
              </a:ext>
            </a:extLst>
          </p:cNvPr>
          <p:cNvGrpSpPr/>
          <p:nvPr userDrawn="1"/>
        </p:nvGrpSpPr>
        <p:grpSpPr>
          <a:xfrm>
            <a:off x="-3437546" y="1436"/>
            <a:ext cx="3201327" cy="6041867"/>
            <a:chOff x="-3437547" y="1434"/>
            <a:chExt cx="3201327" cy="6041867"/>
          </a:xfrm>
        </p:grpSpPr>
        <p:cxnSp>
          <p:nvCxnSpPr>
            <p:cNvPr id="23" name="Rechte verbindingslijn 22">
              <a:extLst>
                <a:ext uri="{FF2B5EF4-FFF2-40B4-BE49-F238E27FC236}">
                  <a16:creationId xmlns:a16="http://schemas.microsoft.com/office/drawing/2014/main" id="{B573ECE5-8B26-421E-B340-85DC5FBC5D3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4" name="Ovaal 23">
              <a:extLst>
                <a:ext uri="{FF2B5EF4-FFF2-40B4-BE49-F238E27FC236}">
                  <a16:creationId xmlns:a16="http://schemas.microsoft.com/office/drawing/2014/main" id="{7F69DEA5-422C-4E20-9D82-F332E3A683A8}"/>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5" name="Rechthoek 24">
              <a:extLst>
                <a:ext uri="{FF2B5EF4-FFF2-40B4-BE49-F238E27FC236}">
                  <a16:creationId xmlns:a16="http://schemas.microsoft.com/office/drawing/2014/main" id="{A25A09AD-A11B-4C29-AC8E-9F7F34618732}"/>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 name="Ovaal 25">
              <a:extLst>
                <a:ext uri="{FF2B5EF4-FFF2-40B4-BE49-F238E27FC236}">
                  <a16:creationId xmlns:a16="http://schemas.microsoft.com/office/drawing/2014/main" id="{0E7B5A5A-CDF9-400A-9597-9EAC1A4986B6}"/>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7" name="Rechthoek 26">
              <a:extLst>
                <a:ext uri="{FF2B5EF4-FFF2-40B4-BE49-F238E27FC236}">
                  <a16:creationId xmlns:a16="http://schemas.microsoft.com/office/drawing/2014/main" id="{ED506BF8-3B02-4DC7-B980-DA7A16229F08}"/>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8" name="Ovaal 27">
              <a:extLst>
                <a:ext uri="{FF2B5EF4-FFF2-40B4-BE49-F238E27FC236}">
                  <a16:creationId xmlns:a16="http://schemas.microsoft.com/office/drawing/2014/main" id="{29C6A98D-11CD-48B6-9127-DAC0D53A1849}"/>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9" name="Rechthoek 28">
              <a:extLst>
                <a:ext uri="{FF2B5EF4-FFF2-40B4-BE49-F238E27FC236}">
                  <a16:creationId xmlns:a16="http://schemas.microsoft.com/office/drawing/2014/main" id="{7770311C-EF99-4E7F-840A-B800D333C699}"/>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0" name="Ovaal 29">
              <a:extLst>
                <a:ext uri="{FF2B5EF4-FFF2-40B4-BE49-F238E27FC236}">
                  <a16:creationId xmlns:a16="http://schemas.microsoft.com/office/drawing/2014/main" id="{6C1F6DEA-553B-410A-9A95-8C3DD7FCA4EA}"/>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1" name="Rechthoek 30">
              <a:extLst>
                <a:ext uri="{FF2B5EF4-FFF2-40B4-BE49-F238E27FC236}">
                  <a16:creationId xmlns:a16="http://schemas.microsoft.com/office/drawing/2014/main" id="{FCF75767-3FEF-4250-A5B4-7C160D3444B7}"/>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45" name="Rechthoek 44">
              <a:extLst>
                <a:ext uri="{FF2B5EF4-FFF2-40B4-BE49-F238E27FC236}">
                  <a16:creationId xmlns:a16="http://schemas.microsoft.com/office/drawing/2014/main" id="{3B276D92-7A41-49DF-8C88-185CB47BA65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46" name="Ovaal 45">
              <a:extLst>
                <a:ext uri="{FF2B5EF4-FFF2-40B4-BE49-F238E27FC236}">
                  <a16:creationId xmlns:a16="http://schemas.microsoft.com/office/drawing/2014/main" id="{48C479DB-B8BC-4506-9181-30DF60A1539A}"/>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 name="Rechte verbindingslijn 46">
              <a:extLst>
                <a:ext uri="{FF2B5EF4-FFF2-40B4-BE49-F238E27FC236}">
                  <a16:creationId xmlns:a16="http://schemas.microsoft.com/office/drawing/2014/main" id="{3052ED36-84F4-48FF-B422-49B9578D7FB0}"/>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48" name="Groep 47">
              <a:extLst>
                <a:ext uri="{FF2B5EF4-FFF2-40B4-BE49-F238E27FC236}">
                  <a16:creationId xmlns:a16="http://schemas.microsoft.com/office/drawing/2014/main" id="{2B7D56E9-EEB3-4AF4-BC5B-4BFF6F083B90}"/>
                </a:ext>
              </a:extLst>
            </p:cNvPr>
            <p:cNvGrpSpPr/>
            <p:nvPr userDrawn="1"/>
          </p:nvGrpSpPr>
          <p:grpSpPr>
            <a:xfrm>
              <a:off x="-3437547" y="1295337"/>
              <a:ext cx="2933825" cy="558875"/>
              <a:chOff x="-3419346" y="368233"/>
              <a:chExt cx="3904920" cy="743862"/>
            </a:xfrm>
          </p:grpSpPr>
          <p:sp>
            <p:nvSpPr>
              <p:cNvPr id="60" name="Rechthoek 59">
                <a:extLst>
                  <a:ext uri="{FF2B5EF4-FFF2-40B4-BE49-F238E27FC236}">
                    <a16:creationId xmlns:a16="http://schemas.microsoft.com/office/drawing/2014/main" id="{61E16074-F3FA-4189-ADBD-C927E78887B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61" name="Rechte verbindingslijn 60">
                <a:extLst>
                  <a:ext uri="{FF2B5EF4-FFF2-40B4-BE49-F238E27FC236}">
                    <a16:creationId xmlns:a16="http://schemas.microsoft.com/office/drawing/2014/main" id="{AC9D2FE3-7A38-4D0F-B5D8-D4B088A87F1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ACA54EBA-22C4-4EB3-AD0C-97610A1785D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96BB71A8-82F1-4422-A5A1-C3391CDECF4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64" name="Groep 63">
                <a:extLst>
                  <a:ext uri="{FF2B5EF4-FFF2-40B4-BE49-F238E27FC236}">
                    <a16:creationId xmlns:a16="http://schemas.microsoft.com/office/drawing/2014/main" id="{780219A5-8C04-42C6-A4D0-881DA7D5E459}"/>
                  </a:ext>
                </a:extLst>
              </p:cNvPr>
              <p:cNvGrpSpPr/>
              <p:nvPr userDrawn="1"/>
            </p:nvGrpSpPr>
            <p:grpSpPr>
              <a:xfrm>
                <a:off x="-3002834" y="720303"/>
                <a:ext cx="182598" cy="143759"/>
                <a:chOff x="-3310843" y="700986"/>
                <a:chExt cx="182598" cy="143759"/>
              </a:xfrm>
            </p:grpSpPr>
            <p:grpSp>
              <p:nvGrpSpPr>
                <p:cNvPr id="103" name="Groep 102">
                  <a:extLst>
                    <a:ext uri="{FF2B5EF4-FFF2-40B4-BE49-F238E27FC236}">
                      <a16:creationId xmlns:a16="http://schemas.microsoft.com/office/drawing/2014/main" id="{FC7CC685-AA38-4D4E-B2C4-F90C521D0CF9}"/>
                    </a:ext>
                  </a:extLst>
                </p:cNvPr>
                <p:cNvGrpSpPr/>
                <p:nvPr userDrawn="1"/>
              </p:nvGrpSpPr>
              <p:grpSpPr>
                <a:xfrm>
                  <a:off x="-3310843" y="700986"/>
                  <a:ext cx="182598" cy="143759"/>
                  <a:chOff x="-3310843" y="700986"/>
                  <a:chExt cx="182598" cy="143759"/>
                </a:xfrm>
              </p:grpSpPr>
              <p:cxnSp>
                <p:nvCxnSpPr>
                  <p:cNvPr id="107" name="Rechte verbindingslijn 106">
                    <a:extLst>
                      <a:ext uri="{FF2B5EF4-FFF2-40B4-BE49-F238E27FC236}">
                        <a16:creationId xmlns:a16="http://schemas.microsoft.com/office/drawing/2014/main" id="{2D694759-A192-42AC-A457-14D6A864265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08" name="Rechte verbindingslijn 107">
                    <a:extLst>
                      <a:ext uri="{FF2B5EF4-FFF2-40B4-BE49-F238E27FC236}">
                        <a16:creationId xmlns:a16="http://schemas.microsoft.com/office/drawing/2014/main" id="{CC7F71B4-EACA-4BE8-A865-1E7CFA95D6B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09" name="Rechte verbindingslijn 108">
                    <a:extLst>
                      <a:ext uri="{FF2B5EF4-FFF2-40B4-BE49-F238E27FC236}">
                        <a16:creationId xmlns:a16="http://schemas.microsoft.com/office/drawing/2014/main" id="{B2831E05-563B-4742-B07B-E78E166CB65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10" name="Rechte verbindingslijn 109">
                    <a:extLst>
                      <a:ext uri="{FF2B5EF4-FFF2-40B4-BE49-F238E27FC236}">
                        <a16:creationId xmlns:a16="http://schemas.microsoft.com/office/drawing/2014/main" id="{F795F7FC-258B-4EC6-9B7E-EAD57CF93A1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11" name="Rechte verbindingslijn 110">
                    <a:extLst>
                      <a:ext uri="{FF2B5EF4-FFF2-40B4-BE49-F238E27FC236}">
                        <a16:creationId xmlns:a16="http://schemas.microsoft.com/office/drawing/2014/main" id="{1DBD846C-E37C-4635-A8CD-660F6D9FA634}"/>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04" name="Groep 103">
                  <a:extLst>
                    <a:ext uri="{FF2B5EF4-FFF2-40B4-BE49-F238E27FC236}">
                      <a16:creationId xmlns:a16="http://schemas.microsoft.com/office/drawing/2014/main" id="{3D97D966-D71A-4FA8-AE20-3105BFDC3B66}"/>
                    </a:ext>
                  </a:extLst>
                </p:cNvPr>
                <p:cNvGrpSpPr/>
                <p:nvPr userDrawn="1"/>
              </p:nvGrpSpPr>
              <p:grpSpPr>
                <a:xfrm flipH="1">
                  <a:off x="-3310774" y="735854"/>
                  <a:ext cx="88801" cy="72568"/>
                  <a:chOff x="-2091059" y="1395403"/>
                  <a:chExt cx="157316" cy="128558"/>
                </a:xfrm>
              </p:grpSpPr>
              <p:sp>
                <p:nvSpPr>
                  <p:cNvPr id="105" name="Rechthoek 104">
                    <a:extLst>
                      <a:ext uri="{FF2B5EF4-FFF2-40B4-BE49-F238E27FC236}">
                        <a16:creationId xmlns:a16="http://schemas.microsoft.com/office/drawing/2014/main" id="{0689700D-B843-4EAC-92D9-758AC881AB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6" name="Pijl: punthaak 105">
                    <a:extLst>
                      <a:ext uri="{FF2B5EF4-FFF2-40B4-BE49-F238E27FC236}">
                        <a16:creationId xmlns:a16="http://schemas.microsoft.com/office/drawing/2014/main" id="{2CFA9A02-7131-4E8B-B7CE-35CE98E8065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65" name="Groep 64">
                <a:extLst>
                  <a:ext uri="{FF2B5EF4-FFF2-40B4-BE49-F238E27FC236}">
                    <a16:creationId xmlns:a16="http://schemas.microsoft.com/office/drawing/2014/main" id="{5C288CB5-A6DD-4AAA-84E4-2D67A2F0924D}"/>
                  </a:ext>
                </a:extLst>
              </p:cNvPr>
              <p:cNvGrpSpPr/>
              <p:nvPr userDrawn="1"/>
            </p:nvGrpSpPr>
            <p:grpSpPr>
              <a:xfrm>
                <a:off x="-3326107" y="720303"/>
                <a:ext cx="182598" cy="143759"/>
                <a:chOff x="-3634116" y="700986"/>
                <a:chExt cx="182598" cy="143759"/>
              </a:xfrm>
            </p:grpSpPr>
            <p:grpSp>
              <p:nvGrpSpPr>
                <p:cNvPr id="94" name="Groep 93">
                  <a:extLst>
                    <a:ext uri="{FF2B5EF4-FFF2-40B4-BE49-F238E27FC236}">
                      <a16:creationId xmlns:a16="http://schemas.microsoft.com/office/drawing/2014/main" id="{3A8AECE4-060D-4703-8A8A-444C4CA93266}"/>
                    </a:ext>
                  </a:extLst>
                </p:cNvPr>
                <p:cNvGrpSpPr/>
                <p:nvPr userDrawn="1"/>
              </p:nvGrpSpPr>
              <p:grpSpPr>
                <a:xfrm>
                  <a:off x="-3634116" y="700986"/>
                  <a:ext cx="182598" cy="143759"/>
                  <a:chOff x="-3634116" y="700986"/>
                  <a:chExt cx="182598" cy="143759"/>
                </a:xfrm>
              </p:grpSpPr>
              <p:cxnSp>
                <p:nvCxnSpPr>
                  <p:cNvPr id="98" name="Rechte verbindingslijn 97">
                    <a:extLst>
                      <a:ext uri="{FF2B5EF4-FFF2-40B4-BE49-F238E27FC236}">
                        <a16:creationId xmlns:a16="http://schemas.microsoft.com/office/drawing/2014/main" id="{1544CA00-C208-445C-BB6B-F5CC9C3DAF5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99" name="Rechte verbindingslijn 98">
                    <a:extLst>
                      <a:ext uri="{FF2B5EF4-FFF2-40B4-BE49-F238E27FC236}">
                        <a16:creationId xmlns:a16="http://schemas.microsoft.com/office/drawing/2014/main" id="{3257705F-AA56-47A0-B282-4E57BC000EB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00" name="Rechte verbindingslijn 99">
                    <a:extLst>
                      <a:ext uri="{FF2B5EF4-FFF2-40B4-BE49-F238E27FC236}">
                        <a16:creationId xmlns:a16="http://schemas.microsoft.com/office/drawing/2014/main" id="{46701D0E-2CE2-4806-BE99-A872AE17BB4F}"/>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01" name="Rechte verbindingslijn 100">
                    <a:extLst>
                      <a:ext uri="{FF2B5EF4-FFF2-40B4-BE49-F238E27FC236}">
                        <a16:creationId xmlns:a16="http://schemas.microsoft.com/office/drawing/2014/main" id="{1BE5CA17-AEB5-4192-B144-365F5F03963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02" name="Rechte verbindingslijn 101">
                    <a:extLst>
                      <a:ext uri="{FF2B5EF4-FFF2-40B4-BE49-F238E27FC236}">
                        <a16:creationId xmlns:a16="http://schemas.microsoft.com/office/drawing/2014/main" id="{6BB58DAA-BFD4-493A-8826-A11AAD309D7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95" name="Groep 94">
                  <a:extLst>
                    <a:ext uri="{FF2B5EF4-FFF2-40B4-BE49-F238E27FC236}">
                      <a16:creationId xmlns:a16="http://schemas.microsoft.com/office/drawing/2014/main" id="{297D8323-6433-463C-BA17-485A6998634F}"/>
                    </a:ext>
                  </a:extLst>
                </p:cNvPr>
                <p:cNvGrpSpPr/>
                <p:nvPr userDrawn="1"/>
              </p:nvGrpSpPr>
              <p:grpSpPr>
                <a:xfrm>
                  <a:off x="-3634047" y="735854"/>
                  <a:ext cx="88801" cy="72568"/>
                  <a:chOff x="-2091059" y="1395403"/>
                  <a:chExt cx="157316" cy="128558"/>
                </a:xfrm>
              </p:grpSpPr>
              <p:sp>
                <p:nvSpPr>
                  <p:cNvPr id="96" name="Rechthoek 95">
                    <a:extLst>
                      <a:ext uri="{FF2B5EF4-FFF2-40B4-BE49-F238E27FC236}">
                        <a16:creationId xmlns:a16="http://schemas.microsoft.com/office/drawing/2014/main" id="{9FCE541F-2D4F-4633-BDC6-6E1DBED57B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7" name="Pijl: punthaak 96">
                    <a:extLst>
                      <a:ext uri="{FF2B5EF4-FFF2-40B4-BE49-F238E27FC236}">
                        <a16:creationId xmlns:a16="http://schemas.microsoft.com/office/drawing/2014/main" id="{FBFA69ED-5FD5-4EEE-9432-20F41D0BD65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66" name="Rechte verbindingslijn 65">
                <a:extLst>
                  <a:ext uri="{FF2B5EF4-FFF2-40B4-BE49-F238E27FC236}">
                    <a16:creationId xmlns:a16="http://schemas.microsoft.com/office/drawing/2014/main" id="{F2AE5A10-0BC9-4045-AA22-F2029F4F78EB}"/>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67" name="Rechte verbindingslijn 66">
                <a:extLst>
                  <a:ext uri="{FF2B5EF4-FFF2-40B4-BE49-F238E27FC236}">
                    <a16:creationId xmlns:a16="http://schemas.microsoft.com/office/drawing/2014/main" id="{C72928FC-A8D8-4CD5-8766-B5992A5DE907}"/>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68" name="Groep 67">
                <a:extLst>
                  <a:ext uri="{FF2B5EF4-FFF2-40B4-BE49-F238E27FC236}">
                    <a16:creationId xmlns:a16="http://schemas.microsoft.com/office/drawing/2014/main" id="{FBB251F0-9219-4686-B399-B49D07BB0635}"/>
                  </a:ext>
                </a:extLst>
              </p:cNvPr>
              <p:cNvGrpSpPr/>
              <p:nvPr userDrawn="1"/>
            </p:nvGrpSpPr>
            <p:grpSpPr>
              <a:xfrm>
                <a:off x="-2425037" y="370226"/>
                <a:ext cx="357690" cy="330595"/>
                <a:chOff x="-2721817" y="347336"/>
                <a:chExt cx="432805" cy="400021"/>
              </a:xfrm>
            </p:grpSpPr>
            <p:sp>
              <p:nvSpPr>
                <p:cNvPr id="83" name="Rechthoek 82">
                  <a:extLst>
                    <a:ext uri="{FF2B5EF4-FFF2-40B4-BE49-F238E27FC236}">
                      <a16:creationId xmlns:a16="http://schemas.microsoft.com/office/drawing/2014/main" id="{87C7F542-D348-4FFA-BCBB-D4537D135E2F}"/>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84" name="Groep 83">
                  <a:extLst>
                    <a:ext uri="{FF2B5EF4-FFF2-40B4-BE49-F238E27FC236}">
                      <a16:creationId xmlns:a16="http://schemas.microsoft.com/office/drawing/2014/main" id="{C34001F2-0355-4A0A-A00C-0117C894376B}"/>
                    </a:ext>
                  </a:extLst>
                </p:cNvPr>
                <p:cNvGrpSpPr/>
                <p:nvPr userDrawn="1"/>
              </p:nvGrpSpPr>
              <p:grpSpPr>
                <a:xfrm>
                  <a:off x="-2652453" y="431583"/>
                  <a:ext cx="294076" cy="231526"/>
                  <a:chOff x="-3634116" y="700986"/>
                  <a:chExt cx="182598" cy="143759"/>
                </a:xfrm>
              </p:grpSpPr>
              <p:grpSp>
                <p:nvGrpSpPr>
                  <p:cNvPr id="85" name="Groep 84">
                    <a:extLst>
                      <a:ext uri="{FF2B5EF4-FFF2-40B4-BE49-F238E27FC236}">
                        <a16:creationId xmlns:a16="http://schemas.microsoft.com/office/drawing/2014/main" id="{D435672E-7DF7-4A7A-B665-6589B0458185}"/>
                      </a:ext>
                    </a:extLst>
                  </p:cNvPr>
                  <p:cNvGrpSpPr/>
                  <p:nvPr userDrawn="1"/>
                </p:nvGrpSpPr>
                <p:grpSpPr>
                  <a:xfrm>
                    <a:off x="-3634116" y="700986"/>
                    <a:ext cx="182598" cy="143759"/>
                    <a:chOff x="-3634116" y="700986"/>
                    <a:chExt cx="182598" cy="143759"/>
                  </a:xfrm>
                </p:grpSpPr>
                <p:cxnSp>
                  <p:nvCxnSpPr>
                    <p:cNvPr id="89" name="Rechte verbindingslijn 88">
                      <a:extLst>
                        <a:ext uri="{FF2B5EF4-FFF2-40B4-BE49-F238E27FC236}">
                          <a16:creationId xmlns:a16="http://schemas.microsoft.com/office/drawing/2014/main" id="{745800E6-675C-494B-8BFD-1AE7A355CC87}"/>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90" name="Rechte verbindingslijn 89">
                      <a:extLst>
                        <a:ext uri="{FF2B5EF4-FFF2-40B4-BE49-F238E27FC236}">
                          <a16:creationId xmlns:a16="http://schemas.microsoft.com/office/drawing/2014/main" id="{1F91FCC2-E719-4097-80F5-859B56F4CC5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91" name="Rechte verbindingslijn 90">
                      <a:extLst>
                        <a:ext uri="{FF2B5EF4-FFF2-40B4-BE49-F238E27FC236}">
                          <a16:creationId xmlns:a16="http://schemas.microsoft.com/office/drawing/2014/main" id="{62BD121F-23B2-44BF-922F-4F8EA024C3E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92" name="Rechte verbindingslijn 91">
                      <a:extLst>
                        <a:ext uri="{FF2B5EF4-FFF2-40B4-BE49-F238E27FC236}">
                          <a16:creationId xmlns:a16="http://schemas.microsoft.com/office/drawing/2014/main" id="{6A4C6646-0A84-4002-9739-0FF0C3524A1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93" name="Rechte verbindingslijn 92">
                      <a:extLst>
                        <a:ext uri="{FF2B5EF4-FFF2-40B4-BE49-F238E27FC236}">
                          <a16:creationId xmlns:a16="http://schemas.microsoft.com/office/drawing/2014/main" id="{68960CA0-FFCC-40E2-B850-7D3F57D7E72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86" name="Groep 85">
                    <a:extLst>
                      <a:ext uri="{FF2B5EF4-FFF2-40B4-BE49-F238E27FC236}">
                        <a16:creationId xmlns:a16="http://schemas.microsoft.com/office/drawing/2014/main" id="{31404A9F-D1D2-47B1-8FAC-FA1EC574D479}"/>
                      </a:ext>
                    </a:extLst>
                  </p:cNvPr>
                  <p:cNvGrpSpPr/>
                  <p:nvPr userDrawn="1"/>
                </p:nvGrpSpPr>
                <p:grpSpPr>
                  <a:xfrm>
                    <a:off x="-3634047" y="735854"/>
                    <a:ext cx="88801" cy="72568"/>
                    <a:chOff x="-2091059" y="1395403"/>
                    <a:chExt cx="157316" cy="128558"/>
                  </a:xfrm>
                </p:grpSpPr>
                <p:sp>
                  <p:nvSpPr>
                    <p:cNvPr id="87" name="Rechthoek 86">
                      <a:extLst>
                        <a:ext uri="{FF2B5EF4-FFF2-40B4-BE49-F238E27FC236}">
                          <a16:creationId xmlns:a16="http://schemas.microsoft.com/office/drawing/2014/main" id="{52C12336-DBED-487E-9DB9-55716F7131D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8" name="Pijl: punthaak 87">
                      <a:extLst>
                        <a:ext uri="{FF2B5EF4-FFF2-40B4-BE49-F238E27FC236}">
                          <a16:creationId xmlns:a16="http://schemas.microsoft.com/office/drawing/2014/main" id="{BF8C35BE-093E-4EEA-88EC-8EB2A4B4D1B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69" name="Groep 68">
                <a:extLst>
                  <a:ext uri="{FF2B5EF4-FFF2-40B4-BE49-F238E27FC236}">
                    <a16:creationId xmlns:a16="http://schemas.microsoft.com/office/drawing/2014/main" id="{EB33B0E1-8595-4B3C-B366-F927E2668600}"/>
                  </a:ext>
                </a:extLst>
              </p:cNvPr>
              <p:cNvGrpSpPr/>
              <p:nvPr userDrawn="1"/>
            </p:nvGrpSpPr>
            <p:grpSpPr>
              <a:xfrm>
                <a:off x="-2425037" y="781500"/>
                <a:ext cx="357690" cy="330595"/>
                <a:chOff x="-2721817" y="782525"/>
                <a:chExt cx="432805" cy="400021"/>
              </a:xfrm>
            </p:grpSpPr>
            <p:sp>
              <p:nvSpPr>
                <p:cNvPr id="72" name="Rechthoek 71">
                  <a:extLst>
                    <a:ext uri="{FF2B5EF4-FFF2-40B4-BE49-F238E27FC236}">
                      <a16:creationId xmlns:a16="http://schemas.microsoft.com/office/drawing/2014/main" id="{A1C1434C-A92C-4573-B044-C0918AB0153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73" name="Groep 72">
                  <a:extLst>
                    <a:ext uri="{FF2B5EF4-FFF2-40B4-BE49-F238E27FC236}">
                      <a16:creationId xmlns:a16="http://schemas.microsoft.com/office/drawing/2014/main" id="{59B5C24E-4E39-4035-A9D5-9939099BCD1F}"/>
                    </a:ext>
                  </a:extLst>
                </p:cNvPr>
                <p:cNvGrpSpPr/>
                <p:nvPr userDrawn="1"/>
              </p:nvGrpSpPr>
              <p:grpSpPr>
                <a:xfrm>
                  <a:off x="-2652453" y="866772"/>
                  <a:ext cx="294076" cy="231526"/>
                  <a:chOff x="-3310843" y="700986"/>
                  <a:chExt cx="182598" cy="143759"/>
                </a:xfrm>
              </p:grpSpPr>
              <p:grpSp>
                <p:nvGrpSpPr>
                  <p:cNvPr id="74" name="Groep 73">
                    <a:extLst>
                      <a:ext uri="{FF2B5EF4-FFF2-40B4-BE49-F238E27FC236}">
                        <a16:creationId xmlns:a16="http://schemas.microsoft.com/office/drawing/2014/main" id="{00F30649-8E2B-4D33-8DB7-D44568F091C5}"/>
                      </a:ext>
                    </a:extLst>
                  </p:cNvPr>
                  <p:cNvGrpSpPr/>
                  <p:nvPr userDrawn="1"/>
                </p:nvGrpSpPr>
                <p:grpSpPr>
                  <a:xfrm>
                    <a:off x="-3310843" y="700986"/>
                    <a:ext cx="182598" cy="143759"/>
                    <a:chOff x="-3310843" y="700986"/>
                    <a:chExt cx="182598" cy="143759"/>
                  </a:xfrm>
                </p:grpSpPr>
                <p:cxnSp>
                  <p:nvCxnSpPr>
                    <p:cNvPr id="78" name="Rechte verbindingslijn 77">
                      <a:extLst>
                        <a:ext uri="{FF2B5EF4-FFF2-40B4-BE49-F238E27FC236}">
                          <a16:creationId xmlns:a16="http://schemas.microsoft.com/office/drawing/2014/main" id="{D54BD9AB-84B1-4B65-85E0-1FAAB9306A7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79" name="Rechte verbindingslijn 78">
                      <a:extLst>
                        <a:ext uri="{FF2B5EF4-FFF2-40B4-BE49-F238E27FC236}">
                          <a16:creationId xmlns:a16="http://schemas.microsoft.com/office/drawing/2014/main" id="{A0E7457C-DE2A-4B72-AD61-FFCCA98ED24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80" name="Rechte verbindingslijn 79">
                      <a:extLst>
                        <a:ext uri="{FF2B5EF4-FFF2-40B4-BE49-F238E27FC236}">
                          <a16:creationId xmlns:a16="http://schemas.microsoft.com/office/drawing/2014/main" id="{488DB9A3-7F63-430D-B96E-ED623B73C8C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81" name="Rechte verbindingslijn 80">
                      <a:extLst>
                        <a:ext uri="{FF2B5EF4-FFF2-40B4-BE49-F238E27FC236}">
                          <a16:creationId xmlns:a16="http://schemas.microsoft.com/office/drawing/2014/main" id="{309B7B97-CF8D-46A3-90EB-146C74828C94}"/>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id="{0AF1B1C8-2209-46A3-BDB8-3FFE0C809C9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75" name="Groep 74">
                    <a:extLst>
                      <a:ext uri="{FF2B5EF4-FFF2-40B4-BE49-F238E27FC236}">
                        <a16:creationId xmlns:a16="http://schemas.microsoft.com/office/drawing/2014/main" id="{192BD7C2-A853-444E-A97E-6BACAFEEEBC4}"/>
                      </a:ext>
                    </a:extLst>
                  </p:cNvPr>
                  <p:cNvGrpSpPr/>
                  <p:nvPr userDrawn="1"/>
                </p:nvGrpSpPr>
                <p:grpSpPr>
                  <a:xfrm flipH="1">
                    <a:off x="-3310774" y="735854"/>
                    <a:ext cx="88801" cy="72568"/>
                    <a:chOff x="-2091059" y="1395403"/>
                    <a:chExt cx="157316" cy="128558"/>
                  </a:xfrm>
                </p:grpSpPr>
                <p:sp>
                  <p:nvSpPr>
                    <p:cNvPr id="76" name="Rechthoek 75">
                      <a:extLst>
                        <a:ext uri="{FF2B5EF4-FFF2-40B4-BE49-F238E27FC236}">
                          <a16:creationId xmlns:a16="http://schemas.microsoft.com/office/drawing/2014/main" id="{57761CCC-86FB-49BE-B283-79EC50F9057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7" name="Pijl: punthaak 76">
                      <a:extLst>
                        <a:ext uri="{FF2B5EF4-FFF2-40B4-BE49-F238E27FC236}">
                          <a16:creationId xmlns:a16="http://schemas.microsoft.com/office/drawing/2014/main" id="{00C6F945-A9E6-4255-9380-35728B81BFE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70" name="Rechthoek 69">
                <a:extLst>
                  <a:ext uri="{FF2B5EF4-FFF2-40B4-BE49-F238E27FC236}">
                    <a16:creationId xmlns:a16="http://schemas.microsoft.com/office/drawing/2014/main" id="{890D8AA0-64AB-4043-B3F0-B691921E5672}"/>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71" name="Rechthoek 70">
                <a:extLst>
                  <a:ext uri="{FF2B5EF4-FFF2-40B4-BE49-F238E27FC236}">
                    <a16:creationId xmlns:a16="http://schemas.microsoft.com/office/drawing/2014/main" id="{C5941298-1B59-4D9A-95A5-B0CC3F6EB492}"/>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49" name="Rechte verbindingslijn 48">
              <a:extLst>
                <a:ext uri="{FF2B5EF4-FFF2-40B4-BE49-F238E27FC236}">
                  <a16:creationId xmlns:a16="http://schemas.microsoft.com/office/drawing/2014/main" id="{C70D9F50-006D-407B-A606-7C360CEDF871}"/>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50" name="Rechthoek 49">
              <a:extLst>
                <a:ext uri="{FF2B5EF4-FFF2-40B4-BE49-F238E27FC236}">
                  <a16:creationId xmlns:a16="http://schemas.microsoft.com/office/drawing/2014/main" id="{0687734F-2B29-42B3-BB6E-308076C71DD7}"/>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51" name="Ovaal 50">
              <a:extLst>
                <a:ext uri="{FF2B5EF4-FFF2-40B4-BE49-F238E27FC236}">
                  <a16:creationId xmlns:a16="http://schemas.microsoft.com/office/drawing/2014/main" id="{B3504BC6-4AAA-43EF-BA98-3B370169C258}"/>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52" name="Rechthoek 51">
              <a:extLst>
                <a:ext uri="{FF2B5EF4-FFF2-40B4-BE49-F238E27FC236}">
                  <a16:creationId xmlns:a16="http://schemas.microsoft.com/office/drawing/2014/main" id="{D0627E6F-A576-4F21-B9DB-7B99382A4AB4}"/>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53" name="Ovaal 52">
              <a:extLst>
                <a:ext uri="{FF2B5EF4-FFF2-40B4-BE49-F238E27FC236}">
                  <a16:creationId xmlns:a16="http://schemas.microsoft.com/office/drawing/2014/main" id="{EE4AE1BC-10AD-44AC-AF59-4F483F57A533}"/>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54" name="Rechthoek 53">
              <a:extLst>
                <a:ext uri="{FF2B5EF4-FFF2-40B4-BE49-F238E27FC236}">
                  <a16:creationId xmlns:a16="http://schemas.microsoft.com/office/drawing/2014/main" id="{5DD1FA82-BD86-4F88-AEBB-9ED96B6F80FC}"/>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55" name="Ovaal 54">
              <a:extLst>
                <a:ext uri="{FF2B5EF4-FFF2-40B4-BE49-F238E27FC236}">
                  <a16:creationId xmlns:a16="http://schemas.microsoft.com/office/drawing/2014/main" id="{DDD44BE1-0C8C-4865-AE12-1D0DC7FC5469}"/>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56" name="Rechthoek 55">
              <a:extLst>
                <a:ext uri="{FF2B5EF4-FFF2-40B4-BE49-F238E27FC236}">
                  <a16:creationId xmlns:a16="http://schemas.microsoft.com/office/drawing/2014/main" id="{E4DF1B2A-C0AE-44F7-8BD4-725DEC68E959}"/>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57" name="Ovaal 56">
              <a:extLst>
                <a:ext uri="{FF2B5EF4-FFF2-40B4-BE49-F238E27FC236}">
                  <a16:creationId xmlns:a16="http://schemas.microsoft.com/office/drawing/2014/main" id="{3EE90AA0-7FC6-4C99-AF8D-27509C732D8A}"/>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58" name="Rechthoek 57">
              <a:extLst>
                <a:ext uri="{FF2B5EF4-FFF2-40B4-BE49-F238E27FC236}">
                  <a16:creationId xmlns:a16="http://schemas.microsoft.com/office/drawing/2014/main" id="{03FAEA6B-B37B-44A8-8D38-02BA04679BAF}"/>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600" b="1" kern="1200" cap="none" baseline="0" noProof="0">
                  <a:solidFill>
                    <a:schemeClr val="accent1"/>
                  </a:solidFill>
                  <a:latin typeface="+mj-lt"/>
                  <a:ea typeface="+mn-ea"/>
                  <a:cs typeface="+mn-cs"/>
                </a:rPr>
                <a:t>Tussenkop (16pt)</a:t>
              </a:r>
            </a:p>
          </p:txBody>
        </p:sp>
        <p:sp>
          <p:nvSpPr>
            <p:cNvPr id="59" name="Rechthoek 58">
              <a:extLst>
                <a:ext uri="{FF2B5EF4-FFF2-40B4-BE49-F238E27FC236}">
                  <a16:creationId xmlns:a16="http://schemas.microsoft.com/office/drawing/2014/main" id="{122708D6-7122-4019-AA15-1968C668A710}"/>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115" name="Rechte verbindingslijn 114">
              <a:extLst>
                <a:ext uri="{FF2B5EF4-FFF2-40B4-BE49-F238E27FC236}">
                  <a16:creationId xmlns:a16="http://schemas.microsoft.com/office/drawing/2014/main" id="{A79ACEDD-5C11-49B8-BFC2-E66EEA8CA38B}"/>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116" name="Ovaal 115">
              <a:extLst>
                <a:ext uri="{FF2B5EF4-FFF2-40B4-BE49-F238E27FC236}">
                  <a16:creationId xmlns:a16="http://schemas.microsoft.com/office/drawing/2014/main" id="{F5679DC3-CEF2-4772-9ABB-92954717A816}"/>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117" name="Rechthoek 116">
              <a:extLst>
                <a:ext uri="{FF2B5EF4-FFF2-40B4-BE49-F238E27FC236}">
                  <a16:creationId xmlns:a16="http://schemas.microsoft.com/office/drawing/2014/main" id="{211274B4-8E9A-4D55-A35B-57117EE1346E}"/>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118" name="Ovaal 117">
              <a:extLst>
                <a:ext uri="{FF2B5EF4-FFF2-40B4-BE49-F238E27FC236}">
                  <a16:creationId xmlns:a16="http://schemas.microsoft.com/office/drawing/2014/main" id="{5351836F-0472-47FE-AC19-5C60C4F131EF}"/>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9" name="Rechthoek 118">
              <a:extLst>
                <a:ext uri="{FF2B5EF4-FFF2-40B4-BE49-F238E27FC236}">
                  <a16:creationId xmlns:a16="http://schemas.microsoft.com/office/drawing/2014/main" id="{53119B5F-71BF-41C1-AC41-5B54F2BE3FAE}"/>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120" name="GRID" hidden="1">
            <a:extLst>
              <a:ext uri="{FF2B5EF4-FFF2-40B4-BE49-F238E27FC236}">
                <a16:creationId xmlns:a16="http://schemas.microsoft.com/office/drawing/2014/main" id="{5296AF35-F896-43B3-ABCB-C095CFAAB915}"/>
              </a:ext>
            </a:extLst>
          </p:cNvPr>
          <p:cNvGrpSpPr/>
          <p:nvPr userDrawn="1"/>
        </p:nvGrpSpPr>
        <p:grpSpPr>
          <a:xfrm>
            <a:off x="0" y="0"/>
            <a:ext cx="12192000" cy="6858000"/>
            <a:chOff x="0" y="0"/>
            <a:chExt cx="12192000" cy="6858000"/>
          </a:xfrm>
          <a:solidFill>
            <a:schemeClr val="tx1">
              <a:alpha val="30000"/>
            </a:schemeClr>
          </a:solidFill>
        </p:grpSpPr>
        <p:sp>
          <p:nvSpPr>
            <p:cNvPr id="121" name="Rechthoek 120">
              <a:extLst>
                <a:ext uri="{FF2B5EF4-FFF2-40B4-BE49-F238E27FC236}">
                  <a16:creationId xmlns:a16="http://schemas.microsoft.com/office/drawing/2014/main" id="{F2EB2891-3A99-4ED4-8AFD-B438775A0AB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2" name="Rechthoek 121">
              <a:extLst>
                <a:ext uri="{FF2B5EF4-FFF2-40B4-BE49-F238E27FC236}">
                  <a16:creationId xmlns:a16="http://schemas.microsoft.com/office/drawing/2014/main" id="{FA8CC251-260C-48FB-A21A-4064D59E44A3}"/>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3" name="Rechthoek 122">
              <a:extLst>
                <a:ext uri="{FF2B5EF4-FFF2-40B4-BE49-F238E27FC236}">
                  <a16:creationId xmlns:a16="http://schemas.microsoft.com/office/drawing/2014/main" id="{7F3AA528-EF26-4236-99E2-579FAE2766C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4" name="Rechthoek 123">
              <a:extLst>
                <a:ext uri="{FF2B5EF4-FFF2-40B4-BE49-F238E27FC236}">
                  <a16:creationId xmlns:a16="http://schemas.microsoft.com/office/drawing/2014/main" id="{7DC92546-1751-4BAA-AA77-5307E8FACDC5}"/>
                </a:ext>
              </a:extLst>
            </p:cNvPr>
            <p:cNvSpPr/>
            <p:nvPr userDrawn="1"/>
          </p:nvSpPr>
          <p:spPr>
            <a:xfrm>
              <a:off x="0" y="825345"/>
              <a:ext cx="12192000" cy="754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5" name="Rechthoek 124">
              <a:extLst>
                <a:ext uri="{FF2B5EF4-FFF2-40B4-BE49-F238E27FC236}">
                  <a16:creationId xmlns:a16="http://schemas.microsoft.com/office/drawing/2014/main" id="{C45E7145-B912-4200-A331-B4273BB6199F}"/>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6" name="Rechthoek 125">
              <a:extLst>
                <a:ext uri="{FF2B5EF4-FFF2-40B4-BE49-F238E27FC236}">
                  <a16:creationId xmlns:a16="http://schemas.microsoft.com/office/drawing/2014/main" id="{D3D0F0CB-C84E-4062-996E-C129FEC2E3C5}"/>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7" name="Rechthoek 126">
              <a:extLst>
                <a:ext uri="{FF2B5EF4-FFF2-40B4-BE49-F238E27FC236}">
                  <a16:creationId xmlns:a16="http://schemas.microsoft.com/office/drawing/2014/main" id="{838D424E-D3A6-4B95-BFB7-234BCBF65129}"/>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8" name="Rechthoek 127">
              <a:extLst>
                <a:ext uri="{FF2B5EF4-FFF2-40B4-BE49-F238E27FC236}">
                  <a16:creationId xmlns:a16="http://schemas.microsoft.com/office/drawing/2014/main" id="{E0EC2466-F391-4C48-905A-547E5255BBA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29" name="Rechthoek 128">
              <a:extLst>
                <a:ext uri="{FF2B5EF4-FFF2-40B4-BE49-F238E27FC236}">
                  <a16:creationId xmlns:a16="http://schemas.microsoft.com/office/drawing/2014/main" id="{FA3DF976-567F-4CC5-8362-205B3BE176DB}"/>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30" name="Rechthoek 129">
              <a:extLst>
                <a:ext uri="{FF2B5EF4-FFF2-40B4-BE49-F238E27FC236}">
                  <a16:creationId xmlns:a16="http://schemas.microsoft.com/office/drawing/2014/main" id="{A2F401FB-26A6-4D49-A1E7-E09BC52F1A3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31" name="Rechthoek 130">
              <a:extLst>
                <a:ext uri="{FF2B5EF4-FFF2-40B4-BE49-F238E27FC236}">
                  <a16:creationId xmlns:a16="http://schemas.microsoft.com/office/drawing/2014/main" id="{7A917718-DF85-48ED-8424-FC9E59AA36E1}"/>
                </a:ext>
              </a:extLst>
            </p:cNvPr>
            <p:cNvSpPr/>
            <p:nvPr userDrawn="1"/>
          </p:nvSpPr>
          <p:spPr>
            <a:xfrm>
              <a:off x="0" y="1114210"/>
              <a:ext cx="12192000" cy="3423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grpSp>
        <p:nvGrpSpPr>
          <p:cNvPr id="139" name="Group 95">
            <a:extLst>
              <a:ext uri="{FF2B5EF4-FFF2-40B4-BE49-F238E27FC236}">
                <a16:creationId xmlns:a16="http://schemas.microsoft.com/office/drawing/2014/main" id="{2C288F7E-255B-4A1C-9078-93F0BE0349D3}"/>
              </a:ext>
            </a:extLst>
          </p:cNvPr>
          <p:cNvGrpSpPr>
            <a:grpSpLocks noChangeAspect="1"/>
          </p:cNvGrpSpPr>
          <p:nvPr userDrawn="1"/>
        </p:nvGrpSpPr>
        <p:grpSpPr bwMode="auto">
          <a:xfrm>
            <a:off x="5771060" y="2247733"/>
            <a:ext cx="6215479" cy="3585147"/>
            <a:chOff x="2229" y="1230"/>
            <a:chExt cx="3222" cy="1858"/>
          </a:xfrm>
        </p:grpSpPr>
        <p:sp>
          <p:nvSpPr>
            <p:cNvPr id="140" name="Freeform 96">
              <a:extLst>
                <a:ext uri="{FF2B5EF4-FFF2-40B4-BE49-F238E27FC236}">
                  <a16:creationId xmlns:a16="http://schemas.microsoft.com/office/drawing/2014/main" id="{360E6C4C-4AC2-4881-901B-25FE53C63C78}"/>
                </a:ext>
              </a:extLst>
            </p:cNvPr>
            <p:cNvSpPr>
              <a:spLocks/>
            </p:cNvSpPr>
            <p:nvPr/>
          </p:nvSpPr>
          <p:spPr bwMode="auto">
            <a:xfrm>
              <a:off x="2418" y="1230"/>
              <a:ext cx="2851" cy="1765"/>
            </a:xfrm>
            <a:custGeom>
              <a:avLst/>
              <a:gdLst>
                <a:gd name="T0" fmla="*/ 1113 w 1113"/>
                <a:gd name="T1" fmla="*/ 36 h 745"/>
                <a:gd name="T2" fmla="*/ 1076 w 1113"/>
                <a:gd name="T3" fmla="*/ 0 h 745"/>
                <a:gd name="T4" fmla="*/ 1076 w 1113"/>
                <a:gd name="T5" fmla="*/ 0 h 745"/>
                <a:gd name="T6" fmla="*/ 37 w 1113"/>
                <a:gd name="T7" fmla="*/ 0 h 745"/>
                <a:gd name="T8" fmla="*/ 0 w 1113"/>
                <a:gd name="T9" fmla="*/ 36 h 745"/>
                <a:gd name="T10" fmla="*/ 0 w 1113"/>
                <a:gd name="T11" fmla="*/ 36 h 745"/>
                <a:gd name="T12" fmla="*/ 0 w 1113"/>
                <a:gd name="T13" fmla="*/ 745 h 745"/>
                <a:gd name="T14" fmla="*/ 1113 w 1113"/>
                <a:gd name="T15" fmla="*/ 745 h 745"/>
                <a:gd name="T16" fmla="*/ 1113 w 1113"/>
                <a:gd name="T17" fmla="*/ 36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 h="745">
                  <a:moveTo>
                    <a:pt x="1113" y="36"/>
                  </a:moveTo>
                  <a:cubicBezTo>
                    <a:pt x="1113" y="16"/>
                    <a:pt x="1097" y="0"/>
                    <a:pt x="1076" y="0"/>
                  </a:cubicBezTo>
                  <a:cubicBezTo>
                    <a:pt x="1076" y="0"/>
                    <a:pt x="1076" y="0"/>
                    <a:pt x="1076" y="0"/>
                  </a:cubicBezTo>
                  <a:cubicBezTo>
                    <a:pt x="37" y="0"/>
                    <a:pt x="37" y="0"/>
                    <a:pt x="37" y="0"/>
                  </a:cubicBezTo>
                  <a:cubicBezTo>
                    <a:pt x="17" y="0"/>
                    <a:pt x="0" y="16"/>
                    <a:pt x="0" y="36"/>
                  </a:cubicBezTo>
                  <a:cubicBezTo>
                    <a:pt x="0" y="36"/>
                    <a:pt x="0" y="36"/>
                    <a:pt x="0" y="36"/>
                  </a:cubicBezTo>
                  <a:cubicBezTo>
                    <a:pt x="0" y="745"/>
                    <a:pt x="0" y="745"/>
                    <a:pt x="0" y="745"/>
                  </a:cubicBezTo>
                  <a:cubicBezTo>
                    <a:pt x="1113" y="745"/>
                    <a:pt x="1113" y="745"/>
                    <a:pt x="1113" y="745"/>
                  </a:cubicBezTo>
                  <a:cubicBezTo>
                    <a:pt x="1113" y="36"/>
                    <a:pt x="1113" y="36"/>
                    <a:pt x="1113" y="36"/>
                  </a:cubicBezTo>
                  <a:close/>
                </a:path>
              </a:pathLst>
            </a:custGeom>
            <a:solidFill>
              <a:srgbClr val="21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211F26"/>
                </a:solidFill>
                <a:effectLst/>
                <a:uLnTx/>
                <a:uFillTx/>
              </a:endParaRPr>
            </a:p>
          </p:txBody>
        </p:sp>
        <p:sp>
          <p:nvSpPr>
            <p:cNvPr id="141" name="Line 97">
              <a:extLst>
                <a:ext uri="{FF2B5EF4-FFF2-40B4-BE49-F238E27FC236}">
                  <a16:creationId xmlns:a16="http://schemas.microsoft.com/office/drawing/2014/main" id="{2F87BC98-5305-41DB-A89B-863B8EBE2A5E}"/>
                </a:ext>
              </a:extLst>
            </p:cNvPr>
            <p:cNvSpPr>
              <a:spLocks noChangeShapeType="1"/>
            </p:cNvSpPr>
            <p:nvPr/>
          </p:nvSpPr>
          <p:spPr bwMode="auto">
            <a:xfrm>
              <a:off x="3294" y="299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211F26"/>
                </a:solidFill>
                <a:effectLst/>
                <a:uLnTx/>
                <a:uFillTx/>
              </a:endParaRPr>
            </a:p>
          </p:txBody>
        </p:sp>
        <p:sp>
          <p:nvSpPr>
            <p:cNvPr id="142" name="Line 98">
              <a:extLst>
                <a:ext uri="{FF2B5EF4-FFF2-40B4-BE49-F238E27FC236}">
                  <a16:creationId xmlns:a16="http://schemas.microsoft.com/office/drawing/2014/main" id="{BA9360C4-2109-4DE0-A705-711DFAAFE9C8}"/>
                </a:ext>
              </a:extLst>
            </p:cNvPr>
            <p:cNvSpPr>
              <a:spLocks noChangeShapeType="1"/>
            </p:cNvSpPr>
            <p:nvPr/>
          </p:nvSpPr>
          <p:spPr bwMode="auto">
            <a:xfrm>
              <a:off x="3294" y="299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211F26"/>
                </a:solidFill>
                <a:effectLst/>
                <a:uLnTx/>
                <a:uFillTx/>
              </a:endParaRPr>
            </a:p>
          </p:txBody>
        </p:sp>
        <p:sp>
          <p:nvSpPr>
            <p:cNvPr id="144" name="Rectangle 100">
              <a:extLst>
                <a:ext uri="{FF2B5EF4-FFF2-40B4-BE49-F238E27FC236}">
                  <a16:creationId xmlns:a16="http://schemas.microsoft.com/office/drawing/2014/main" id="{6F1A7DF2-5D61-467D-B7D8-71AED6DE7611}"/>
                </a:ext>
              </a:extLst>
            </p:cNvPr>
            <p:cNvSpPr>
              <a:spLocks noChangeArrowheads="1"/>
            </p:cNvSpPr>
            <p:nvPr/>
          </p:nvSpPr>
          <p:spPr bwMode="auto">
            <a:xfrm>
              <a:off x="2229" y="2996"/>
              <a:ext cx="3222" cy="57"/>
            </a:xfrm>
            <a:prstGeom prst="rect">
              <a:avLst/>
            </a:prstGeom>
            <a:solidFill>
              <a:sysClr val="window" lastClr="FFFFFF">
                <a:lumMod val="8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211F26"/>
                </a:solidFill>
                <a:effectLst/>
                <a:uLnTx/>
                <a:uFillTx/>
              </a:endParaRPr>
            </a:p>
          </p:txBody>
        </p:sp>
        <p:sp>
          <p:nvSpPr>
            <p:cNvPr id="145" name="Freeform 101">
              <a:extLst>
                <a:ext uri="{FF2B5EF4-FFF2-40B4-BE49-F238E27FC236}">
                  <a16:creationId xmlns:a16="http://schemas.microsoft.com/office/drawing/2014/main" id="{F0FCF3C0-D83A-4E41-8673-B8CD8F8B1572}"/>
                </a:ext>
              </a:extLst>
            </p:cNvPr>
            <p:cNvSpPr>
              <a:spLocks/>
            </p:cNvSpPr>
            <p:nvPr/>
          </p:nvSpPr>
          <p:spPr bwMode="auto">
            <a:xfrm>
              <a:off x="3616" y="2996"/>
              <a:ext cx="450" cy="30"/>
            </a:xfrm>
            <a:custGeom>
              <a:avLst/>
              <a:gdLst>
                <a:gd name="T0" fmla="*/ 190 w 190"/>
                <a:gd name="T1" fmla="*/ 0 h 13"/>
                <a:gd name="T2" fmla="*/ 180 w 190"/>
                <a:gd name="T3" fmla="*/ 0 h 13"/>
                <a:gd name="T4" fmla="*/ 145 w 190"/>
                <a:gd name="T5" fmla="*/ 0 h 13"/>
                <a:gd name="T6" fmla="*/ 45 w 190"/>
                <a:gd name="T7" fmla="*/ 0 h 13"/>
                <a:gd name="T8" fmla="*/ 9 w 190"/>
                <a:gd name="T9" fmla="*/ 0 h 13"/>
                <a:gd name="T10" fmla="*/ 0 w 190"/>
                <a:gd name="T11" fmla="*/ 0 h 13"/>
                <a:gd name="T12" fmla="*/ 0 w 190"/>
                <a:gd name="T13" fmla="*/ 0 h 13"/>
                <a:gd name="T14" fmla="*/ 0 w 190"/>
                <a:gd name="T15" fmla="*/ 0 h 13"/>
                <a:gd name="T16" fmla="*/ 12 w 190"/>
                <a:gd name="T17" fmla="*/ 13 h 13"/>
                <a:gd name="T18" fmla="*/ 95 w 190"/>
                <a:gd name="T19" fmla="*/ 13 h 13"/>
                <a:gd name="T20" fmla="*/ 177 w 190"/>
                <a:gd name="T21" fmla="*/ 13 h 13"/>
                <a:gd name="T22" fmla="*/ 190 w 190"/>
                <a:gd name="T23" fmla="*/ 0 h 13"/>
                <a:gd name="T24" fmla="*/ 190 w 190"/>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13">
                  <a:moveTo>
                    <a:pt x="190" y="0"/>
                  </a:moveTo>
                  <a:cubicBezTo>
                    <a:pt x="180" y="0"/>
                    <a:pt x="180" y="0"/>
                    <a:pt x="180" y="0"/>
                  </a:cubicBezTo>
                  <a:cubicBezTo>
                    <a:pt x="145" y="0"/>
                    <a:pt x="145" y="0"/>
                    <a:pt x="145" y="0"/>
                  </a:cubicBezTo>
                  <a:cubicBezTo>
                    <a:pt x="45" y="0"/>
                    <a:pt x="45" y="0"/>
                    <a:pt x="45" y="0"/>
                  </a:cubicBezTo>
                  <a:cubicBezTo>
                    <a:pt x="9" y="0"/>
                    <a:pt x="9" y="0"/>
                    <a:pt x="9" y="0"/>
                  </a:cubicBezTo>
                  <a:cubicBezTo>
                    <a:pt x="0" y="0"/>
                    <a:pt x="0" y="0"/>
                    <a:pt x="0" y="0"/>
                  </a:cubicBezTo>
                  <a:cubicBezTo>
                    <a:pt x="0" y="0"/>
                    <a:pt x="0" y="0"/>
                    <a:pt x="0" y="0"/>
                  </a:cubicBezTo>
                  <a:cubicBezTo>
                    <a:pt x="0" y="0"/>
                    <a:pt x="0" y="0"/>
                    <a:pt x="0" y="0"/>
                  </a:cubicBezTo>
                  <a:cubicBezTo>
                    <a:pt x="0" y="7"/>
                    <a:pt x="5" y="13"/>
                    <a:pt x="12" y="13"/>
                  </a:cubicBezTo>
                  <a:cubicBezTo>
                    <a:pt x="95" y="13"/>
                    <a:pt x="95" y="13"/>
                    <a:pt x="95" y="13"/>
                  </a:cubicBezTo>
                  <a:cubicBezTo>
                    <a:pt x="177" y="13"/>
                    <a:pt x="177" y="13"/>
                    <a:pt x="177" y="13"/>
                  </a:cubicBezTo>
                  <a:cubicBezTo>
                    <a:pt x="184" y="13"/>
                    <a:pt x="190" y="7"/>
                    <a:pt x="190" y="0"/>
                  </a:cubicBezTo>
                  <a:cubicBezTo>
                    <a:pt x="190" y="0"/>
                    <a:pt x="190" y="0"/>
                    <a:pt x="190" y="0"/>
                  </a:cubicBezTo>
                  <a:close/>
                </a:path>
              </a:pathLst>
            </a:custGeom>
            <a:solidFill>
              <a:srgbClr val="A0A4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211F26"/>
                </a:solidFill>
                <a:effectLst/>
                <a:uLnTx/>
                <a:uFillTx/>
              </a:endParaRPr>
            </a:p>
          </p:txBody>
        </p:sp>
        <p:sp>
          <p:nvSpPr>
            <p:cNvPr id="147" name="Freeform 103">
              <a:extLst>
                <a:ext uri="{FF2B5EF4-FFF2-40B4-BE49-F238E27FC236}">
                  <a16:creationId xmlns:a16="http://schemas.microsoft.com/office/drawing/2014/main" id="{24E8BB11-B2BA-4011-8F83-0C8FB62E78EF}"/>
                </a:ext>
              </a:extLst>
            </p:cNvPr>
            <p:cNvSpPr>
              <a:spLocks/>
            </p:cNvSpPr>
            <p:nvPr/>
          </p:nvSpPr>
          <p:spPr bwMode="auto">
            <a:xfrm>
              <a:off x="2229" y="3053"/>
              <a:ext cx="3222" cy="35"/>
            </a:xfrm>
            <a:custGeom>
              <a:avLst/>
              <a:gdLst>
                <a:gd name="T0" fmla="*/ 1235 w 1361"/>
                <a:gd name="T1" fmla="*/ 0 h 15"/>
                <a:gd name="T2" fmla="*/ 945 w 1361"/>
                <a:gd name="T3" fmla="*/ 0 h 15"/>
                <a:gd name="T4" fmla="*/ 419 w 1361"/>
                <a:gd name="T5" fmla="*/ 0 h 15"/>
                <a:gd name="T6" fmla="*/ 129 w 1361"/>
                <a:gd name="T7" fmla="*/ 0 h 15"/>
                <a:gd name="T8" fmla="*/ 129 w 1361"/>
                <a:gd name="T9" fmla="*/ 0 h 15"/>
                <a:gd name="T10" fmla="*/ 0 w 1361"/>
                <a:gd name="T11" fmla="*/ 0 h 15"/>
                <a:gd name="T12" fmla="*/ 63 w 1361"/>
                <a:gd name="T13" fmla="*/ 15 h 15"/>
                <a:gd name="T14" fmla="*/ 66 w 1361"/>
                <a:gd name="T15" fmla="*/ 15 h 15"/>
                <a:gd name="T16" fmla="*/ 66 w 1361"/>
                <a:gd name="T17" fmla="*/ 15 h 15"/>
                <a:gd name="T18" fmla="*/ 419 w 1361"/>
                <a:gd name="T19" fmla="*/ 15 h 15"/>
                <a:gd name="T20" fmla="*/ 945 w 1361"/>
                <a:gd name="T21" fmla="*/ 15 h 15"/>
                <a:gd name="T22" fmla="*/ 1296 w 1361"/>
                <a:gd name="T23" fmla="*/ 15 h 15"/>
                <a:gd name="T24" fmla="*/ 1296 w 1361"/>
                <a:gd name="T25" fmla="*/ 15 h 15"/>
                <a:gd name="T26" fmla="*/ 1298 w 1361"/>
                <a:gd name="T27" fmla="*/ 15 h 15"/>
                <a:gd name="T28" fmla="*/ 1361 w 1361"/>
                <a:gd name="T29" fmla="*/ 0 h 15"/>
                <a:gd name="T30" fmla="*/ 1235 w 1361"/>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1" h="15">
                  <a:moveTo>
                    <a:pt x="1235" y="0"/>
                  </a:moveTo>
                  <a:cubicBezTo>
                    <a:pt x="1235" y="0"/>
                    <a:pt x="945" y="0"/>
                    <a:pt x="945" y="0"/>
                  </a:cubicBezTo>
                  <a:cubicBezTo>
                    <a:pt x="419" y="0"/>
                    <a:pt x="419" y="0"/>
                    <a:pt x="419" y="0"/>
                  </a:cubicBezTo>
                  <a:cubicBezTo>
                    <a:pt x="129" y="0"/>
                    <a:pt x="129" y="0"/>
                    <a:pt x="129" y="0"/>
                  </a:cubicBezTo>
                  <a:cubicBezTo>
                    <a:pt x="129" y="0"/>
                    <a:pt x="129" y="0"/>
                    <a:pt x="129" y="0"/>
                  </a:cubicBezTo>
                  <a:cubicBezTo>
                    <a:pt x="70" y="0"/>
                    <a:pt x="0" y="0"/>
                    <a:pt x="0" y="0"/>
                  </a:cubicBezTo>
                  <a:cubicBezTo>
                    <a:pt x="12" y="10"/>
                    <a:pt x="29" y="15"/>
                    <a:pt x="63" y="15"/>
                  </a:cubicBezTo>
                  <a:cubicBezTo>
                    <a:pt x="64" y="15"/>
                    <a:pt x="65" y="15"/>
                    <a:pt x="66" y="15"/>
                  </a:cubicBezTo>
                  <a:cubicBezTo>
                    <a:pt x="66" y="15"/>
                    <a:pt x="66" y="15"/>
                    <a:pt x="66" y="15"/>
                  </a:cubicBezTo>
                  <a:cubicBezTo>
                    <a:pt x="419" y="15"/>
                    <a:pt x="419" y="15"/>
                    <a:pt x="419" y="15"/>
                  </a:cubicBezTo>
                  <a:cubicBezTo>
                    <a:pt x="945" y="15"/>
                    <a:pt x="945" y="15"/>
                    <a:pt x="945" y="15"/>
                  </a:cubicBezTo>
                  <a:cubicBezTo>
                    <a:pt x="1296" y="15"/>
                    <a:pt x="1296" y="15"/>
                    <a:pt x="1296" y="15"/>
                  </a:cubicBezTo>
                  <a:cubicBezTo>
                    <a:pt x="1296" y="15"/>
                    <a:pt x="1296" y="15"/>
                    <a:pt x="1296" y="15"/>
                  </a:cubicBezTo>
                  <a:cubicBezTo>
                    <a:pt x="1297" y="15"/>
                    <a:pt x="1298" y="15"/>
                    <a:pt x="1298" y="15"/>
                  </a:cubicBezTo>
                  <a:cubicBezTo>
                    <a:pt x="1333" y="15"/>
                    <a:pt x="1349" y="10"/>
                    <a:pt x="1361" y="0"/>
                  </a:cubicBezTo>
                  <a:lnTo>
                    <a:pt x="1235" y="0"/>
                  </a:lnTo>
                  <a:close/>
                </a:path>
              </a:pathLst>
            </a:custGeom>
            <a:solidFill>
              <a:srgbClr val="ADB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211F26"/>
                </a:solidFill>
                <a:effectLst/>
                <a:uLnTx/>
                <a:uFillTx/>
              </a:endParaRPr>
            </a:p>
          </p:txBody>
        </p:sp>
        <p:sp>
          <p:nvSpPr>
            <p:cNvPr id="148" name="Oval 104">
              <a:extLst>
                <a:ext uri="{FF2B5EF4-FFF2-40B4-BE49-F238E27FC236}">
                  <a16:creationId xmlns:a16="http://schemas.microsoft.com/office/drawing/2014/main" id="{E53E7E80-F59C-4110-BC99-2FCABC13A408}"/>
                </a:ext>
              </a:extLst>
            </p:cNvPr>
            <p:cNvSpPr>
              <a:spLocks noChangeArrowheads="1"/>
            </p:cNvSpPr>
            <p:nvPr/>
          </p:nvSpPr>
          <p:spPr bwMode="auto">
            <a:xfrm>
              <a:off x="3834" y="1291"/>
              <a:ext cx="12" cy="12"/>
            </a:xfrm>
            <a:prstGeom prst="ellipse">
              <a:avLst/>
            </a:prstGeom>
            <a:solidFill>
              <a:srgbClr val="ADB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211F26"/>
                </a:solidFill>
                <a:effectLst/>
                <a:uLnTx/>
                <a:uFillTx/>
              </a:endParaRPr>
            </a:p>
          </p:txBody>
        </p:sp>
      </p:grpSp>
      <p:sp>
        <p:nvSpPr>
          <p:cNvPr id="167" name="Freeform 135">
            <a:extLst>
              <a:ext uri="{FF2B5EF4-FFF2-40B4-BE49-F238E27FC236}">
                <a16:creationId xmlns:a16="http://schemas.microsoft.com/office/drawing/2014/main" id="{F5340BC6-9D22-455F-B179-E755B6463315}"/>
              </a:ext>
            </a:extLst>
          </p:cNvPr>
          <p:cNvSpPr>
            <a:spLocks noEditPoints="1"/>
          </p:cNvSpPr>
          <p:nvPr userDrawn="1"/>
        </p:nvSpPr>
        <p:spPr bwMode="auto">
          <a:xfrm>
            <a:off x="5651939" y="6323081"/>
            <a:ext cx="182117" cy="231788"/>
          </a:xfrm>
          <a:custGeom>
            <a:avLst/>
            <a:gdLst>
              <a:gd name="T0" fmla="*/ 1367 w 2322"/>
              <a:gd name="T1" fmla="*/ 281 h 2950"/>
              <a:gd name="T2" fmla="*/ 164 w 2322"/>
              <a:gd name="T3" fmla="*/ 1490 h 2950"/>
              <a:gd name="T4" fmla="*/ 1343 w 2322"/>
              <a:gd name="T5" fmla="*/ 2669 h 2950"/>
              <a:gd name="T6" fmla="*/ 1343 w 2322"/>
              <a:gd name="T7" fmla="*/ 2098 h 2950"/>
              <a:gd name="T8" fmla="*/ 2205 w 2322"/>
              <a:gd name="T9" fmla="*/ 2098 h 2950"/>
              <a:gd name="T10" fmla="*/ 2205 w 2322"/>
              <a:gd name="T11" fmla="*/ 954 h 2950"/>
              <a:gd name="T12" fmla="*/ 1367 w 2322"/>
              <a:gd name="T13" fmla="*/ 954 h 2950"/>
              <a:gd name="T14" fmla="*/ 1367 w 2322"/>
              <a:gd name="T15" fmla="*/ 281 h 2950"/>
              <a:gd name="T16" fmla="*/ 1484 w 2322"/>
              <a:gd name="T17" fmla="*/ 0 h 2950"/>
              <a:gd name="T18" fmla="*/ 1484 w 2322"/>
              <a:gd name="T19" fmla="*/ 837 h 2950"/>
              <a:gd name="T20" fmla="*/ 2322 w 2322"/>
              <a:gd name="T21" fmla="*/ 837 h 2950"/>
              <a:gd name="T22" fmla="*/ 2322 w 2322"/>
              <a:gd name="T23" fmla="*/ 2214 h 2950"/>
              <a:gd name="T24" fmla="*/ 1460 w 2322"/>
              <a:gd name="T25" fmla="*/ 2214 h 2950"/>
              <a:gd name="T26" fmla="*/ 1460 w 2322"/>
              <a:gd name="T27" fmla="*/ 2950 h 2950"/>
              <a:gd name="T28" fmla="*/ 0 w 2322"/>
              <a:gd name="T29" fmla="*/ 1490 h 2950"/>
              <a:gd name="T30" fmla="*/ 1484 w 2322"/>
              <a:gd name="T31" fmla="*/ 0 h 2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2" h="2950">
                <a:moveTo>
                  <a:pt x="1367" y="281"/>
                </a:moveTo>
                <a:lnTo>
                  <a:pt x="164" y="1490"/>
                </a:lnTo>
                <a:lnTo>
                  <a:pt x="1343" y="2669"/>
                </a:lnTo>
                <a:lnTo>
                  <a:pt x="1343" y="2098"/>
                </a:lnTo>
                <a:lnTo>
                  <a:pt x="2205" y="2098"/>
                </a:lnTo>
                <a:lnTo>
                  <a:pt x="2205" y="954"/>
                </a:lnTo>
                <a:lnTo>
                  <a:pt x="1367" y="954"/>
                </a:lnTo>
                <a:lnTo>
                  <a:pt x="1367" y="281"/>
                </a:lnTo>
                <a:close/>
                <a:moveTo>
                  <a:pt x="1484" y="0"/>
                </a:moveTo>
                <a:lnTo>
                  <a:pt x="1484" y="837"/>
                </a:lnTo>
                <a:lnTo>
                  <a:pt x="2322" y="837"/>
                </a:lnTo>
                <a:lnTo>
                  <a:pt x="2322" y="2214"/>
                </a:lnTo>
                <a:lnTo>
                  <a:pt x="1460" y="2214"/>
                </a:lnTo>
                <a:lnTo>
                  <a:pt x="1460" y="2950"/>
                </a:lnTo>
                <a:lnTo>
                  <a:pt x="0" y="1490"/>
                </a:lnTo>
                <a:lnTo>
                  <a:pt x="1484" y="0"/>
                </a:lnTo>
                <a:close/>
              </a:path>
            </a:pathLst>
          </a:custGeom>
          <a:solidFill>
            <a:schemeClr val="accent1"/>
          </a:solidFill>
          <a:ln w="9525">
            <a:solidFill>
              <a:schemeClr val="bg1"/>
            </a:solidFill>
            <a:prstDash val="solid"/>
            <a:round/>
            <a:headEnd/>
            <a:tailEnd/>
          </a:ln>
        </p:spPr>
        <p:txBody>
          <a:bodyPr vert="horz" wrap="square" lIns="91416" tIns="45708" rIns="91416" bIns="45708" numCol="1" anchor="t" anchorCtr="0" compatLnSpc="1">
            <a:prstTxWarp prst="textNoShape">
              <a:avLst/>
            </a:prstTxWarp>
          </a:bodyPr>
          <a:lstStyle/>
          <a:p>
            <a:endParaRPr lang="nl-NL" sz="1799"/>
          </a:p>
        </p:txBody>
      </p:sp>
      <p:sp>
        <p:nvSpPr>
          <p:cNvPr id="168" name="Freeform 135">
            <a:extLst>
              <a:ext uri="{FF2B5EF4-FFF2-40B4-BE49-F238E27FC236}">
                <a16:creationId xmlns:a16="http://schemas.microsoft.com/office/drawing/2014/main" id="{BC09297F-C6ED-4D97-8637-F1A9AAA9608C}"/>
              </a:ext>
            </a:extLst>
          </p:cNvPr>
          <p:cNvSpPr>
            <a:spLocks noEditPoints="1"/>
          </p:cNvSpPr>
          <p:nvPr userDrawn="1"/>
        </p:nvSpPr>
        <p:spPr bwMode="auto">
          <a:xfrm rot="10800000">
            <a:off x="6378127" y="6318636"/>
            <a:ext cx="182117" cy="231788"/>
          </a:xfrm>
          <a:custGeom>
            <a:avLst/>
            <a:gdLst>
              <a:gd name="T0" fmla="*/ 1367 w 2322"/>
              <a:gd name="T1" fmla="*/ 281 h 2950"/>
              <a:gd name="T2" fmla="*/ 164 w 2322"/>
              <a:gd name="T3" fmla="*/ 1490 h 2950"/>
              <a:gd name="T4" fmla="*/ 1343 w 2322"/>
              <a:gd name="T5" fmla="*/ 2669 h 2950"/>
              <a:gd name="T6" fmla="*/ 1343 w 2322"/>
              <a:gd name="T7" fmla="*/ 2098 h 2950"/>
              <a:gd name="T8" fmla="*/ 2205 w 2322"/>
              <a:gd name="T9" fmla="*/ 2098 h 2950"/>
              <a:gd name="T10" fmla="*/ 2205 w 2322"/>
              <a:gd name="T11" fmla="*/ 954 h 2950"/>
              <a:gd name="T12" fmla="*/ 1367 w 2322"/>
              <a:gd name="T13" fmla="*/ 954 h 2950"/>
              <a:gd name="T14" fmla="*/ 1367 w 2322"/>
              <a:gd name="T15" fmla="*/ 281 h 2950"/>
              <a:gd name="T16" fmla="*/ 1484 w 2322"/>
              <a:gd name="T17" fmla="*/ 0 h 2950"/>
              <a:gd name="T18" fmla="*/ 1484 w 2322"/>
              <a:gd name="T19" fmla="*/ 837 h 2950"/>
              <a:gd name="T20" fmla="*/ 2322 w 2322"/>
              <a:gd name="T21" fmla="*/ 837 h 2950"/>
              <a:gd name="T22" fmla="*/ 2322 w 2322"/>
              <a:gd name="T23" fmla="*/ 2214 h 2950"/>
              <a:gd name="T24" fmla="*/ 1460 w 2322"/>
              <a:gd name="T25" fmla="*/ 2214 h 2950"/>
              <a:gd name="T26" fmla="*/ 1460 w 2322"/>
              <a:gd name="T27" fmla="*/ 2950 h 2950"/>
              <a:gd name="T28" fmla="*/ 0 w 2322"/>
              <a:gd name="T29" fmla="*/ 1490 h 2950"/>
              <a:gd name="T30" fmla="*/ 1484 w 2322"/>
              <a:gd name="T31" fmla="*/ 0 h 2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2" h="2950">
                <a:moveTo>
                  <a:pt x="1367" y="281"/>
                </a:moveTo>
                <a:lnTo>
                  <a:pt x="164" y="1490"/>
                </a:lnTo>
                <a:lnTo>
                  <a:pt x="1343" y="2669"/>
                </a:lnTo>
                <a:lnTo>
                  <a:pt x="1343" y="2098"/>
                </a:lnTo>
                <a:lnTo>
                  <a:pt x="2205" y="2098"/>
                </a:lnTo>
                <a:lnTo>
                  <a:pt x="2205" y="954"/>
                </a:lnTo>
                <a:lnTo>
                  <a:pt x="1367" y="954"/>
                </a:lnTo>
                <a:lnTo>
                  <a:pt x="1367" y="281"/>
                </a:lnTo>
                <a:close/>
                <a:moveTo>
                  <a:pt x="1484" y="0"/>
                </a:moveTo>
                <a:lnTo>
                  <a:pt x="1484" y="837"/>
                </a:lnTo>
                <a:lnTo>
                  <a:pt x="2322" y="837"/>
                </a:lnTo>
                <a:lnTo>
                  <a:pt x="2322" y="2214"/>
                </a:lnTo>
                <a:lnTo>
                  <a:pt x="1460" y="2214"/>
                </a:lnTo>
                <a:lnTo>
                  <a:pt x="1460" y="2950"/>
                </a:lnTo>
                <a:lnTo>
                  <a:pt x="0" y="1490"/>
                </a:lnTo>
                <a:lnTo>
                  <a:pt x="1484" y="0"/>
                </a:lnTo>
                <a:close/>
              </a:path>
            </a:pathLst>
          </a:custGeom>
          <a:solidFill>
            <a:schemeClr val="bg1"/>
          </a:solidFill>
          <a:ln w="9525">
            <a:solidFill>
              <a:schemeClr val="bg1"/>
            </a:solidFill>
            <a:prstDash val="solid"/>
            <a:round/>
            <a:headEnd/>
            <a:tailEnd/>
          </a:ln>
        </p:spPr>
        <p:txBody>
          <a:bodyPr vert="horz" wrap="square" lIns="91416" tIns="45708" rIns="91416" bIns="45708" numCol="1" anchor="t" anchorCtr="0" compatLnSpc="1">
            <a:prstTxWarp prst="textNoShape">
              <a:avLst/>
            </a:prstTxWarp>
          </a:bodyPr>
          <a:lstStyle/>
          <a:p>
            <a:endParaRPr lang="nl-NL" sz="1799"/>
          </a:p>
        </p:txBody>
      </p:sp>
      <p:sp>
        <p:nvSpPr>
          <p:cNvPr id="169" name="Freeform 113">
            <a:extLst>
              <a:ext uri="{FF2B5EF4-FFF2-40B4-BE49-F238E27FC236}">
                <a16:creationId xmlns:a16="http://schemas.microsoft.com/office/drawing/2014/main" id="{43F779A3-F62C-4DAD-AC96-FFCAC0CD97BB}"/>
              </a:ext>
            </a:extLst>
          </p:cNvPr>
          <p:cNvSpPr>
            <a:spLocks noEditPoints="1"/>
          </p:cNvSpPr>
          <p:nvPr userDrawn="1"/>
        </p:nvSpPr>
        <p:spPr bwMode="auto">
          <a:xfrm>
            <a:off x="5973455" y="6319167"/>
            <a:ext cx="269077" cy="229761"/>
          </a:xfrm>
          <a:custGeom>
            <a:avLst/>
            <a:gdLst>
              <a:gd name="T0" fmla="*/ 1475 w 2950"/>
              <a:gd name="T1" fmla="*/ 300 h 2520"/>
              <a:gd name="T2" fmla="*/ 525 w 2950"/>
              <a:gd name="T3" fmla="*/ 1250 h 2520"/>
              <a:gd name="T4" fmla="*/ 721 w 2950"/>
              <a:gd name="T5" fmla="*/ 1250 h 2520"/>
              <a:gd name="T6" fmla="*/ 721 w 2950"/>
              <a:gd name="T7" fmla="*/ 2291 h 2520"/>
              <a:gd name="T8" fmla="*/ 1244 w 2950"/>
              <a:gd name="T9" fmla="*/ 2291 h 2520"/>
              <a:gd name="T10" fmla="*/ 1244 w 2950"/>
              <a:gd name="T11" fmla="*/ 1710 h 2520"/>
              <a:gd name="T12" fmla="*/ 1706 w 2950"/>
              <a:gd name="T13" fmla="*/ 1710 h 2520"/>
              <a:gd name="T14" fmla="*/ 1706 w 2950"/>
              <a:gd name="T15" fmla="*/ 2291 h 2520"/>
              <a:gd name="T16" fmla="*/ 2229 w 2950"/>
              <a:gd name="T17" fmla="*/ 2291 h 2520"/>
              <a:gd name="T18" fmla="*/ 2229 w 2950"/>
              <a:gd name="T19" fmla="*/ 1250 h 2520"/>
              <a:gd name="T20" fmla="*/ 2425 w 2950"/>
              <a:gd name="T21" fmla="*/ 1250 h 2520"/>
              <a:gd name="T22" fmla="*/ 1475 w 2950"/>
              <a:gd name="T23" fmla="*/ 300 h 2520"/>
              <a:gd name="T24" fmla="*/ 1475 w 2950"/>
              <a:gd name="T25" fmla="*/ 0 h 2520"/>
              <a:gd name="T26" fmla="*/ 1490 w 2950"/>
              <a:gd name="T27" fmla="*/ 1 h 2520"/>
              <a:gd name="T28" fmla="*/ 1504 w 2950"/>
              <a:gd name="T29" fmla="*/ 8 h 2520"/>
              <a:gd name="T30" fmla="*/ 1516 w 2950"/>
              <a:gd name="T31" fmla="*/ 18 h 2520"/>
              <a:gd name="T32" fmla="*/ 2938 w 2950"/>
              <a:gd name="T33" fmla="*/ 1438 h 2520"/>
              <a:gd name="T34" fmla="*/ 2946 w 2950"/>
              <a:gd name="T35" fmla="*/ 1449 h 2520"/>
              <a:gd name="T36" fmla="*/ 2950 w 2950"/>
              <a:gd name="T37" fmla="*/ 1459 h 2520"/>
              <a:gd name="T38" fmla="*/ 2949 w 2950"/>
              <a:gd name="T39" fmla="*/ 1466 h 2520"/>
              <a:gd name="T40" fmla="*/ 2944 w 2950"/>
              <a:gd name="T41" fmla="*/ 1474 h 2520"/>
              <a:gd name="T42" fmla="*/ 2934 w 2950"/>
              <a:gd name="T43" fmla="*/ 1478 h 2520"/>
              <a:gd name="T44" fmla="*/ 2920 w 2950"/>
              <a:gd name="T45" fmla="*/ 1479 h 2520"/>
              <a:gd name="T46" fmla="*/ 2457 w 2950"/>
              <a:gd name="T47" fmla="*/ 1479 h 2520"/>
              <a:gd name="T48" fmla="*/ 2457 w 2950"/>
              <a:gd name="T49" fmla="*/ 2520 h 2520"/>
              <a:gd name="T50" fmla="*/ 493 w 2950"/>
              <a:gd name="T51" fmla="*/ 2520 h 2520"/>
              <a:gd name="T52" fmla="*/ 493 w 2950"/>
              <a:gd name="T53" fmla="*/ 1479 h 2520"/>
              <a:gd name="T54" fmla="*/ 30 w 2950"/>
              <a:gd name="T55" fmla="*/ 1479 h 2520"/>
              <a:gd name="T56" fmla="*/ 16 w 2950"/>
              <a:gd name="T57" fmla="*/ 1478 h 2520"/>
              <a:gd name="T58" fmla="*/ 6 w 2950"/>
              <a:gd name="T59" fmla="*/ 1474 h 2520"/>
              <a:gd name="T60" fmla="*/ 1 w 2950"/>
              <a:gd name="T61" fmla="*/ 1466 h 2520"/>
              <a:gd name="T62" fmla="*/ 0 w 2950"/>
              <a:gd name="T63" fmla="*/ 1459 h 2520"/>
              <a:gd name="T64" fmla="*/ 4 w 2950"/>
              <a:gd name="T65" fmla="*/ 1449 h 2520"/>
              <a:gd name="T66" fmla="*/ 12 w 2950"/>
              <a:gd name="T67" fmla="*/ 1438 h 2520"/>
              <a:gd name="T68" fmla="*/ 665 w 2950"/>
              <a:gd name="T69" fmla="*/ 785 h 2520"/>
              <a:gd name="T70" fmla="*/ 665 w 2950"/>
              <a:gd name="T71" fmla="*/ 208 h 2520"/>
              <a:gd name="T72" fmla="*/ 897 w 2950"/>
              <a:gd name="T73" fmla="*/ 208 h 2520"/>
              <a:gd name="T74" fmla="*/ 897 w 2950"/>
              <a:gd name="T75" fmla="*/ 554 h 2520"/>
              <a:gd name="T76" fmla="*/ 1434 w 2950"/>
              <a:gd name="T77" fmla="*/ 18 h 2520"/>
              <a:gd name="T78" fmla="*/ 1446 w 2950"/>
              <a:gd name="T79" fmla="*/ 8 h 2520"/>
              <a:gd name="T80" fmla="*/ 1460 w 2950"/>
              <a:gd name="T81" fmla="*/ 1 h 2520"/>
              <a:gd name="T82" fmla="*/ 1475 w 2950"/>
              <a:gd name="T83" fmla="*/ 0 h 2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50" h="2520">
                <a:moveTo>
                  <a:pt x="1475" y="300"/>
                </a:moveTo>
                <a:lnTo>
                  <a:pt x="525" y="1250"/>
                </a:lnTo>
                <a:lnTo>
                  <a:pt x="721" y="1250"/>
                </a:lnTo>
                <a:lnTo>
                  <a:pt x="721" y="2291"/>
                </a:lnTo>
                <a:lnTo>
                  <a:pt x="1244" y="2291"/>
                </a:lnTo>
                <a:lnTo>
                  <a:pt x="1244" y="1710"/>
                </a:lnTo>
                <a:lnTo>
                  <a:pt x="1706" y="1710"/>
                </a:lnTo>
                <a:lnTo>
                  <a:pt x="1706" y="2291"/>
                </a:lnTo>
                <a:lnTo>
                  <a:pt x="2229" y="2291"/>
                </a:lnTo>
                <a:lnTo>
                  <a:pt x="2229" y="1250"/>
                </a:lnTo>
                <a:lnTo>
                  <a:pt x="2425" y="1250"/>
                </a:lnTo>
                <a:lnTo>
                  <a:pt x="1475" y="300"/>
                </a:lnTo>
                <a:close/>
                <a:moveTo>
                  <a:pt x="1475" y="0"/>
                </a:moveTo>
                <a:lnTo>
                  <a:pt x="1490" y="1"/>
                </a:lnTo>
                <a:lnTo>
                  <a:pt x="1504" y="8"/>
                </a:lnTo>
                <a:lnTo>
                  <a:pt x="1516" y="18"/>
                </a:lnTo>
                <a:lnTo>
                  <a:pt x="2938" y="1438"/>
                </a:lnTo>
                <a:lnTo>
                  <a:pt x="2946" y="1449"/>
                </a:lnTo>
                <a:lnTo>
                  <a:pt x="2950" y="1459"/>
                </a:lnTo>
                <a:lnTo>
                  <a:pt x="2949" y="1466"/>
                </a:lnTo>
                <a:lnTo>
                  <a:pt x="2944" y="1474"/>
                </a:lnTo>
                <a:lnTo>
                  <a:pt x="2934" y="1478"/>
                </a:lnTo>
                <a:lnTo>
                  <a:pt x="2920" y="1479"/>
                </a:lnTo>
                <a:lnTo>
                  <a:pt x="2457" y="1479"/>
                </a:lnTo>
                <a:lnTo>
                  <a:pt x="2457" y="2520"/>
                </a:lnTo>
                <a:lnTo>
                  <a:pt x="493" y="2520"/>
                </a:lnTo>
                <a:lnTo>
                  <a:pt x="493" y="1479"/>
                </a:lnTo>
                <a:lnTo>
                  <a:pt x="30" y="1479"/>
                </a:lnTo>
                <a:lnTo>
                  <a:pt x="16" y="1478"/>
                </a:lnTo>
                <a:lnTo>
                  <a:pt x="6" y="1474"/>
                </a:lnTo>
                <a:lnTo>
                  <a:pt x="1" y="1466"/>
                </a:lnTo>
                <a:lnTo>
                  <a:pt x="0" y="1459"/>
                </a:lnTo>
                <a:lnTo>
                  <a:pt x="4" y="1449"/>
                </a:lnTo>
                <a:lnTo>
                  <a:pt x="12" y="1438"/>
                </a:lnTo>
                <a:lnTo>
                  <a:pt x="665" y="785"/>
                </a:lnTo>
                <a:lnTo>
                  <a:pt x="665" y="208"/>
                </a:lnTo>
                <a:lnTo>
                  <a:pt x="897" y="208"/>
                </a:lnTo>
                <a:lnTo>
                  <a:pt x="897" y="554"/>
                </a:lnTo>
                <a:lnTo>
                  <a:pt x="1434" y="18"/>
                </a:lnTo>
                <a:lnTo>
                  <a:pt x="1446" y="8"/>
                </a:lnTo>
                <a:lnTo>
                  <a:pt x="1460" y="1"/>
                </a:lnTo>
                <a:lnTo>
                  <a:pt x="1475" y="0"/>
                </a:lnTo>
                <a:close/>
              </a:path>
            </a:pathLst>
          </a:custGeom>
          <a:solidFill>
            <a:schemeClr val="bg1"/>
          </a:solidFill>
          <a:ln w="9525">
            <a:noFill/>
            <a:prstDash val="solid"/>
            <a:round/>
            <a:headEnd/>
            <a:tailEnd/>
          </a:ln>
        </p:spPr>
        <p:txBody>
          <a:bodyPr vert="horz" wrap="square" lIns="91416" tIns="45708" rIns="91416" bIns="45708" numCol="1" anchor="t" anchorCtr="0" compatLnSpc="1">
            <a:prstTxWarp prst="textNoShape">
              <a:avLst/>
            </a:prstTxWarp>
          </a:bodyPr>
          <a:lstStyle/>
          <a:p>
            <a:endParaRPr lang="nl-NL" sz="1799"/>
          </a:p>
        </p:txBody>
      </p:sp>
    </p:spTree>
    <p:extLst>
      <p:ext uri="{BB962C8B-B14F-4D97-AF65-F5344CB8AC3E}">
        <p14:creationId xmlns:p14="http://schemas.microsoft.com/office/powerpoint/2010/main" val="12257906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KST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5"/>
            <a:ext cx="11112000" cy="301139"/>
          </a:xfrm>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528600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C8383B41-E9DF-4612-A185-0661491EC38D}"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Vul hier een bron in (of laat dit </a:t>
            </a:r>
            <a:r>
              <a:rPr lang="nl-NL" noProof="0" err="1"/>
              <a:t>tekstvak</a:t>
            </a:r>
            <a:r>
              <a:rPr lang="nl-NL" noProof="0"/>
              <a:t> leeg wanneer een bron ontbreekt)</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2X</a:t>
            </a:r>
          </a:p>
        </p:txBody>
      </p:sp>
      <p:sp>
        <p:nvSpPr>
          <p:cNvPr id="44" name="Tijdelijke aanduiding voor tekst 43">
            <a:extLst>
              <a:ext uri="{FF2B5EF4-FFF2-40B4-BE49-F238E27FC236}">
                <a16:creationId xmlns:a16="http://schemas.microsoft.com/office/drawing/2014/main" id="{C39606EC-1987-41D2-AE51-A1A79674F48D}"/>
              </a:ext>
            </a:extLst>
          </p:cNvPr>
          <p:cNvSpPr>
            <a:spLocks noGrp="1"/>
          </p:cNvSpPr>
          <p:nvPr>
            <p:ph type="body" sz="quarter" idx="15"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22" name="GRID" hidden="1">
            <a:extLst>
              <a:ext uri="{FF2B5EF4-FFF2-40B4-BE49-F238E27FC236}">
                <a16:creationId xmlns:a16="http://schemas.microsoft.com/office/drawing/2014/main" id="{33B8CDDA-3569-43D9-8953-9A57FF3750DF}"/>
              </a:ext>
            </a:extLst>
          </p:cNvPr>
          <p:cNvGrpSpPr/>
          <p:nvPr userDrawn="1"/>
        </p:nvGrpSpPr>
        <p:grpSpPr>
          <a:xfrm>
            <a:off x="0" y="0"/>
            <a:ext cx="12192000" cy="6858000"/>
            <a:chOff x="0" y="0"/>
            <a:chExt cx="12192000" cy="6858000"/>
          </a:xfrm>
          <a:solidFill>
            <a:schemeClr val="tx1">
              <a:alpha val="30000"/>
            </a:schemeClr>
          </a:solidFill>
        </p:grpSpPr>
        <p:sp>
          <p:nvSpPr>
            <p:cNvPr id="23" name="Rechthoek 22">
              <a:extLst>
                <a:ext uri="{FF2B5EF4-FFF2-40B4-BE49-F238E27FC236}">
                  <a16:creationId xmlns:a16="http://schemas.microsoft.com/office/drawing/2014/main" id="{A6538B19-C966-4937-AB93-B157026AFF8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4" name="Rechthoek 23">
              <a:extLst>
                <a:ext uri="{FF2B5EF4-FFF2-40B4-BE49-F238E27FC236}">
                  <a16:creationId xmlns:a16="http://schemas.microsoft.com/office/drawing/2014/main" id="{77024D41-999B-4242-8677-91ABF0A9E718}"/>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31DBE81E-F298-48AD-9D42-19989D672470}"/>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8DE20BBB-B456-42A9-8832-C7377C8570B3}"/>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7" name="Rechthoek 26">
              <a:extLst>
                <a:ext uri="{FF2B5EF4-FFF2-40B4-BE49-F238E27FC236}">
                  <a16:creationId xmlns:a16="http://schemas.microsoft.com/office/drawing/2014/main" id="{E56AFE03-13D0-4E70-965E-27236D5B2FE0}"/>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A441DBCA-2CF0-465C-9104-B3831E479CD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9" name="Rechthoek 28">
              <a:extLst>
                <a:ext uri="{FF2B5EF4-FFF2-40B4-BE49-F238E27FC236}">
                  <a16:creationId xmlns:a16="http://schemas.microsoft.com/office/drawing/2014/main" id="{C008D542-07D8-43D9-B841-E9558BFC34B1}"/>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0" name="Rechthoek 29">
              <a:extLst>
                <a:ext uri="{FF2B5EF4-FFF2-40B4-BE49-F238E27FC236}">
                  <a16:creationId xmlns:a16="http://schemas.microsoft.com/office/drawing/2014/main" id="{0C647EEC-C065-4B5F-8C18-6436515CDB91}"/>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1" name="Rechthoek 30">
              <a:extLst>
                <a:ext uri="{FF2B5EF4-FFF2-40B4-BE49-F238E27FC236}">
                  <a16:creationId xmlns:a16="http://schemas.microsoft.com/office/drawing/2014/main" id="{B3E90288-6716-4D55-8093-F74729D589E7}"/>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2" name="Rechthoek 31">
              <a:extLst>
                <a:ext uri="{FF2B5EF4-FFF2-40B4-BE49-F238E27FC236}">
                  <a16:creationId xmlns:a16="http://schemas.microsoft.com/office/drawing/2014/main" id="{9C4FE5F3-67DB-4F58-B12D-A654035D116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45" name="Rechthoek 44">
              <a:extLst>
                <a:ext uri="{FF2B5EF4-FFF2-40B4-BE49-F238E27FC236}">
                  <a16:creationId xmlns:a16="http://schemas.microsoft.com/office/drawing/2014/main" id="{3D223C7A-1192-46B2-A8CA-690AB0004B12}"/>
                </a:ext>
              </a:extLst>
            </p:cNvPr>
            <p:cNvSpPr/>
            <p:nvPr userDrawn="1"/>
          </p:nvSpPr>
          <p:spPr>
            <a:xfrm>
              <a:off x="5826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
        <p:nvSpPr>
          <p:cNvPr id="48" name="Tijdelijke aanduiding voor verticale tekst 2">
            <a:extLst>
              <a:ext uri="{FF2B5EF4-FFF2-40B4-BE49-F238E27FC236}">
                <a16:creationId xmlns:a16="http://schemas.microsoft.com/office/drawing/2014/main" id="{AA81A0BB-4577-42E5-AB0A-8F767EEAD740}"/>
              </a:ext>
            </a:extLst>
          </p:cNvPr>
          <p:cNvSpPr>
            <a:spLocks noGrp="1"/>
          </p:cNvSpPr>
          <p:nvPr>
            <p:ph type="body" orient="vert" idx="16" hasCustomPrompt="1"/>
          </p:nvPr>
        </p:nvSpPr>
        <p:spPr>
          <a:xfrm>
            <a:off x="6365999" y="1459112"/>
            <a:ext cx="528600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grpSp>
        <p:nvGrpSpPr>
          <p:cNvPr id="263" name="Instructie">
            <a:extLst>
              <a:ext uri="{FF2B5EF4-FFF2-40B4-BE49-F238E27FC236}">
                <a16:creationId xmlns:a16="http://schemas.microsoft.com/office/drawing/2014/main" id="{EF3BB778-9E76-4D74-BBFE-D4204D347A1E}"/>
              </a:ext>
            </a:extLst>
          </p:cNvPr>
          <p:cNvGrpSpPr/>
          <p:nvPr userDrawn="1"/>
        </p:nvGrpSpPr>
        <p:grpSpPr>
          <a:xfrm>
            <a:off x="-3437546" y="1436"/>
            <a:ext cx="3201327" cy="6041867"/>
            <a:chOff x="-3437547" y="1434"/>
            <a:chExt cx="3201327" cy="6041867"/>
          </a:xfrm>
        </p:grpSpPr>
        <p:cxnSp>
          <p:nvCxnSpPr>
            <p:cNvPr id="264" name="Rechte verbindingslijn 263">
              <a:extLst>
                <a:ext uri="{FF2B5EF4-FFF2-40B4-BE49-F238E27FC236}">
                  <a16:creationId xmlns:a16="http://schemas.microsoft.com/office/drawing/2014/main" id="{392B897D-5F2F-43B8-8E23-E5B73EEDC55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65" name="Ovaal 264">
              <a:extLst>
                <a:ext uri="{FF2B5EF4-FFF2-40B4-BE49-F238E27FC236}">
                  <a16:creationId xmlns:a16="http://schemas.microsoft.com/office/drawing/2014/main" id="{6F964235-6BF6-413A-A40F-F14B216997A0}"/>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66" name="Rechthoek 265">
              <a:extLst>
                <a:ext uri="{FF2B5EF4-FFF2-40B4-BE49-F238E27FC236}">
                  <a16:creationId xmlns:a16="http://schemas.microsoft.com/office/drawing/2014/main" id="{256F877A-BCE1-4137-B066-4C58B5FA4F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7" name="Ovaal 266">
              <a:extLst>
                <a:ext uri="{FF2B5EF4-FFF2-40B4-BE49-F238E27FC236}">
                  <a16:creationId xmlns:a16="http://schemas.microsoft.com/office/drawing/2014/main" id="{4A0DC972-00D8-4463-A335-765DB247BF89}"/>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68" name="Rechthoek 267">
              <a:extLst>
                <a:ext uri="{FF2B5EF4-FFF2-40B4-BE49-F238E27FC236}">
                  <a16:creationId xmlns:a16="http://schemas.microsoft.com/office/drawing/2014/main" id="{1C6646F3-2D5C-4CA8-A474-27344C6417B9}"/>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9" name="Ovaal 268">
              <a:extLst>
                <a:ext uri="{FF2B5EF4-FFF2-40B4-BE49-F238E27FC236}">
                  <a16:creationId xmlns:a16="http://schemas.microsoft.com/office/drawing/2014/main" id="{EB04172F-A4FD-4F2C-99F9-976CB129EFD1}"/>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70" name="Rechthoek 269">
              <a:extLst>
                <a:ext uri="{FF2B5EF4-FFF2-40B4-BE49-F238E27FC236}">
                  <a16:creationId xmlns:a16="http://schemas.microsoft.com/office/drawing/2014/main" id="{9731FC4C-9150-4ADC-B5A7-CF014FB8EC39}"/>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71" name="Ovaal 270">
              <a:extLst>
                <a:ext uri="{FF2B5EF4-FFF2-40B4-BE49-F238E27FC236}">
                  <a16:creationId xmlns:a16="http://schemas.microsoft.com/office/drawing/2014/main" id="{F6C474F7-AF0A-43C6-8C27-3785E9F01B1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72" name="Rechthoek 271">
              <a:extLst>
                <a:ext uri="{FF2B5EF4-FFF2-40B4-BE49-F238E27FC236}">
                  <a16:creationId xmlns:a16="http://schemas.microsoft.com/office/drawing/2014/main" id="{C3D60B33-2931-42FD-8166-B8E1C453FE32}"/>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273" name="Rechthoek 272">
              <a:extLst>
                <a:ext uri="{FF2B5EF4-FFF2-40B4-BE49-F238E27FC236}">
                  <a16:creationId xmlns:a16="http://schemas.microsoft.com/office/drawing/2014/main" id="{6FC200D5-4097-497F-B1F9-91EC66ABD6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74" name="Ovaal 273">
              <a:extLst>
                <a:ext uri="{FF2B5EF4-FFF2-40B4-BE49-F238E27FC236}">
                  <a16:creationId xmlns:a16="http://schemas.microsoft.com/office/drawing/2014/main" id="{A27AE375-3903-47DC-B136-BA70E5096E59}"/>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75" name="Rechte verbindingslijn 274">
              <a:extLst>
                <a:ext uri="{FF2B5EF4-FFF2-40B4-BE49-F238E27FC236}">
                  <a16:creationId xmlns:a16="http://schemas.microsoft.com/office/drawing/2014/main" id="{8E45F979-7172-4C5F-91B1-BBD6FA77F8B0}"/>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76" name="Groep 275">
              <a:extLst>
                <a:ext uri="{FF2B5EF4-FFF2-40B4-BE49-F238E27FC236}">
                  <a16:creationId xmlns:a16="http://schemas.microsoft.com/office/drawing/2014/main" id="{BD256BF7-9FE6-4995-AAA9-0F3757A44E27}"/>
                </a:ext>
              </a:extLst>
            </p:cNvPr>
            <p:cNvGrpSpPr/>
            <p:nvPr userDrawn="1"/>
          </p:nvGrpSpPr>
          <p:grpSpPr>
            <a:xfrm>
              <a:off x="-3437547" y="1295337"/>
              <a:ext cx="2933825" cy="558875"/>
              <a:chOff x="-3419346" y="368233"/>
              <a:chExt cx="3904920" cy="743862"/>
            </a:xfrm>
          </p:grpSpPr>
          <p:sp>
            <p:nvSpPr>
              <p:cNvPr id="293" name="Rechthoek 292">
                <a:extLst>
                  <a:ext uri="{FF2B5EF4-FFF2-40B4-BE49-F238E27FC236}">
                    <a16:creationId xmlns:a16="http://schemas.microsoft.com/office/drawing/2014/main" id="{4DDFA3F8-52D7-46E4-BB6E-4E69DDA368C6}"/>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94" name="Rechte verbindingslijn 293">
                <a:extLst>
                  <a:ext uri="{FF2B5EF4-FFF2-40B4-BE49-F238E27FC236}">
                    <a16:creationId xmlns:a16="http://schemas.microsoft.com/office/drawing/2014/main" id="{1EC53019-59A8-4F13-AB7F-9B51FAB120C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5" name="Rechte verbindingslijn 294">
                <a:extLst>
                  <a:ext uri="{FF2B5EF4-FFF2-40B4-BE49-F238E27FC236}">
                    <a16:creationId xmlns:a16="http://schemas.microsoft.com/office/drawing/2014/main" id="{EF866EC5-8C43-4641-8C07-121783C98E7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6" name="Rechthoek 295">
                <a:extLst>
                  <a:ext uri="{FF2B5EF4-FFF2-40B4-BE49-F238E27FC236}">
                    <a16:creationId xmlns:a16="http://schemas.microsoft.com/office/drawing/2014/main" id="{C81D7799-2C86-43C7-AF86-9D024562EA4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97" name="Groep 296">
                <a:extLst>
                  <a:ext uri="{FF2B5EF4-FFF2-40B4-BE49-F238E27FC236}">
                    <a16:creationId xmlns:a16="http://schemas.microsoft.com/office/drawing/2014/main" id="{BF041B03-8905-4E3B-9920-215572BFD70A}"/>
                  </a:ext>
                </a:extLst>
              </p:cNvPr>
              <p:cNvGrpSpPr/>
              <p:nvPr userDrawn="1"/>
            </p:nvGrpSpPr>
            <p:grpSpPr>
              <a:xfrm>
                <a:off x="-3002834" y="720303"/>
                <a:ext cx="182598" cy="143759"/>
                <a:chOff x="-3310843" y="700986"/>
                <a:chExt cx="182598" cy="143759"/>
              </a:xfrm>
            </p:grpSpPr>
            <p:grpSp>
              <p:nvGrpSpPr>
                <p:cNvPr id="336" name="Groep 335">
                  <a:extLst>
                    <a:ext uri="{FF2B5EF4-FFF2-40B4-BE49-F238E27FC236}">
                      <a16:creationId xmlns:a16="http://schemas.microsoft.com/office/drawing/2014/main" id="{52B9466E-5AEE-499C-9FD9-4BAE0A59774B}"/>
                    </a:ext>
                  </a:extLst>
                </p:cNvPr>
                <p:cNvGrpSpPr/>
                <p:nvPr userDrawn="1"/>
              </p:nvGrpSpPr>
              <p:grpSpPr>
                <a:xfrm>
                  <a:off x="-3310843" y="700986"/>
                  <a:ext cx="182598" cy="143759"/>
                  <a:chOff x="-3310843" y="700986"/>
                  <a:chExt cx="182598" cy="143759"/>
                </a:xfrm>
              </p:grpSpPr>
              <p:cxnSp>
                <p:nvCxnSpPr>
                  <p:cNvPr id="340" name="Rechte verbindingslijn 339">
                    <a:extLst>
                      <a:ext uri="{FF2B5EF4-FFF2-40B4-BE49-F238E27FC236}">
                        <a16:creationId xmlns:a16="http://schemas.microsoft.com/office/drawing/2014/main" id="{E44E01CD-A705-4072-BDA8-CCE21D79F6B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9535731-2CA7-48B0-8E69-7524CEB0CBD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2" name="Rechte verbindingslijn 341">
                    <a:extLst>
                      <a:ext uri="{FF2B5EF4-FFF2-40B4-BE49-F238E27FC236}">
                        <a16:creationId xmlns:a16="http://schemas.microsoft.com/office/drawing/2014/main" id="{13763057-EDA6-45C5-844C-32B5A15D6AE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25B65B46-60F7-40BF-9102-5EB5694B7CF8}"/>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076DBE8-051B-467A-A3DD-194DFDBF8FD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7" name="Groep 336">
                  <a:extLst>
                    <a:ext uri="{FF2B5EF4-FFF2-40B4-BE49-F238E27FC236}">
                      <a16:creationId xmlns:a16="http://schemas.microsoft.com/office/drawing/2014/main" id="{F574182C-74B0-4356-8719-8D6143061DDA}"/>
                    </a:ext>
                  </a:extLst>
                </p:cNvPr>
                <p:cNvGrpSpPr/>
                <p:nvPr userDrawn="1"/>
              </p:nvGrpSpPr>
              <p:grpSpPr>
                <a:xfrm flipH="1">
                  <a:off x="-3310774" y="735854"/>
                  <a:ext cx="88801" cy="72568"/>
                  <a:chOff x="-2091059" y="1395403"/>
                  <a:chExt cx="157316" cy="128558"/>
                </a:xfrm>
              </p:grpSpPr>
              <p:sp>
                <p:nvSpPr>
                  <p:cNvPr id="338" name="Rechthoek 337">
                    <a:extLst>
                      <a:ext uri="{FF2B5EF4-FFF2-40B4-BE49-F238E27FC236}">
                        <a16:creationId xmlns:a16="http://schemas.microsoft.com/office/drawing/2014/main" id="{11383763-CAC0-48EF-835D-EDAA1AFA57C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39" name="Pijl: punthaak 338">
                    <a:extLst>
                      <a:ext uri="{FF2B5EF4-FFF2-40B4-BE49-F238E27FC236}">
                        <a16:creationId xmlns:a16="http://schemas.microsoft.com/office/drawing/2014/main" id="{BD078BBF-6495-48ED-A9C1-9DEE0DA955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98" name="Groep 297">
                <a:extLst>
                  <a:ext uri="{FF2B5EF4-FFF2-40B4-BE49-F238E27FC236}">
                    <a16:creationId xmlns:a16="http://schemas.microsoft.com/office/drawing/2014/main" id="{E64F86A5-23CC-4132-947F-7BB8C182FA28}"/>
                  </a:ext>
                </a:extLst>
              </p:cNvPr>
              <p:cNvGrpSpPr/>
              <p:nvPr userDrawn="1"/>
            </p:nvGrpSpPr>
            <p:grpSpPr>
              <a:xfrm>
                <a:off x="-3326107" y="720303"/>
                <a:ext cx="182598" cy="143759"/>
                <a:chOff x="-3634116" y="700986"/>
                <a:chExt cx="182598" cy="143759"/>
              </a:xfrm>
            </p:grpSpPr>
            <p:grpSp>
              <p:nvGrpSpPr>
                <p:cNvPr id="327" name="Groep 326">
                  <a:extLst>
                    <a:ext uri="{FF2B5EF4-FFF2-40B4-BE49-F238E27FC236}">
                      <a16:creationId xmlns:a16="http://schemas.microsoft.com/office/drawing/2014/main" id="{D67E7A46-DE9C-4D0A-AEE0-BEEC1685DCDA}"/>
                    </a:ext>
                  </a:extLst>
                </p:cNvPr>
                <p:cNvGrpSpPr/>
                <p:nvPr userDrawn="1"/>
              </p:nvGrpSpPr>
              <p:grpSpPr>
                <a:xfrm>
                  <a:off x="-3634116" y="700986"/>
                  <a:ext cx="182598" cy="143759"/>
                  <a:chOff x="-3634116" y="700986"/>
                  <a:chExt cx="182598" cy="143759"/>
                </a:xfrm>
              </p:grpSpPr>
              <p:cxnSp>
                <p:nvCxnSpPr>
                  <p:cNvPr id="331" name="Rechte verbindingslijn 330">
                    <a:extLst>
                      <a:ext uri="{FF2B5EF4-FFF2-40B4-BE49-F238E27FC236}">
                        <a16:creationId xmlns:a16="http://schemas.microsoft.com/office/drawing/2014/main" id="{6104EABB-E647-4380-BC8D-4735501847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71FC7BD7-238C-4901-906D-C16229B47EF0}"/>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6E626D8-0D5B-479D-A164-63570F35F44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5AD47799-5A26-4B9E-AB95-14F514293F9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5" name="Rechte verbindingslijn 334">
                    <a:extLst>
                      <a:ext uri="{FF2B5EF4-FFF2-40B4-BE49-F238E27FC236}">
                        <a16:creationId xmlns:a16="http://schemas.microsoft.com/office/drawing/2014/main" id="{699F819B-BABF-4D77-BFAA-10E13C0CF606}"/>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28" name="Groep 327">
                  <a:extLst>
                    <a:ext uri="{FF2B5EF4-FFF2-40B4-BE49-F238E27FC236}">
                      <a16:creationId xmlns:a16="http://schemas.microsoft.com/office/drawing/2014/main" id="{057E89C5-21EC-4E99-BBD6-538CA09E4268}"/>
                    </a:ext>
                  </a:extLst>
                </p:cNvPr>
                <p:cNvGrpSpPr/>
                <p:nvPr userDrawn="1"/>
              </p:nvGrpSpPr>
              <p:grpSpPr>
                <a:xfrm>
                  <a:off x="-3634047" y="735854"/>
                  <a:ext cx="88801" cy="72568"/>
                  <a:chOff x="-2091059" y="1395403"/>
                  <a:chExt cx="157316" cy="128558"/>
                </a:xfrm>
              </p:grpSpPr>
              <p:sp>
                <p:nvSpPr>
                  <p:cNvPr id="329" name="Rechthoek 328">
                    <a:extLst>
                      <a:ext uri="{FF2B5EF4-FFF2-40B4-BE49-F238E27FC236}">
                        <a16:creationId xmlns:a16="http://schemas.microsoft.com/office/drawing/2014/main" id="{7F38C0D4-8DFC-4692-84BC-20484B54CA6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30" name="Pijl: punthaak 329">
                    <a:extLst>
                      <a:ext uri="{FF2B5EF4-FFF2-40B4-BE49-F238E27FC236}">
                        <a16:creationId xmlns:a16="http://schemas.microsoft.com/office/drawing/2014/main" id="{CA109E9F-7AD9-49D6-AB21-452F30FB0D9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99" name="Rechte verbindingslijn 298">
                <a:extLst>
                  <a:ext uri="{FF2B5EF4-FFF2-40B4-BE49-F238E27FC236}">
                    <a16:creationId xmlns:a16="http://schemas.microsoft.com/office/drawing/2014/main" id="{7245F918-BD1E-4AA7-AF34-B34807AA5B4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00" name="Rechte verbindingslijn 299">
                <a:extLst>
                  <a:ext uri="{FF2B5EF4-FFF2-40B4-BE49-F238E27FC236}">
                    <a16:creationId xmlns:a16="http://schemas.microsoft.com/office/drawing/2014/main" id="{42204135-130C-4482-8FF4-C457BA30B918}"/>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01" name="Groep 300">
                <a:extLst>
                  <a:ext uri="{FF2B5EF4-FFF2-40B4-BE49-F238E27FC236}">
                    <a16:creationId xmlns:a16="http://schemas.microsoft.com/office/drawing/2014/main" id="{C5620457-BC11-44A1-B35E-8070DAA50D35}"/>
                  </a:ext>
                </a:extLst>
              </p:cNvPr>
              <p:cNvGrpSpPr/>
              <p:nvPr userDrawn="1"/>
            </p:nvGrpSpPr>
            <p:grpSpPr>
              <a:xfrm>
                <a:off x="-2425037" y="370226"/>
                <a:ext cx="357690" cy="330595"/>
                <a:chOff x="-2721817" y="347336"/>
                <a:chExt cx="432805" cy="400021"/>
              </a:xfrm>
            </p:grpSpPr>
            <p:sp>
              <p:nvSpPr>
                <p:cNvPr id="316" name="Rechthoek 315">
                  <a:extLst>
                    <a:ext uri="{FF2B5EF4-FFF2-40B4-BE49-F238E27FC236}">
                      <a16:creationId xmlns:a16="http://schemas.microsoft.com/office/drawing/2014/main" id="{4F12A523-C4D3-4A22-833E-31EC8E567922}"/>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17" name="Groep 316">
                  <a:extLst>
                    <a:ext uri="{FF2B5EF4-FFF2-40B4-BE49-F238E27FC236}">
                      <a16:creationId xmlns:a16="http://schemas.microsoft.com/office/drawing/2014/main" id="{B7ABD13A-1CA0-425C-8716-9975579BA484}"/>
                    </a:ext>
                  </a:extLst>
                </p:cNvPr>
                <p:cNvGrpSpPr/>
                <p:nvPr userDrawn="1"/>
              </p:nvGrpSpPr>
              <p:grpSpPr>
                <a:xfrm>
                  <a:off x="-2652453" y="431583"/>
                  <a:ext cx="294076" cy="231526"/>
                  <a:chOff x="-3634116" y="700986"/>
                  <a:chExt cx="182598" cy="143759"/>
                </a:xfrm>
              </p:grpSpPr>
              <p:grpSp>
                <p:nvGrpSpPr>
                  <p:cNvPr id="318" name="Groep 317">
                    <a:extLst>
                      <a:ext uri="{FF2B5EF4-FFF2-40B4-BE49-F238E27FC236}">
                        <a16:creationId xmlns:a16="http://schemas.microsoft.com/office/drawing/2014/main" id="{CAB27CAE-2F72-4CB7-A34E-D9F827C00955}"/>
                      </a:ext>
                    </a:extLst>
                  </p:cNvPr>
                  <p:cNvGrpSpPr/>
                  <p:nvPr userDrawn="1"/>
                </p:nvGrpSpPr>
                <p:grpSpPr>
                  <a:xfrm>
                    <a:off x="-3634116" y="700986"/>
                    <a:ext cx="182598" cy="143759"/>
                    <a:chOff x="-3634116" y="700986"/>
                    <a:chExt cx="182598" cy="143759"/>
                  </a:xfrm>
                </p:grpSpPr>
                <p:cxnSp>
                  <p:nvCxnSpPr>
                    <p:cNvPr id="322" name="Rechte verbindingslijn 321">
                      <a:extLst>
                        <a:ext uri="{FF2B5EF4-FFF2-40B4-BE49-F238E27FC236}">
                          <a16:creationId xmlns:a16="http://schemas.microsoft.com/office/drawing/2014/main" id="{3AEF513D-B5BB-483D-B64B-DCE9028EA78A}"/>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23" name="Rechte verbindingslijn 322">
                      <a:extLst>
                        <a:ext uri="{FF2B5EF4-FFF2-40B4-BE49-F238E27FC236}">
                          <a16:creationId xmlns:a16="http://schemas.microsoft.com/office/drawing/2014/main" id="{81E2F19F-BB91-4B6A-95CC-FF1E59DF0718}"/>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24" name="Rechte verbindingslijn 323">
                      <a:extLst>
                        <a:ext uri="{FF2B5EF4-FFF2-40B4-BE49-F238E27FC236}">
                          <a16:creationId xmlns:a16="http://schemas.microsoft.com/office/drawing/2014/main" id="{475DAF34-08FE-436D-B1DF-570914C1A996}"/>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25" name="Rechte verbindingslijn 324">
                      <a:extLst>
                        <a:ext uri="{FF2B5EF4-FFF2-40B4-BE49-F238E27FC236}">
                          <a16:creationId xmlns:a16="http://schemas.microsoft.com/office/drawing/2014/main" id="{965628B0-5FC2-4FFA-ACFC-E067A39B9055}"/>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26" name="Rechte verbindingslijn 325">
                      <a:extLst>
                        <a:ext uri="{FF2B5EF4-FFF2-40B4-BE49-F238E27FC236}">
                          <a16:creationId xmlns:a16="http://schemas.microsoft.com/office/drawing/2014/main" id="{9E2F0411-5A06-4DC1-A6F0-FEFD32771E0A}"/>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19" name="Groep 318">
                    <a:extLst>
                      <a:ext uri="{FF2B5EF4-FFF2-40B4-BE49-F238E27FC236}">
                        <a16:creationId xmlns:a16="http://schemas.microsoft.com/office/drawing/2014/main" id="{4B8D49B6-1A7A-438C-ADDE-74D05218A11B}"/>
                      </a:ext>
                    </a:extLst>
                  </p:cNvPr>
                  <p:cNvGrpSpPr/>
                  <p:nvPr userDrawn="1"/>
                </p:nvGrpSpPr>
                <p:grpSpPr>
                  <a:xfrm>
                    <a:off x="-3634047" y="735854"/>
                    <a:ext cx="88801" cy="72568"/>
                    <a:chOff x="-2091059" y="1395403"/>
                    <a:chExt cx="157316" cy="128558"/>
                  </a:xfrm>
                </p:grpSpPr>
                <p:sp>
                  <p:nvSpPr>
                    <p:cNvPr id="320" name="Rechthoek 319">
                      <a:extLst>
                        <a:ext uri="{FF2B5EF4-FFF2-40B4-BE49-F238E27FC236}">
                          <a16:creationId xmlns:a16="http://schemas.microsoft.com/office/drawing/2014/main" id="{33E4C8CB-AD52-459B-A174-350C49240AD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21" name="Pijl: punthaak 320">
                      <a:extLst>
                        <a:ext uri="{FF2B5EF4-FFF2-40B4-BE49-F238E27FC236}">
                          <a16:creationId xmlns:a16="http://schemas.microsoft.com/office/drawing/2014/main" id="{73B42B70-9945-4C6D-9788-1B0E9ED1250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02" name="Groep 301">
                <a:extLst>
                  <a:ext uri="{FF2B5EF4-FFF2-40B4-BE49-F238E27FC236}">
                    <a16:creationId xmlns:a16="http://schemas.microsoft.com/office/drawing/2014/main" id="{2002127F-8125-4C9F-955A-F79489BF6C19}"/>
                  </a:ext>
                </a:extLst>
              </p:cNvPr>
              <p:cNvGrpSpPr/>
              <p:nvPr userDrawn="1"/>
            </p:nvGrpSpPr>
            <p:grpSpPr>
              <a:xfrm>
                <a:off x="-2425037" y="781500"/>
                <a:ext cx="357690" cy="330595"/>
                <a:chOff x="-2721817" y="782525"/>
                <a:chExt cx="432805" cy="400021"/>
              </a:xfrm>
            </p:grpSpPr>
            <p:sp>
              <p:nvSpPr>
                <p:cNvPr id="305" name="Rechthoek 304">
                  <a:extLst>
                    <a:ext uri="{FF2B5EF4-FFF2-40B4-BE49-F238E27FC236}">
                      <a16:creationId xmlns:a16="http://schemas.microsoft.com/office/drawing/2014/main" id="{BB7CB496-4839-4C32-BBC9-2CF9F95CAD3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06" name="Groep 305">
                  <a:extLst>
                    <a:ext uri="{FF2B5EF4-FFF2-40B4-BE49-F238E27FC236}">
                      <a16:creationId xmlns:a16="http://schemas.microsoft.com/office/drawing/2014/main" id="{3CCDEFB4-6B50-42AA-BCF5-989459930D65}"/>
                    </a:ext>
                  </a:extLst>
                </p:cNvPr>
                <p:cNvGrpSpPr/>
                <p:nvPr userDrawn="1"/>
              </p:nvGrpSpPr>
              <p:grpSpPr>
                <a:xfrm>
                  <a:off x="-2652453" y="866772"/>
                  <a:ext cx="294076" cy="231526"/>
                  <a:chOff x="-3310843" y="700986"/>
                  <a:chExt cx="182598" cy="143759"/>
                </a:xfrm>
              </p:grpSpPr>
              <p:grpSp>
                <p:nvGrpSpPr>
                  <p:cNvPr id="307" name="Groep 306">
                    <a:extLst>
                      <a:ext uri="{FF2B5EF4-FFF2-40B4-BE49-F238E27FC236}">
                        <a16:creationId xmlns:a16="http://schemas.microsoft.com/office/drawing/2014/main" id="{C571F501-17EB-471C-B103-A2ECE42DA026}"/>
                      </a:ext>
                    </a:extLst>
                  </p:cNvPr>
                  <p:cNvGrpSpPr/>
                  <p:nvPr userDrawn="1"/>
                </p:nvGrpSpPr>
                <p:grpSpPr>
                  <a:xfrm>
                    <a:off x="-3310843" y="700986"/>
                    <a:ext cx="182598" cy="143759"/>
                    <a:chOff x="-3310843" y="700986"/>
                    <a:chExt cx="182598" cy="143759"/>
                  </a:xfrm>
                </p:grpSpPr>
                <p:cxnSp>
                  <p:nvCxnSpPr>
                    <p:cNvPr id="311" name="Rechte verbindingslijn 310">
                      <a:extLst>
                        <a:ext uri="{FF2B5EF4-FFF2-40B4-BE49-F238E27FC236}">
                          <a16:creationId xmlns:a16="http://schemas.microsoft.com/office/drawing/2014/main" id="{423A8C73-3AEC-44FD-838B-F06C8FAF5EC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12" name="Rechte verbindingslijn 311">
                      <a:extLst>
                        <a:ext uri="{FF2B5EF4-FFF2-40B4-BE49-F238E27FC236}">
                          <a16:creationId xmlns:a16="http://schemas.microsoft.com/office/drawing/2014/main" id="{CA7BABB2-5A61-4001-BE84-72A7DCF6DA9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13" name="Rechte verbindingslijn 312">
                      <a:extLst>
                        <a:ext uri="{FF2B5EF4-FFF2-40B4-BE49-F238E27FC236}">
                          <a16:creationId xmlns:a16="http://schemas.microsoft.com/office/drawing/2014/main" id="{5EF8D43D-8971-4CDE-9BE5-331C595F45C4}"/>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14" name="Rechte verbindingslijn 313">
                      <a:extLst>
                        <a:ext uri="{FF2B5EF4-FFF2-40B4-BE49-F238E27FC236}">
                          <a16:creationId xmlns:a16="http://schemas.microsoft.com/office/drawing/2014/main" id="{E69EABD7-1018-4F1A-A7DC-654C2B63FA23}"/>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15" name="Rechte verbindingslijn 314">
                      <a:extLst>
                        <a:ext uri="{FF2B5EF4-FFF2-40B4-BE49-F238E27FC236}">
                          <a16:creationId xmlns:a16="http://schemas.microsoft.com/office/drawing/2014/main" id="{353F2881-7FAD-4C52-93D4-91A1B19FC86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08" name="Groep 307">
                    <a:extLst>
                      <a:ext uri="{FF2B5EF4-FFF2-40B4-BE49-F238E27FC236}">
                        <a16:creationId xmlns:a16="http://schemas.microsoft.com/office/drawing/2014/main" id="{1E606A95-0805-47B1-9C5F-28A16B1C00CD}"/>
                      </a:ext>
                    </a:extLst>
                  </p:cNvPr>
                  <p:cNvGrpSpPr/>
                  <p:nvPr userDrawn="1"/>
                </p:nvGrpSpPr>
                <p:grpSpPr>
                  <a:xfrm flipH="1">
                    <a:off x="-3310774" y="735854"/>
                    <a:ext cx="88801" cy="72568"/>
                    <a:chOff x="-2091059" y="1395403"/>
                    <a:chExt cx="157316" cy="128558"/>
                  </a:xfrm>
                </p:grpSpPr>
                <p:sp>
                  <p:nvSpPr>
                    <p:cNvPr id="309" name="Rechthoek 308">
                      <a:extLst>
                        <a:ext uri="{FF2B5EF4-FFF2-40B4-BE49-F238E27FC236}">
                          <a16:creationId xmlns:a16="http://schemas.microsoft.com/office/drawing/2014/main" id="{7EE29D92-967B-48CF-A5D2-E4B4B21B191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10" name="Pijl: punthaak 309">
                      <a:extLst>
                        <a:ext uri="{FF2B5EF4-FFF2-40B4-BE49-F238E27FC236}">
                          <a16:creationId xmlns:a16="http://schemas.microsoft.com/office/drawing/2014/main" id="{FBA67239-977D-440E-AE03-3AE3E028DBD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03" name="Rechthoek 302">
                <a:extLst>
                  <a:ext uri="{FF2B5EF4-FFF2-40B4-BE49-F238E27FC236}">
                    <a16:creationId xmlns:a16="http://schemas.microsoft.com/office/drawing/2014/main" id="{D979A2D8-81FE-4BCD-BADA-91AD8746A264}"/>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04" name="Rechthoek 303">
                <a:extLst>
                  <a:ext uri="{FF2B5EF4-FFF2-40B4-BE49-F238E27FC236}">
                    <a16:creationId xmlns:a16="http://schemas.microsoft.com/office/drawing/2014/main" id="{D68C72D0-9FD9-4693-981C-9B416A7D35B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77" name="Rechte verbindingslijn 276">
              <a:extLst>
                <a:ext uri="{FF2B5EF4-FFF2-40B4-BE49-F238E27FC236}">
                  <a16:creationId xmlns:a16="http://schemas.microsoft.com/office/drawing/2014/main" id="{6C0B3FB9-41CF-4BC6-98F9-D3CAAA322063}"/>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78" name="Rechthoek 277">
              <a:extLst>
                <a:ext uri="{FF2B5EF4-FFF2-40B4-BE49-F238E27FC236}">
                  <a16:creationId xmlns:a16="http://schemas.microsoft.com/office/drawing/2014/main" id="{40AA104A-4848-46BB-90CB-701EAF032CC2}"/>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79" name="Ovaal 278">
              <a:extLst>
                <a:ext uri="{FF2B5EF4-FFF2-40B4-BE49-F238E27FC236}">
                  <a16:creationId xmlns:a16="http://schemas.microsoft.com/office/drawing/2014/main" id="{8530AAB3-6524-4FB3-8C05-AE64885833F2}"/>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80" name="Rechthoek 279">
              <a:extLst>
                <a:ext uri="{FF2B5EF4-FFF2-40B4-BE49-F238E27FC236}">
                  <a16:creationId xmlns:a16="http://schemas.microsoft.com/office/drawing/2014/main" id="{33610B47-7565-4647-8573-576B6C3CDD1D}"/>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81" name="Ovaal 280">
              <a:extLst>
                <a:ext uri="{FF2B5EF4-FFF2-40B4-BE49-F238E27FC236}">
                  <a16:creationId xmlns:a16="http://schemas.microsoft.com/office/drawing/2014/main" id="{741069FF-A6CB-4546-BDA1-CBF693B8DF2B}"/>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82" name="Rechthoek 281">
              <a:extLst>
                <a:ext uri="{FF2B5EF4-FFF2-40B4-BE49-F238E27FC236}">
                  <a16:creationId xmlns:a16="http://schemas.microsoft.com/office/drawing/2014/main" id="{C479C393-5B63-4575-8739-3FD944333338}"/>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83" name="Ovaal 282">
              <a:extLst>
                <a:ext uri="{FF2B5EF4-FFF2-40B4-BE49-F238E27FC236}">
                  <a16:creationId xmlns:a16="http://schemas.microsoft.com/office/drawing/2014/main" id="{C8C6C7B0-3A42-4386-A401-0DDDA8347831}"/>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84" name="Rechthoek 283">
              <a:extLst>
                <a:ext uri="{FF2B5EF4-FFF2-40B4-BE49-F238E27FC236}">
                  <a16:creationId xmlns:a16="http://schemas.microsoft.com/office/drawing/2014/main" id="{A3E3C4BB-F431-4EBF-9487-AAFB25614F9C}"/>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85" name="Ovaal 284">
              <a:extLst>
                <a:ext uri="{FF2B5EF4-FFF2-40B4-BE49-F238E27FC236}">
                  <a16:creationId xmlns:a16="http://schemas.microsoft.com/office/drawing/2014/main" id="{453597BF-B3E9-4909-8674-E3F79EB1C33C}"/>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86" name="Rechthoek 285">
              <a:extLst>
                <a:ext uri="{FF2B5EF4-FFF2-40B4-BE49-F238E27FC236}">
                  <a16:creationId xmlns:a16="http://schemas.microsoft.com/office/drawing/2014/main" id="{4C673CB1-DAD9-42DC-96CC-94867620DF98}"/>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87" name="Rechthoek 286">
              <a:extLst>
                <a:ext uri="{FF2B5EF4-FFF2-40B4-BE49-F238E27FC236}">
                  <a16:creationId xmlns:a16="http://schemas.microsoft.com/office/drawing/2014/main" id="{E7F8FE0F-72BF-431D-8BB3-393A13A84BE9}"/>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88" name="Rechte verbindingslijn 287">
              <a:extLst>
                <a:ext uri="{FF2B5EF4-FFF2-40B4-BE49-F238E27FC236}">
                  <a16:creationId xmlns:a16="http://schemas.microsoft.com/office/drawing/2014/main" id="{72F79BD1-79D7-486F-B546-B8E1B4121840}"/>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89" name="Ovaal 288">
              <a:extLst>
                <a:ext uri="{FF2B5EF4-FFF2-40B4-BE49-F238E27FC236}">
                  <a16:creationId xmlns:a16="http://schemas.microsoft.com/office/drawing/2014/main" id="{89110FBF-F25A-48FF-BA54-6EAD12112972}"/>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90" name="Rechthoek 289">
              <a:extLst>
                <a:ext uri="{FF2B5EF4-FFF2-40B4-BE49-F238E27FC236}">
                  <a16:creationId xmlns:a16="http://schemas.microsoft.com/office/drawing/2014/main" id="{0A8FAFE3-8015-4785-A4A9-0BD9D9E6F9F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291" name="Ovaal 290">
              <a:extLst>
                <a:ext uri="{FF2B5EF4-FFF2-40B4-BE49-F238E27FC236}">
                  <a16:creationId xmlns:a16="http://schemas.microsoft.com/office/drawing/2014/main" id="{55C51649-CDB7-4785-BF19-34398664A7E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92" name="Rechthoek 291">
              <a:extLst>
                <a:ext uri="{FF2B5EF4-FFF2-40B4-BE49-F238E27FC236}">
                  <a16:creationId xmlns:a16="http://schemas.microsoft.com/office/drawing/2014/main" id="{A8BA24B8-E5F7-4048-8C16-644FB84F8C11}"/>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20026820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KST / AFBEELDING (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775222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5F77B9CD-4941-4D04-BA79-31CBC6294EBD}"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AFBEELDING (S)</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8832474" y="1459111"/>
            <a:ext cx="2819272" cy="4119774"/>
          </a:xfrm>
          <a:prstGeom prst="roundRect">
            <a:avLst>
              <a:gd name="adj" fmla="val 1562"/>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grpSp>
        <p:nvGrpSpPr>
          <p:cNvPr id="311" name="Instructie">
            <a:extLst>
              <a:ext uri="{FF2B5EF4-FFF2-40B4-BE49-F238E27FC236}">
                <a16:creationId xmlns:a16="http://schemas.microsoft.com/office/drawing/2014/main" id="{6EC4EDE5-D76F-42E8-99B1-018BA2951E38}"/>
              </a:ext>
            </a:extLst>
          </p:cNvPr>
          <p:cNvGrpSpPr/>
          <p:nvPr userDrawn="1"/>
        </p:nvGrpSpPr>
        <p:grpSpPr>
          <a:xfrm>
            <a:off x="-3437546" y="1436"/>
            <a:ext cx="3201327" cy="6041867"/>
            <a:chOff x="-3437547" y="1434"/>
            <a:chExt cx="3201327" cy="6041867"/>
          </a:xfrm>
        </p:grpSpPr>
        <p:cxnSp>
          <p:nvCxnSpPr>
            <p:cNvPr id="312" name="Rechte verbindingslijn 311">
              <a:extLst>
                <a:ext uri="{FF2B5EF4-FFF2-40B4-BE49-F238E27FC236}">
                  <a16:creationId xmlns:a16="http://schemas.microsoft.com/office/drawing/2014/main" id="{FACF5DB2-5ABA-418F-9DCE-C8B6D935766E}"/>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3" name="Ovaal 312">
              <a:extLst>
                <a:ext uri="{FF2B5EF4-FFF2-40B4-BE49-F238E27FC236}">
                  <a16:creationId xmlns:a16="http://schemas.microsoft.com/office/drawing/2014/main" id="{4CB622CE-714B-4F19-B7A6-B17BBFA2B20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4" name="Rechthoek 313">
              <a:extLst>
                <a:ext uri="{FF2B5EF4-FFF2-40B4-BE49-F238E27FC236}">
                  <a16:creationId xmlns:a16="http://schemas.microsoft.com/office/drawing/2014/main" id="{A3B0D0C5-6650-4323-8DAA-A5E2EA39143D}"/>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5" name="Ovaal 314">
              <a:extLst>
                <a:ext uri="{FF2B5EF4-FFF2-40B4-BE49-F238E27FC236}">
                  <a16:creationId xmlns:a16="http://schemas.microsoft.com/office/drawing/2014/main" id="{933E596B-FFA4-4C73-9F62-F57FB44D0EC7}"/>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16" name="Rechthoek 315">
              <a:extLst>
                <a:ext uri="{FF2B5EF4-FFF2-40B4-BE49-F238E27FC236}">
                  <a16:creationId xmlns:a16="http://schemas.microsoft.com/office/drawing/2014/main" id="{47309AC9-396F-41EA-A05F-FCB6F8937834}"/>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7" name="Ovaal 316">
              <a:extLst>
                <a:ext uri="{FF2B5EF4-FFF2-40B4-BE49-F238E27FC236}">
                  <a16:creationId xmlns:a16="http://schemas.microsoft.com/office/drawing/2014/main" id="{8754AA08-735B-4C39-9384-CB1278D7405C}"/>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18" name="Rechthoek 317">
              <a:extLst>
                <a:ext uri="{FF2B5EF4-FFF2-40B4-BE49-F238E27FC236}">
                  <a16:creationId xmlns:a16="http://schemas.microsoft.com/office/drawing/2014/main" id="{65CBDEA3-1FF3-4432-B08E-E760C7A11EBC}"/>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19" name="Ovaal 318">
              <a:extLst>
                <a:ext uri="{FF2B5EF4-FFF2-40B4-BE49-F238E27FC236}">
                  <a16:creationId xmlns:a16="http://schemas.microsoft.com/office/drawing/2014/main" id="{7641AA04-F501-4A5E-AC0C-FA470C02EA52}"/>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0" name="Rechthoek 319">
              <a:extLst>
                <a:ext uri="{FF2B5EF4-FFF2-40B4-BE49-F238E27FC236}">
                  <a16:creationId xmlns:a16="http://schemas.microsoft.com/office/drawing/2014/main" id="{0EB3FBBB-E00F-4676-A881-4D0250504347}"/>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321" name="Rechthoek 320">
              <a:extLst>
                <a:ext uri="{FF2B5EF4-FFF2-40B4-BE49-F238E27FC236}">
                  <a16:creationId xmlns:a16="http://schemas.microsoft.com/office/drawing/2014/main" id="{080BC829-7C79-410E-84AD-AB37E26F111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2" name="Ovaal 321">
              <a:extLst>
                <a:ext uri="{FF2B5EF4-FFF2-40B4-BE49-F238E27FC236}">
                  <a16:creationId xmlns:a16="http://schemas.microsoft.com/office/drawing/2014/main" id="{4B754F7D-A3FB-4F5A-8930-FBF0BFCCFE0B}"/>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3" name="Rechte verbindingslijn 322">
              <a:extLst>
                <a:ext uri="{FF2B5EF4-FFF2-40B4-BE49-F238E27FC236}">
                  <a16:creationId xmlns:a16="http://schemas.microsoft.com/office/drawing/2014/main" id="{CD5C8E73-AEF1-4F0D-9D88-7DC726AF1174}"/>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4" name="Groep 323">
              <a:extLst>
                <a:ext uri="{FF2B5EF4-FFF2-40B4-BE49-F238E27FC236}">
                  <a16:creationId xmlns:a16="http://schemas.microsoft.com/office/drawing/2014/main" id="{EDAC08E1-768E-45CB-8DEF-06CAA9EBB5D7}"/>
                </a:ext>
              </a:extLst>
            </p:cNvPr>
            <p:cNvGrpSpPr/>
            <p:nvPr userDrawn="1"/>
          </p:nvGrpSpPr>
          <p:grpSpPr>
            <a:xfrm>
              <a:off x="-3437547" y="1295337"/>
              <a:ext cx="2933825" cy="558875"/>
              <a:chOff x="-3419346" y="368233"/>
              <a:chExt cx="3904920" cy="743862"/>
            </a:xfrm>
          </p:grpSpPr>
          <p:sp>
            <p:nvSpPr>
              <p:cNvPr id="341" name="Rechthoek 340">
                <a:extLst>
                  <a:ext uri="{FF2B5EF4-FFF2-40B4-BE49-F238E27FC236}">
                    <a16:creationId xmlns:a16="http://schemas.microsoft.com/office/drawing/2014/main" id="{9DA66142-124E-4A6A-AA99-8C97B74F0F4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2" name="Rechte verbindingslijn 341">
                <a:extLst>
                  <a:ext uri="{FF2B5EF4-FFF2-40B4-BE49-F238E27FC236}">
                    <a16:creationId xmlns:a16="http://schemas.microsoft.com/office/drawing/2014/main" id="{CFA9B92F-748A-4A77-8573-11CF6DCE0DB3}"/>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3" name="Rechte verbindingslijn 342">
                <a:extLst>
                  <a:ext uri="{FF2B5EF4-FFF2-40B4-BE49-F238E27FC236}">
                    <a16:creationId xmlns:a16="http://schemas.microsoft.com/office/drawing/2014/main" id="{8F1B524C-24EE-43CB-BBB7-2261BF93C91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4" name="Rechthoek 343">
                <a:extLst>
                  <a:ext uri="{FF2B5EF4-FFF2-40B4-BE49-F238E27FC236}">
                    <a16:creationId xmlns:a16="http://schemas.microsoft.com/office/drawing/2014/main" id="{EFA26898-2D89-403D-AF0D-234E565CF636}"/>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45" name="Groep 344">
                <a:extLst>
                  <a:ext uri="{FF2B5EF4-FFF2-40B4-BE49-F238E27FC236}">
                    <a16:creationId xmlns:a16="http://schemas.microsoft.com/office/drawing/2014/main" id="{DC7D3128-E12B-4ECE-A589-BBE7A81AF38E}"/>
                  </a:ext>
                </a:extLst>
              </p:cNvPr>
              <p:cNvGrpSpPr/>
              <p:nvPr userDrawn="1"/>
            </p:nvGrpSpPr>
            <p:grpSpPr>
              <a:xfrm>
                <a:off x="-3002834" y="720303"/>
                <a:ext cx="182598" cy="143759"/>
                <a:chOff x="-3310843" y="700986"/>
                <a:chExt cx="182598" cy="143759"/>
              </a:xfrm>
            </p:grpSpPr>
            <p:grpSp>
              <p:nvGrpSpPr>
                <p:cNvPr id="384" name="Groep 383">
                  <a:extLst>
                    <a:ext uri="{FF2B5EF4-FFF2-40B4-BE49-F238E27FC236}">
                      <a16:creationId xmlns:a16="http://schemas.microsoft.com/office/drawing/2014/main" id="{A2DEA057-FEA7-4D5C-A28B-6F3C7C71E0E2}"/>
                    </a:ext>
                  </a:extLst>
                </p:cNvPr>
                <p:cNvGrpSpPr/>
                <p:nvPr userDrawn="1"/>
              </p:nvGrpSpPr>
              <p:grpSpPr>
                <a:xfrm>
                  <a:off x="-3310843" y="700986"/>
                  <a:ext cx="182598" cy="143759"/>
                  <a:chOff x="-3310843" y="700986"/>
                  <a:chExt cx="182598" cy="143759"/>
                </a:xfrm>
              </p:grpSpPr>
              <p:cxnSp>
                <p:nvCxnSpPr>
                  <p:cNvPr id="388" name="Rechte verbindingslijn 387">
                    <a:extLst>
                      <a:ext uri="{FF2B5EF4-FFF2-40B4-BE49-F238E27FC236}">
                        <a16:creationId xmlns:a16="http://schemas.microsoft.com/office/drawing/2014/main" id="{2585BEBE-784B-4514-A895-AF1A9126C5D2}"/>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89" name="Rechte verbindingslijn 388">
                    <a:extLst>
                      <a:ext uri="{FF2B5EF4-FFF2-40B4-BE49-F238E27FC236}">
                        <a16:creationId xmlns:a16="http://schemas.microsoft.com/office/drawing/2014/main" id="{6ED62856-91FD-4925-A6B9-EEA30371B89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0" name="Rechte verbindingslijn 389">
                    <a:extLst>
                      <a:ext uri="{FF2B5EF4-FFF2-40B4-BE49-F238E27FC236}">
                        <a16:creationId xmlns:a16="http://schemas.microsoft.com/office/drawing/2014/main" id="{DA802B00-DF4A-42F3-B849-94BCCDCEC4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58CA2412-7824-4571-A066-7997DEA4A741}"/>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E21AEC1F-2229-442D-9B67-ACFAB7690A58}"/>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85" name="Groep 384">
                  <a:extLst>
                    <a:ext uri="{FF2B5EF4-FFF2-40B4-BE49-F238E27FC236}">
                      <a16:creationId xmlns:a16="http://schemas.microsoft.com/office/drawing/2014/main" id="{33F47883-1082-408E-A24D-3F397A59BCDD}"/>
                    </a:ext>
                  </a:extLst>
                </p:cNvPr>
                <p:cNvGrpSpPr/>
                <p:nvPr userDrawn="1"/>
              </p:nvGrpSpPr>
              <p:grpSpPr>
                <a:xfrm flipH="1">
                  <a:off x="-3310774" y="735854"/>
                  <a:ext cx="88801" cy="72568"/>
                  <a:chOff x="-2091059" y="1395403"/>
                  <a:chExt cx="157316" cy="128558"/>
                </a:xfrm>
              </p:grpSpPr>
              <p:sp>
                <p:nvSpPr>
                  <p:cNvPr id="386" name="Rechthoek 385">
                    <a:extLst>
                      <a:ext uri="{FF2B5EF4-FFF2-40B4-BE49-F238E27FC236}">
                        <a16:creationId xmlns:a16="http://schemas.microsoft.com/office/drawing/2014/main" id="{6EF6CAA6-E626-481C-B9BD-B6F6309B97E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7" name="Pijl: punthaak 386">
                    <a:extLst>
                      <a:ext uri="{FF2B5EF4-FFF2-40B4-BE49-F238E27FC236}">
                        <a16:creationId xmlns:a16="http://schemas.microsoft.com/office/drawing/2014/main" id="{592E89F8-EE36-4B11-B44D-71F9D2A0F8E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46" name="Groep 345">
                <a:extLst>
                  <a:ext uri="{FF2B5EF4-FFF2-40B4-BE49-F238E27FC236}">
                    <a16:creationId xmlns:a16="http://schemas.microsoft.com/office/drawing/2014/main" id="{2B1E59A3-A674-4FC8-96F9-6EB7F00F3F38}"/>
                  </a:ext>
                </a:extLst>
              </p:cNvPr>
              <p:cNvGrpSpPr/>
              <p:nvPr userDrawn="1"/>
            </p:nvGrpSpPr>
            <p:grpSpPr>
              <a:xfrm>
                <a:off x="-3326107" y="720303"/>
                <a:ext cx="182598" cy="143759"/>
                <a:chOff x="-3634116" y="700986"/>
                <a:chExt cx="182598" cy="143759"/>
              </a:xfrm>
            </p:grpSpPr>
            <p:grpSp>
              <p:nvGrpSpPr>
                <p:cNvPr id="375" name="Groep 374">
                  <a:extLst>
                    <a:ext uri="{FF2B5EF4-FFF2-40B4-BE49-F238E27FC236}">
                      <a16:creationId xmlns:a16="http://schemas.microsoft.com/office/drawing/2014/main" id="{1C3E57BA-516B-42D5-BD12-71D3CCC75570}"/>
                    </a:ext>
                  </a:extLst>
                </p:cNvPr>
                <p:cNvGrpSpPr/>
                <p:nvPr userDrawn="1"/>
              </p:nvGrpSpPr>
              <p:grpSpPr>
                <a:xfrm>
                  <a:off x="-3634116" y="700986"/>
                  <a:ext cx="182598" cy="143759"/>
                  <a:chOff x="-3634116" y="700986"/>
                  <a:chExt cx="182598" cy="143759"/>
                </a:xfrm>
              </p:grpSpPr>
              <p:cxnSp>
                <p:nvCxnSpPr>
                  <p:cNvPr id="379" name="Rechte verbindingslijn 378">
                    <a:extLst>
                      <a:ext uri="{FF2B5EF4-FFF2-40B4-BE49-F238E27FC236}">
                        <a16:creationId xmlns:a16="http://schemas.microsoft.com/office/drawing/2014/main" id="{A2F5093B-6601-4390-8FE6-5367351A565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932800E5-6A0B-4BBC-991C-2ABFB450E8E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1" name="Rechte verbindingslijn 380">
                    <a:extLst>
                      <a:ext uri="{FF2B5EF4-FFF2-40B4-BE49-F238E27FC236}">
                        <a16:creationId xmlns:a16="http://schemas.microsoft.com/office/drawing/2014/main" id="{D2826148-49A7-4A12-8F71-61E8BF8ED440}"/>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9A05BCD9-A886-4B24-898D-CA12B80F267E}"/>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EFAEF72F-6930-4549-AA1A-E8C32D2B30D0}"/>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76" name="Groep 375">
                  <a:extLst>
                    <a:ext uri="{FF2B5EF4-FFF2-40B4-BE49-F238E27FC236}">
                      <a16:creationId xmlns:a16="http://schemas.microsoft.com/office/drawing/2014/main" id="{BC0E46A3-A281-4870-88AA-644133C509E0}"/>
                    </a:ext>
                  </a:extLst>
                </p:cNvPr>
                <p:cNvGrpSpPr/>
                <p:nvPr userDrawn="1"/>
              </p:nvGrpSpPr>
              <p:grpSpPr>
                <a:xfrm>
                  <a:off x="-3634047" y="735854"/>
                  <a:ext cx="88801" cy="72568"/>
                  <a:chOff x="-2091059" y="1395403"/>
                  <a:chExt cx="157316" cy="128558"/>
                </a:xfrm>
              </p:grpSpPr>
              <p:sp>
                <p:nvSpPr>
                  <p:cNvPr id="377" name="Rechthoek 376">
                    <a:extLst>
                      <a:ext uri="{FF2B5EF4-FFF2-40B4-BE49-F238E27FC236}">
                        <a16:creationId xmlns:a16="http://schemas.microsoft.com/office/drawing/2014/main" id="{69565C2C-6843-493F-81DB-0603A5E2A98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8" name="Pijl: punthaak 377">
                    <a:extLst>
                      <a:ext uri="{FF2B5EF4-FFF2-40B4-BE49-F238E27FC236}">
                        <a16:creationId xmlns:a16="http://schemas.microsoft.com/office/drawing/2014/main" id="{AA4ED2F2-FC6A-46F4-8942-D8CF9F09E6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47" name="Rechte verbindingslijn 346">
                <a:extLst>
                  <a:ext uri="{FF2B5EF4-FFF2-40B4-BE49-F238E27FC236}">
                    <a16:creationId xmlns:a16="http://schemas.microsoft.com/office/drawing/2014/main" id="{041F7ABF-DE3C-4069-B83B-FDB8D461DCE7}"/>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48" name="Rechte verbindingslijn 347">
                <a:extLst>
                  <a:ext uri="{FF2B5EF4-FFF2-40B4-BE49-F238E27FC236}">
                    <a16:creationId xmlns:a16="http://schemas.microsoft.com/office/drawing/2014/main" id="{985D3FD8-A92C-46DD-A624-8208431B3B2C}"/>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49" name="Groep 348">
                <a:extLst>
                  <a:ext uri="{FF2B5EF4-FFF2-40B4-BE49-F238E27FC236}">
                    <a16:creationId xmlns:a16="http://schemas.microsoft.com/office/drawing/2014/main" id="{63692241-10BA-40DA-A765-D426FE5784A9}"/>
                  </a:ext>
                </a:extLst>
              </p:cNvPr>
              <p:cNvGrpSpPr/>
              <p:nvPr userDrawn="1"/>
            </p:nvGrpSpPr>
            <p:grpSpPr>
              <a:xfrm>
                <a:off x="-2425037" y="370226"/>
                <a:ext cx="357690" cy="330595"/>
                <a:chOff x="-2721817" y="347336"/>
                <a:chExt cx="432805" cy="400021"/>
              </a:xfrm>
            </p:grpSpPr>
            <p:sp>
              <p:nvSpPr>
                <p:cNvPr id="364" name="Rechthoek 363">
                  <a:extLst>
                    <a:ext uri="{FF2B5EF4-FFF2-40B4-BE49-F238E27FC236}">
                      <a16:creationId xmlns:a16="http://schemas.microsoft.com/office/drawing/2014/main" id="{1AB73BB9-5307-4CE6-B310-ABB6C55FA3B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65" name="Groep 364">
                  <a:extLst>
                    <a:ext uri="{FF2B5EF4-FFF2-40B4-BE49-F238E27FC236}">
                      <a16:creationId xmlns:a16="http://schemas.microsoft.com/office/drawing/2014/main" id="{7050BBFE-A35A-4E23-AB7A-036B417D2BC6}"/>
                    </a:ext>
                  </a:extLst>
                </p:cNvPr>
                <p:cNvGrpSpPr/>
                <p:nvPr userDrawn="1"/>
              </p:nvGrpSpPr>
              <p:grpSpPr>
                <a:xfrm>
                  <a:off x="-2652453" y="431583"/>
                  <a:ext cx="294076" cy="231526"/>
                  <a:chOff x="-3634116" y="700986"/>
                  <a:chExt cx="182598" cy="143759"/>
                </a:xfrm>
              </p:grpSpPr>
              <p:grpSp>
                <p:nvGrpSpPr>
                  <p:cNvPr id="366" name="Groep 365">
                    <a:extLst>
                      <a:ext uri="{FF2B5EF4-FFF2-40B4-BE49-F238E27FC236}">
                        <a16:creationId xmlns:a16="http://schemas.microsoft.com/office/drawing/2014/main" id="{4900E8C6-DC4B-48F2-B47F-7442887733A7}"/>
                      </a:ext>
                    </a:extLst>
                  </p:cNvPr>
                  <p:cNvGrpSpPr/>
                  <p:nvPr userDrawn="1"/>
                </p:nvGrpSpPr>
                <p:grpSpPr>
                  <a:xfrm>
                    <a:off x="-3634116" y="700986"/>
                    <a:ext cx="182598" cy="143759"/>
                    <a:chOff x="-3634116" y="700986"/>
                    <a:chExt cx="182598" cy="143759"/>
                  </a:xfrm>
                </p:grpSpPr>
                <p:cxnSp>
                  <p:nvCxnSpPr>
                    <p:cNvPr id="370" name="Rechte verbindingslijn 369">
                      <a:extLst>
                        <a:ext uri="{FF2B5EF4-FFF2-40B4-BE49-F238E27FC236}">
                          <a16:creationId xmlns:a16="http://schemas.microsoft.com/office/drawing/2014/main" id="{2AD75CF8-F235-43E4-8EBF-BCB0C6FEF72A}"/>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1" name="Rechte verbindingslijn 370">
                      <a:extLst>
                        <a:ext uri="{FF2B5EF4-FFF2-40B4-BE49-F238E27FC236}">
                          <a16:creationId xmlns:a16="http://schemas.microsoft.com/office/drawing/2014/main" id="{0ABA2FE7-97F3-408A-9795-C13CE32FD53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2" name="Rechte verbindingslijn 371">
                      <a:extLst>
                        <a:ext uri="{FF2B5EF4-FFF2-40B4-BE49-F238E27FC236}">
                          <a16:creationId xmlns:a16="http://schemas.microsoft.com/office/drawing/2014/main" id="{BB56F574-CB03-427E-80BD-88FDF8C8835E}"/>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3" name="Rechte verbindingslijn 372">
                      <a:extLst>
                        <a:ext uri="{FF2B5EF4-FFF2-40B4-BE49-F238E27FC236}">
                          <a16:creationId xmlns:a16="http://schemas.microsoft.com/office/drawing/2014/main" id="{92BDBBE3-3134-4431-AA15-33D05C56B0DD}"/>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4" name="Rechte verbindingslijn 373">
                      <a:extLst>
                        <a:ext uri="{FF2B5EF4-FFF2-40B4-BE49-F238E27FC236}">
                          <a16:creationId xmlns:a16="http://schemas.microsoft.com/office/drawing/2014/main" id="{3D77D2D0-8677-45BD-9A26-EBAF0A6D435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67" name="Groep 366">
                    <a:extLst>
                      <a:ext uri="{FF2B5EF4-FFF2-40B4-BE49-F238E27FC236}">
                        <a16:creationId xmlns:a16="http://schemas.microsoft.com/office/drawing/2014/main" id="{3191988B-A423-4740-B746-736CEB6161F4}"/>
                      </a:ext>
                    </a:extLst>
                  </p:cNvPr>
                  <p:cNvGrpSpPr/>
                  <p:nvPr userDrawn="1"/>
                </p:nvGrpSpPr>
                <p:grpSpPr>
                  <a:xfrm>
                    <a:off x="-3634047" y="735854"/>
                    <a:ext cx="88801" cy="72568"/>
                    <a:chOff x="-2091059" y="1395403"/>
                    <a:chExt cx="157316" cy="128558"/>
                  </a:xfrm>
                </p:grpSpPr>
                <p:sp>
                  <p:nvSpPr>
                    <p:cNvPr id="368" name="Rechthoek 367">
                      <a:extLst>
                        <a:ext uri="{FF2B5EF4-FFF2-40B4-BE49-F238E27FC236}">
                          <a16:creationId xmlns:a16="http://schemas.microsoft.com/office/drawing/2014/main" id="{9836BB2F-0E2F-4B70-8ED0-BAB1DB9352A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9" name="Pijl: punthaak 368">
                      <a:extLst>
                        <a:ext uri="{FF2B5EF4-FFF2-40B4-BE49-F238E27FC236}">
                          <a16:creationId xmlns:a16="http://schemas.microsoft.com/office/drawing/2014/main" id="{6E04973E-FDFE-4561-B2C8-0158E486E22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0" name="Groep 349">
                <a:extLst>
                  <a:ext uri="{FF2B5EF4-FFF2-40B4-BE49-F238E27FC236}">
                    <a16:creationId xmlns:a16="http://schemas.microsoft.com/office/drawing/2014/main" id="{4D9F4F4D-120F-4CF2-BDB2-B517DE892175}"/>
                  </a:ext>
                </a:extLst>
              </p:cNvPr>
              <p:cNvGrpSpPr/>
              <p:nvPr userDrawn="1"/>
            </p:nvGrpSpPr>
            <p:grpSpPr>
              <a:xfrm>
                <a:off x="-2425037" y="781500"/>
                <a:ext cx="357690" cy="330595"/>
                <a:chOff x="-2721817" y="782525"/>
                <a:chExt cx="432805" cy="400021"/>
              </a:xfrm>
            </p:grpSpPr>
            <p:sp>
              <p:nvSpPr>
                <p:cNvPr id="353" name="Rechthoek 352">
                  <a:extLst>
                    <a:ext uri="{FF2B5EF4-FFF2-40B4-BE49-F238E27FC236}">
                      <a16:creationId xmlns:a16="http://schemas.microsoft.com/office/drawing/2014/main" id="{78A68044-80C9-46AA-AB89-69790C3962A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4" name="Groep 353">
                  <a:extLst>
                    <a:ext uri="{FF2B5EF4-FFF2-40B4-BE49-F238E27FC236}">
                      <a16:creationId xmlns:a16="http://schemas.microsoft.com/office/drawing/2014/main" id="{82A7C0C9-83B2-4948-8D8D-EF3C433A3F37}"/>
                    </a:ext>
                  </a:extLst>
                </p:cNvPr>
                <p:cNvGrpSpPr/>
                <p:nvPr userDrawn="1"/>
              </p:nvGrpSpPr>
              <p:grpSpPr>
                <a:xfrm>
                  <a:off x="-2652453" y="866772"/>
                  <a:ext cx="294076" cy="231526"/>
                  <a:chOff x="-3310843" y="700986"/>
                  <a:chExt cx="182598" cy="143759"/>
                </a:xfrm>
              </p:grpSpPr>
              <p:grpSp>
                <p:nvGrpSpPr>
                  <p:cNvPr id="355" name="Groep 354">
                    <a:extLst>
                      <a:ext uri="{FF2B5EF4-FFF2-40B4-BE49-F238E27FC236}">
                        <a16:creationId xmlns:a16="http://schemas.microsoft.com/office/drawing/2014/main" id="{5EC5AD4E-00E6-438F-8D25-C17EC55CF177}"/>
                      </a:ext>
                    </a:extLst>
                  </p:cNvPr>
                  <p:cNvGrpSpPr/>
                  <p:nvPr userDrawn="1"/>
                </p:nvGrpSpPr>
                <p:grpSpPr>
                  <a:xfrm>
                    <a:off x="-3310843" y="700986"/>
                    <a:ext cx="182598" cy="143759"/>
                    <a:chOff x="-3310843" y="700986"/>
                    <a:chExt cx="182598" cy="143759"/>
                  </a:xfrm>
                </p:grpSpPr>
                <p:cxnSp>
                  <p:nvCxnSpPr>
                    <p:cNvPr id="359" name="Rechte verbindingslijn 358">
                      <a:extLst>
                        <a:ext uri="{FF2B5EF4-FFF2-40B4-BE49-F238E27FC236}">
                          <a16:creationId xmlns:a16="http://schemas.microsoft.com/office/drawing/2014/main" id="{F586A73D-E565-4E0C-855B-59C4D7D7DD8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0" name="Rechte verbindingslijn 359">
                      <a:extLst>
                        <a:ext uri="{FF2B5EF4-FFF2-40B4-BE49-F238E27FC236}">
                          <a16:creationId xmlns:a16="http://schemas.microsoft.com/office/drawing/2014/main" id="{CBC3761A-5808-4C8B-9C55-5C48B34CA743}"/>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1" name="Rechte verbindingslijn 360">
                      <a:extLst>
                        <a:ext uri="{FF2B5EF4-FFF2-40B4-BE49-F238E27FC236}">
                          <a16:creationId xmlns:a16="http://schemas.microsoft.com/office/drawing/2014/main" id="{826EECE1-F2E6-4E25-8B52-2A9F25A1463B}"/>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2A37E3DE-5E44-41FF-B70B-000D642862D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3" name="Rechte verbindingslijn 362">
                      <a:extLst>
                        <a:ext uri="{FF2B5EF4-FFF2-40B4-BE49-F238E27FC236}">
                          <a16:creationId xmlns:a16="http://schemas.microsoft.com/office/drawing/2014/main" id="{3C44D74D-9DAB-4642-B177-CC4186CC575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56" name="Groep 355">
                    <a:extLst>
                      <a:ext uri="{FF2B5EF4-FFF2-40B4-BE49-F238E27FC236}">
                        <a16:creationId xmlns:a16="http://schemas.microsoft.com/office/drawing/2014/main" id="{F90E9ED6-7F69-4EE5-B45A-DA998970F8A5}"/>
                      </a:ext>
                    </a:extLst>
                  </p:cNvPr>
                  <p:cNvGrpSpPr/>
                  <p:nvPr userDrawn="1"/>
                </p:nvGrpSpPr>
                <p:grpSpPr>
                  <a:xfrm flipH="1">
                    <a:off x="-3310774" y="735854"/>
                    <a:ext cx="88801" cy="72568"/>
                    <a:chOff x="-2091059" y="1395403"/>
                    <a:chExt cx="157316" cy="128558"/>
                  </a:xfrm>
                </p:grpSpPr>
                <p:sp>
                  <p:nvSpPr>
                    <p:cNvPr id="357" name="Rechthoek 356">
                      <a:extLst>
                        <a:ext uri="{FF2B5EF4-FFF2-40B4-BE49-F238E27FC236}">
                          <a16:creationId xmlns:a16="http://schemas.microsoft.com/office/drawing/2014/main" id="{48C720B0-5B50-4EB2-9830-559DC775B33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58" name="Pijl: punthaak 357">
                      <a:extLst>
                        <a:ext uri="{FF2B5EF4-FFF2-40B4-BE49-F238E27FC236}">
                          <a16:creationId xmlns:a16="http://schemas.microsoft.com/office/drawing/2014/main" id="{5D37504B-BF55-4936-B4AD-73EA6C83F91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1" name="Rechthoek 350">
                <a:extLst>
                  <a:ext uri="{FF2B5EF4-FFF2-40B4-BE49-F238E27FC236}">
                    <a16:creationId xmlns:a16="http://schemas.microsoft.com/office/drawing/2014/main" id="{B00C6C92-B3F8-4BE5-BD75-9855319C87C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2" name="Rechthoek 351">
                <a:extLst>
                  <a:ext uri="{FF2B5EF4-FFF2-40B4-BE49-F238E27FC236}">
                    <a16:creationId xmlns:a16="http://schemas.microsoft.com/office/drawing/2014/main" id="{98D1D357-2F34-4A4E-8E12-4A703EB67C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25" name="Rechte verbindingslijn 324">
              <a:extLst>
                <a:ext uri="{FF2B5EF4-FFF2-40B4-BE49-F238E27FC236}">
                  <a16:creationId xmlns:a16="http://schemas.microsoft.com/office/drawing/2014/main" id="{78204972-6B44-4A43-B7E9-847E7C5BF9EE}"/>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26" name="Rechthoek 325">
              <a:extLst>
                <a:ext uri="{FF2B5EF4-FFF2-40B4-BE49-F238E27FC236}">
                  <a16:creationId xmlns:a16="http://schemas.microsoft.com/office/drawing/2014/main" id="{518BFF35-59B7-4758-8E44-207484C0F3B1}"/>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7" name="Ovaal 326">
              <a:extLst>
                <a:ext uri="{FF2B5EF4-FFF2-40B4-BE49-F238E27FC236}">
                  <a16:creationId xmlns:a16="http://schemas.microsoft.com/office/drawing/2014/main" id="{86267990-F8CA-46B4-84B9-4547231FF171}"/>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28" name="Rechthoek 327">
              <a:extLst>
                <a:ext uri="{FF2B5EF4-FFF2-40B4-BE49-F238E27FC236}">
                  <a16:creationId xmlns:a16="http://schemas.microsoft.com/office/drawing/2014/main" id="{ACB3F05C-7A84-41B2-80AA-ED6E8C37175C}"/>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29" name="Ovaal 328">
              <a:extLst>
                <a:ext uri="{FF2B5EF4-FFF2-40B4-BE49-F238E27FC236}">
                  <a16:creationId xmlns:a16="http://schemas.microsoft.com/office/drawing/2014/main" id="{67061E4C-F3E4-4983-974A-4AFF29940EDF}"/>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0" name="Rechthoek 329">
              <a:extLst>
                <a:ext uri="{FF2B5EF4-FFF2-40B4-BE49-F238E27FC236}">
                  <a16:creationId xmlns:a16="http://schemas.microsoft.com/office/drawing/2014/main" id="{1799E384-7B67-4008-837C-A03B932F5D8A}"/>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1" name="Ovaal 330">
              <a:extLst>
                <a:ext uri="{FF2B5EF4-FFF2-40B4-BE49-F238E27FC236}">
                  <a16:creationId xmlns:a16="http://schemas.microsoft.com/office/drawing/2014/main" id="{9A597F4B-15B3-4698-AB4D-65F88C53DF85}"/>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2" name="Rechthoek 331">
              <a:extLst>
                <a:ext uri="{FF2B5EF4-FFF2-40B4-BE49-F238E27FC236}">
                  <a16:creationId xmlns:a16="http://schemas.microsoft.com/office/drawing/2014/main" id="{C24DA2C7-923C-47A4-8502-A5517BEF5FB4}"/>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3" name="Ovaal 332">
              <a:extLst>
                <a:ext uri="{FF2B5EF4-FFF2-40B4-BE49-F238E27FC236}">
                  <a16:creationId xmlns:a16="http://schemas.microsoft.com/office/drawing/2014/main" id="{4C3C64EB-8D14-402E-BFE0-4915CF3A7E9D}"/>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4" name="Rechthoek 333">
              <a:extLst>
                <a:ext uri="{FF2B5EF4-FFF2-40B4-BE49-F238E27FC236}">
                  <a16:creationId xmlns:a16="http://schemas.microsoft.com/office/drawing/2014/main" id="{ADBF0AF2-ECF6-48C9-B191-6E26AF901E4C}"/>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35" name="Rechthoek 334">
              <a:extLst>
                <a:ext uri="{FF2B5EF4-FFF2-40B4-BE49-F238E27FC236}">
                  <a16:creationId xmlns:a16="http://schemas.microsoft.com/office/drawing/2014/main" id="{5DEBACAE-13B5-4EB4-A649-E200B928314B}"/>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36" name="Rechte verbindingslijn 335">
              <a:extLst>
                <a:ext uri="{FF2B5EF4-FFF2-40B4-BE49-F238E27FC236}">
                  <a16:creationId xmlns:a16="http://schemas.microsoft.com/office/drawing/2014/main" id="{F7884B7C-59B4-4076-9A85-95DE96F2AFBD}"/>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37" name="Ovaal 336">
              <a:extLst>
                <a:ext uri="{FF2B5EF4-FFF2-40B4-BE49-F238E27FC236}">
                  <a16:creationId xmlns:a16="http://schemas.microsoft.com/office/drawing/2014/main" id="{B2F7E009-2459-4175-B7E9-C62CBD7E968C}"/>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38" name="Rechthoek 337">
              <a:extLst>
                <a:ext uri="{FF2B5EF4-FFF2-40B4-BE49-F238E27FC236}">
                  <a16:creationId xmlns:a16="http://schemas.microsoft.com/office/drawing/2014/main" id="{CDAB2D64-0C51-49B5-8FCE-67ED4BF759E4}"/>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339" name="Ovaal 338">
              <a:extLst>
                <a:ext uri="{FF2B5EF4-FFF2-40B4-BE49-F238E27FC236}">
                  <a16:creationId xmlns:a16="http://schemas.microsoft.com/office/drawing/2014/main" id="{6B81766F-CCFC-401B-8C8C-06BA48813040}"/>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0" name="Rechthoek 339">
              <a:extLst>
                <a:ext uri="{FF2B5EF4-FFF2-40B4-BE49-F238E27FC236}">
                  <a16:creationId xmlns:a16="http://schemas.microsoft.com/office/drawing/2014/main" id="{ACAC3F63-9E69-41A5-9149-58F2682A4DBE}"/>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9" name="Groep 8">
            <a:extLst>
              <a:ext uri="{FF2B5EF4-FFF2-40B4-BE49-F238E27FC236}">
                <a16:creationId xmlns:a16="http://schemas.microsoft.com/office/drawing/2014/main" id="{F331B0C3-F4A4-4D40-9C26-BE456E58414C}"/>
              </a:ext>
            </a:extLst>
          </p:cNvPr>
          <p:cNvGrpSpPr/>
          <p:nvPr userDrawn="1"/>
        </p:nvGrpSpPr>
        <p:grpSpPr>
          <a:xfrm>
            <a:off x="12391601" y="2"/>
            <a:ext cx="3183678" cy="4278621"/>
            <a:chOff x="12391601" y="0"/>
            <a:chExt cx="3183678" cy="4278621"/>
          </a:xfrm>
        </p:grpSpPr>
        <p:sp>
          <p:nvSpPr>
            <p:cNvPr id="111" name="Rechthoek 110">
              <a:extLst>
                <a:ext uri="{FF2B5EF4-FFF2-40B4-BE49-F238E27FC236}">
                  <a16:creationId xmlns:a16="http://schemas.microsoft.com/office/drawing/2014/main" id="{88B549F8-A4C9-4E44-ABAC-AECE120C4AD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12" name="Ovaal 111">
              <a:extLst>
                <a:ext uri="{FF2B5EF4-FFF2-40B4-BE49-F238E27FC236}">
                  <a16:creationId xmlns:a16="http://schemas.microsoft.com/office/drawing/2014/main" id="{56811862-094F-4DCA-BADC-8B091B946AB6}"/>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3" name="Rechte verbindingslijn 112">
              <a:extLst>
                <a:ext uri="{FF2B5EF4-FFF2-40B4-BE49-F238E27FC236}">
                  <a16:creationId xmlns:a16="http://schemas.microsoft.com/office/drawing/2014/main" id="{796B5794-0377-4A06-A8A1-9E2B295DE245}"/>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14" name="Rechte verbindingslijn 113">
              <a:extLst>
                <a:ext uri="{FF2B5EF4-FFF2-40B4-BE49-F238E27FC236}">
                  <a16:creationId xmlns:a16="http://schemas.microsoft.com/office/drawing/2014/main" id="{B4BDD475-CFB3-4ABB-9B3C-20C2996A562D}"/>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15" name="Rechthoek 114">
              <a:extLst>
                <a:ext uri="{FF2B5EF4-FFF2-40B4-BE49-F238E27FC236}">
                  <a16:creationId xmlns:a16="http://schemas.microsoft.com/office/drawing/2014/main" id="{A021DF6F-2FB4-45A7-A889-3E9EF31A71D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16" name="Rechte verbindingslijn 115">
              <a:extLst>
                <a:ext uri="{FF2B5EF4-FFF2-40B4-BE49-F238E27FC236}">
                  <a16:creationId xmlns:a16="http://schemas.microsoft.com/office/drawing/2014/main" id="{10BFE8CA-50E9-4C86-B0A1-7BC5D839AEAE}"/>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17" name="Ovaal 116">
              <a:extLst>
                <a:ext uri="{FF2B5EF4-FFF2-40B4-BE49-F238E27FC236}">
                  <a16:creationId xmlns:a16="http://schemas.microsoft.com/office/drawing/2014/main" id="{F5885AC9-2261-4670-B1B0-143BC8CB6BB3}"/>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8" name="Rechthoek 117">
              <a:extLst>
                <a:ext uri="{FF2B5EF4-FFF2-40B4-BE49-F238E27FC236}">
                  <a16:creationId xmlns:a16="http://schemas.microsoft.com/office/drawing/2014/main" id="{22384295-B68B-49EB-8DC8-C03720826EE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19" name="Groep 118">
              <a:extLst>
                <a:ext uri="{FF2B5EF4-FFF2-40B4-BE49-F238E27FC236}">
                  <a16:creationId xmlns:a16="http://schemas.microsoft.com/office/drawing/2014/main" id="{855E9B9C-52C5-400D-80A5-D7003710502F}"/>
                </a:ext>
              </a:extLst>
            </p:cNvPr>
            <p:cNvGrpSpPr/>
            <p:nvPr userDrawn="1"/>
          </p:nvGrpSpPr>
          <p:grpSpPr>
            <a:xfrm>
              <a:off x="12757282" y="2184550"/>
              <a:ext cx="825500" cy="209550"/>
              <a:chOff x="13504624" y="2482850"/>
              <a:chExt cx="825500" cy="209550"/>
            </a:xfrm>
          </p:grpSpPr>
          <p:sp>
            <p:nvSpPr>
              <p:cNvPr id="147" name="Rechthoek 146">
                <a:extLst>
                  <a:ext uri="{FF2B5EF4-FFF2-40B4-BE49-F238E27FC236}">
                    <a16:creationId xmlns:a16="http://schemas.microsoft.com/office/drawing/2014/main" id="{D122E4A9-0414-463C-A582-2F51D35C4DD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48" name="Rechte verbindingslijn 147">
                <a:extLst>
                  <a:ext uri="{FF2B5EF4-FFF2-40B4-BE49-F238E27FC236}">
                    <a16:creationId xmlns:a16="http://schemas.microsoft.com/office/drawing/2014/main" id="{30BA7DAB-407A-47F9-9287-F44B3512C86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9" name="Gelijkbenige driehoek 148">
                <a:extLst>
                  <a:ext uri="{FF2B5EF4-FFF2-40B4-BE49-F238E27FC236}">
                    <a16:creationId xmlns:a16="http://schemas.microsoft.com/office/drawing/2014/main" id="{6E08367C-0759-47FA-8076-506285DAF1D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20" name="Groep 119">
              <a:extLst>
                <a:ext uri="{FF2B5EF4-FFF2-40B4-BE49-F238E27FC236}">
                  <a16:creationId xmlns:a16="http://schemas.microsoft.com/office/drawing/2014/main" id="{1464CAFD-FD2B-463E-9E14-858F0428FE99}"/>
                </a:ext>
              </a:extLst>
            </p:cNvPr>
            <p:cNvGrpSpPr/>
            <p:nvPr userDrawn="1"/>
          </p:nvGrpSpPr>
          <p:grpSpPr>
            <a:xfrm>
              <a:off x="12757282" y="1141626"/>
              <a:ext cx="294789" cy="318834"/>
              <a:chOff x="14466489" y="1001522"/>
              <a:chExt cx="290627" cy="314333"/>
            </a:xfrm>
          </p:grpSpPr>
          <p:sp>
            <p:nvSpPr>
              <p:cNvPr id="141" name="Rechthoek 140">
                <a:extLst>
                  <a:ext uri="{FF2B5EF4-FFF2-40B4-BE49-F238E27FC236}">
                    <a16:creationId xmlns:a16="http://schemas.microsoft.com/office/drawing/2014/main" id="{14D17561-A4AC-4017-8908-102F1C613C1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42" name="Ovaal 141">
                <a:extLst>
                  <a:ext uri="{FF2B5EF4-FFF2-40B4-BE49-F238E27FC236}">
                    <a16:creationId xmlns:a16="http://schemas.microsoft.com/office/drawing/2014/main" id="{4D09424B-7758-435E-B549-4C591C992AC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43" name="Vrije vorm: vorm 142">
                <a:extLst>
                  <a:ext uri="{FF2B5EF4-FFF2-40B4-BE49-F238E27FC236}">
                    <a16:creationId xmlns:a16="http://schemas.microsoft.com/office/drawing/2014/main" id="{9B1870CF-92F0-49E0-822D-045B8027711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44" name="Rechthoek: afgeronde hoeken 143">
                <a:extLst>
                  <a:ext uri="{FF2B5EF4-FFF2-40B4-BE49-F238E27FC236}">
                    <a16:creationId xmlns:a16="http://schemas.microsoft.com/office/drawing/2014/main" id="{D5B2D999-9331-4E31-A4AF-49233FBB1AE1}"/>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145" name="Rechte verbindingslijn 144">
                <a:extLst>
                  <a:ext uri="{FF2B5EF4-FFF2-40B4-BE49-F238E27FC236}">
                    <a16:creationId xmlns:a16="http://schemas.microsoft.com/office/drawing/2014/main" id="{DB2A4F82-38DF-43B1-8E0E-1EB80AC43379}"/>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6" name="Rechte verbindingslijn 145">
                <a:extLst>
                  <a:ext uri="{FF2B5EF4-FFF2-40B4-BE49-F238E27FC236}">
                    <a16:creationId xmlns:a16="http://schemas.microsoft.com/office/drawing/2014/main" id="{75353569-D539-41C9-AD7C-3698F08EECFF}"/>
                  </a:ext>
                </a:extLst>
              </p:cNvPr>
              <p:cNvCxnSpPr>
                <a:cxnSpLocks/>
                <a:stCxn id="14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21" name="Ovaal 120">
              <a:extLst>
                <a:ext uri="{FF2B5EF4-FFF2-40B4-BE49-F238E27FC236}">
                  <a16:creationId xmlns:a16="http://schemas.microsoft.com/office/drawing/2014/main" id="{7E7064C2-0C74-4D63-91A4-B7B3503886E9}"/>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22" name="Rechthoek 121">
              <a:extLst>
                <a:ext uri="{FF2B5EF4-FFF2-40B4-BE49-F238E27FC236}">
                  <a16:creationId xmlns:a16="http://schemas.microsoft.com/office/drawing/2014/main" id="{24A5DFBB-FE8B-4625-9BB1-015E63656E8F}"/>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3" name="Rechte verbindingslijn 122">
              <a:extLst>
                <a:ext uri="{FF2B5EF4-FFF2-40B4-BE49-F238E27FC236}">
                  <a16:creationId xmlns:a16="http://schemas.microsoft.com/office/drawing/2014/main" id="{D5D1ABD1-D8CD-458D-A41F-791A0AE0121C}"/>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4" name="Groep 123">
              <a:extLst>
                <a:ext uri="{FF2B5EF4-FFF2-40B4-BE49-F238E27FC236}">
                  <a16:creationId xmlns:a16="http://schemas.microsoft.com/office/drawing/2014/main" id="{63A1CFE3-996D-4F97-BC66-91718F95658E}"/>
                </a:ext>
              </a:extLst>
            </p:cNvPr>
            <p:cNvGrpSpPr/>
            <p:nvPr userDrawn="1"/>
          </p:nvGrpSpPr>
          <p:grpSpPr>
            <a:xfrm>
              <a:off x="12696514" y="3540678"/>
              <a:ext cx="514284" cy="612918"/>
              <a:chOff x="12682980" y="3403241"/>
              <a:chExt cx="622284" cy="741632"/>
            </a:xfrm>
          </p:grpSpPr>
          <p:grpSp>
            <p:nvGrpSpPr>
              <p:cNvPr id="125" name="Groep 124">
                <a:extLst>
                  <a:ext uri="{FF2B5EF4-FFF2-40B4-BE49-F238E27FC236}">
                    <a16:creationId xmlns:a16="http://schemas.microsoft.com/office/drawing/2014/main" id="{AD0C89DF-2C1B-4C7D-897B-C810690CF31F}"/>
                  </a:ext>
                </a:extLst>
              </p:cNvPr>
              <p:cNvGrpSpPr/>
              <p:nvPr userDrawn="1"/>
            </p:nvGrpSpPr>
            <p:grpSpPr>
              <a:xfrm>
                <a:off x="12771568" y="3403241"/>
                <a:ext cx="467138" cy="448489"/>
                <a:chOff x="12782195" y="3403241"/>
                <a:chExt cx="467138" cy="448489"/>
              </a:xfrm>
            </p:grpSpPr>
            <p:grpSp>
              <p:nvGrpSpPr>
                <p:cNvPr id="128" name="Groep 127">
                  <a:extLst>
                    <a:ext uri="{FF2B5EF4-FFF2-40B4-BE49-F238E27FC236}">
                      <a16:creationId xmlns:a16="http://schemas.microsoft.com/office/drawing/2014/main" id="{B2674425-3198-42E1-BD6C-71B8EB56413E}"/>
                    </a:ext>
                  </a:extLst>
                </p:cNvPr>
                <p:cNvGrpSpPr/>
                <p:nvPr userDrawn="1"/>
              </p:nvGrpSpPr>
              <p:grpSpPr>
                <a:xfrm>
                  <a:off x="12782195" y="3403241"/>
                  <a:ext cx="412967" cy="393907"/>
                  <a:chOff x="13554906" y="3320109"/>
                  <a:chExt cx="443906" cy="423419"/>
                </a:xfrm>
              </p:grpSpPr>
              <p:grpSp>
                <p:nvGrpSpPr>
                  <p:cNvPr id="135" name="Groep 134">
                    <a:extLst>
                      <a:ext uri="{FF2B5EF4-FFF2-40B4-BE49-F238E27FC236}">
                        <a16:creationId xmlns:a16="http://schemas.microsoft.com/office/drawing/2014/main" id="{F34092AC-0759-42B0-8375-2DB740861304}"/>
                      </a:ext>
                    </a:extLst>
                  </p:cNvPr>
                  <p:cNvGrpSpPr/>
                  <p:nvPr userDrawn="1"/>
                </p:nvGrpSpPr>
                <p:grpSpPr>
                  <a:xfrm>
                    <a:off x="13554906" y="3320109"/>
                    <a:ext cx="443906" cy="423419"/>
                    <a:chOff x="12909684" y="1276143"/>
                    <a:chExt cx="443906" cy="423419"/>
                  </a:xfrm>
                </p:grpSpPr>
                <p:sp>
                  <p:nvSpPr>
                    <p:cNvPr id="138" name="Rechthoek 137">
                      <a:extLst>
                        <a:ext uri="{FF2B5EF4-FFF2-40B4-BE49-F238E27FC236}">
                          <a16:creationId xmlns:a16="http://schemas.microsoft.com/office/drawing/2014/main" id="{06B33E8F-753D-40F8-9AF8-693063D95D5A}"/>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39" name="Rechthoek 138">
                      <a:extLst>
                        <a:ext uri="{FF2B5EF4-FFF2-40B4-BE49-F238E27FC236}">
                          <a16:creationId xmlns:a16="http://schemas.microsoft.com/office/drawing/2014/main" id="{8BAAC9C7-A54A-4C87-8F78-AD2CF4C635A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40" name="Ovaal 139">
                      <a:extLst>
                        <a:ext uri="{FF2B5EF4-FFF2-40B4-BE49-F238E27FC236}">
                          <a16:creationId xmlns:a16="http://schemas.microsoft.com/office/drawing/2014/main" id="{0F513F60-9311-4B93-9022-C0A08303BA2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136" name="Afbeelding 135">
                    <a:extLst>
                      <a:ext uri="{FF2B5EF4-FFF2-40B4-BE49-F238E27FC236}">
                        <a16:creationId xmlns:a16="http://schemas.microsoft.com/office/drawing/2014/main" id="{939ABF57-316F-482C-AF13-5FE368B41A26}"/>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37" name="Afbeelding 136">
                    <a:extLst>
                      <a:ext uri="{FF2B5EF4-FFF2-40B4-BE49-F238E27FC236}">
                        <a16:creationId xmlns:a16="http://schemas.microsoft.com/office/drawing/2014/main" id="{43B1DC30-D33D-4FF0-857B-72F6CD9592DA}"/>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29" name="Groep 128">
                  <a:extLst>
                    <a:ext uri="{FF2B5EF4-FFF2-40B4-BE49-F238E27FC236}">
                      <a16:creationId xmlns:a16="http://schemas.microsoft.com/office/drawing/2014/main" id="{7DA571B3-6DF2-47F7-BB91-ECF4C2B75EC4}"/>
                    </a:ext>
                  </a:extLst>
                </p:cNvPr>
                <p:cNvGrpSpPr/>
                <p:nvPr userDrawn="1"/>
              </p:nvGrpSpPr>
              <p:grpSpPr>
                <a:xfrm>
                  <a:off x="13103513" y="3705268"/>
                  <a:ext cx="145820" cy="146462"/>
                  <a:chOff x="13096169" y="3602278"/>
                  <a:chExt cx="145820" cy="146462"/>
                </a:xfrm>
              </p:grpSpPr>
              <p:sp>
                <p:nvSpPr>
                  <p:cNvPr id="133" name="Rechthoek 132">
                    <a:extLst>
                      <a:ext uri="{FF2B5EF4-FFF2-40B4-BE49-F238E27FC236}">
                        <a16:creationId xmlns:a16="http://schemas.microsoft.com/office/drawing/2014/main" id="{C01A95CC-CC4F-4D8D-BF65-844F5C6D322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34" name="Rechthoek 133">
                    <a:extLst>
                      <a:ext uri="{FF2B5EF4-FFF2-40B4-BE49-F238E27FC236}">
                        <a16:creationId xmlns:a16="http://schemas.microsoft.com/office/drawing/2014/main" id="{BC21A21B-A18E-41B9-8E41-D301FB379A0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30" name="Groep 129">
                  <a:extLst>
                    <a:ext uri="{FF2B5EF4-FFF2-40B4-BE49-F238E27FC236}">
                      <a16:creationId xmlns:a16="http://schemas.microsoft.com/office/drawing/2014/main" id="{E08BB810-14C1-4669-BBDA-CD2617F0F459}"/>
                    </a:ext>
                  </a:extLst>
                </p:cNvPr>
                <p:cNvGrpSpPr/>
                <p:nvPr userDrawn="1"/>
              </p:nvGrpSpPr>
              <p:grpSpPr>
                <a:xfrm rot="10800000">
                  <a:off x="13061402" y="3665637"/>
                  <a:ext cx="145820" cy="146462"/>
                  <a:chOff x="13096169" y="3602278"/>
                  <a:chExt cx="145820" cy="146462"/>
                </a:xfrm>
              </p:grpSpPr>
              <p:sp>
                <p:nvSpPr>
                  <p:cNvPr id="131" name="Rechthoek 130">
                    <a:extLst>
                      <a:ext uri="{FF2B5EF4-FFF2-40B4-BE49-F238E27FC236}">
                        <a16:creationId xmlns:a16="http://schemas.microsoft.com/office/drawing/2014/main" id="{C0C24F34-A5F4-4BBA-ABA1-6901AB211AF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32" name="Rechthoek 131">
                    <a:extLst>
                      <a:ext uri="{FF2B5EF4-FFF2-40B4-BE49-F238E27FC236}">
                        <a16:creationId xmlns:a16="http://schemas.microsoft.com/office/drawing/2014/main" id="{4227724C-10EE-4B55-B673-0393FC3B2A6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126" name="Rechthoek 125">
                <a:extLst>
                  <a:ext uri="{FF2B5EF4-FFF2-40B4-BE49-F238E27FC236}">
                    <a16:creationId xmlns:a16="http://schemas.microsoft.com/office/drawing/2014/main" id="{F6BC1663-795E-4047-89E2-DA52629B0E0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127" name="Gelijkbenige driehoek 126">
                <a:extLst>
                  <a:ext uri="{FF2B5EF4-FFF2-40B4-BE49-F238E27FC236}">
                    <a16:creationId xmlns:a16="http://schemas.microsoft.com/office/drawing/2014/main" id="{AFD1978B-7966-4B97-A2F0-2281E84D45A0}"/>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16123022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KST / AFBEELDING (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5285747"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82076C3D-9780-4589-8886-C029E61BA86C}"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AFBEELDING (M)</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6365873" y="1459111"/>
            <a:ext cx="5285873" cy="4119774"/>
          </a:xfrm>
          <a:prstGeom prst="roundRect">
            <a:avLst>
              <a:gd name="adj" fmla="val 1562"/>
            </a:avLst>
          </a:prstGeo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299" name="Instructie">
            <a:extLst>
              <a:ext uri="{FF2B5EF4-FFF2-40B4-BE49-F238E27FC236}">
                <a16:creationId xmlns:a16="http://schemas.microsoft.com/office/drawing/2014/main" id="{A9040615-5CE4-4514-A742-20EBDF93B84E}"/>
              </a:ext>
            </a:extLst>
          </p:cNvPr>
          <p:cNvGrpSpPr/>
          <p:nvPr userDrawn="1"/>
        </p:nvGrpSpPr>
        <p:grpSpPr>
          <a:xfrm>
            <a:off x="-3437546" y="1436"/>
            <a:ext cx="3201327" cy="6041867"/>
            <a:chOff x="-3437547" y="1434"/>
            <a:chExt cx="3201327" cy="6041867"/>
          </a:xfrm>
        </p:grpSpPr>
        <p:cxnSp>
          <p:nvCxnSpPr>
            <p:cNvPr id="300" name="Rechte verbindingslijn 299">
              <a:extLst>
                <a:ext uri="{FF2B5EF4-FFF2-40B4-BE49-F238E27FC236}">
                  <a16:creationId xmlns:a16="http://schemas.microsoft.com/office/drawing/2014/main" id="{A9E29A4D-6D97-4104-AAB7-B77DE27FDF48}"/>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01" name="Ovaal 300">
              <a:extLst>
                <a:ext uri="{FF2B5EF4-FFF2-40B4-BE49-F238E27FC236}">
                  <a16:creationId xmlns:a16="http://schemas.microsoft.com/office/drawing/2014/main" id="{D2538CC1-6DFE-4937-BF8F-F1554E4D4040}"/>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02" name="Rechthoek 301">
              <a:extLst>
                <a:ext uri="{FF2B5EF4-FFF2-40B4-BE49-F238E27FC236}">
                  <a16:creationId xmlns:a16="http://schemas.microsoft.com/office/drawing/2014/main" id="{6C5D937F-CC31-4E45-A598-A44A739508EC}"/>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03" name="Ovaal 302">
              <a:extLst>
                <a:ext uri="{FF2B5EF4-FFF2-40B4-BE49-F238E27FC236}">
                  <a16:creationId xmlns:a16="http://schemas.microsoft.com/office/drawing/2014/main" id="{9A91952D-3E68-4749-B120-80A4BAFFACDB}"/>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04" name="Rechthoek 303">
              <a:extLst>
                <a:ext uri="{FF2B5EF4-FFF2-40B4-BE49-F238E27FC236}">
                  <a16:creationId xmlns:a16="http://schemas.microsoft.com/office/drawing/2014/main" id="{7266ABBD-99F4-4315-9AEA-3BD489AD5560}"/>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05" name="Ovaal 304">
              <a:extLst>
                <a:ext uri="{FF2B5EF4-FFF2-40B4-BE49-F238E27FC236}">
                  <a16:creationId xmlns:a16="http://schemas.microsoft.com/office/drawing/2014/main" id="{14D6EA74-7BB4-4EE0-9BE8-BF3EBAE33486}"/>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06" name="Rechthoek 305">
              <a:extLst>
                <a:ext uri="{FF2B5EF4-FFF2-40B4-BE49-F238E27FC236}">
                  <a16:creationId xmlns:a16="http://schemas.microsoft.com/office/drawing/2014/main" id="{E7DB094A-C66A-47DD-81CF-DA7A117F0743}"/>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07" name="Ovaal 306">
              <a:extLst>
                <a:ext uri="{FF2B5EF4-FFF2-40B4-BE49-F238E27FC236}">
                  <a16:creationId xmlns:a16="http://schemas.microsoft.com/office/drawing/2014/main" id="{A6EBD7CE-345E-442A-A357-9459DDB13B55}"/>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08" name="Rechthoek 307">
              <a:extLst>
                <a:ext uri="{FF2B5EF4-FFF2-40B4-BE49-F238E27FC236}">
                  <a16:creationId xmlns:a16="http://schemas.microsoft.com/office/drawing/2014/main" id="{6A70AF6D-2195-4FEC-AE55-B58319D87CEB}"/>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309" name="Rechthoek 308">
              <a:extLst>
                <a:ext uri="{FF2B5EF4-FFF2-40B4-BE49-F238E27FC236}">
                  <a16:creationId xmlns:a16="http://schemas.microsoft.com/office/drawing/2014/main" id="{FEDAE30A-E8BC-42D6-8883-FE1A87931DAF}"/>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10" name="Ovaal 309">
              <a:extLst>
                <a:ext uri="{FF2B5EF4-FFF2-40B4-BE49-F238E27FC236}">
                  <a16:creationId xmlns:a16="http://schemas.microsoft.com/office/drawing/2014/main" id="{AA46C297-78C9-4817-9D11-213CCB9C9F64}"/>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11" name="Rechte verbindingslijn 310">
              <a:extLst>
                <a:ext uri="{FF2B5EF4-FFF2-40B4-BE49-F238E27FC236}">
                  <a16:creationId xmlns:a16="http://schemas.microsoft.com/office/drawing/2014/main" id="{557EA977-0096-400F-A663-5BBD6036BFAF}"/>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12" name="Groep 311">
              <a:extLst>
                <a:ext uri="{FF2B5EF4-FFF2-40B4-BE49-F238E27FC236}">
                  <a16:creationId xmlns:a16="http://schemas.microsoft.com/office/drawing/2014/main" id="{BC42600A-B3A3-4877-90D7-C07A82046FF3}"/>
                </a:ext>
              </a:extLst>
            </p:cNvPr>
            <p:cNvGrpSpPr/>
            <p:nvPr userDrawn="1"/>
          </p:nvGrpSpPr>
          <p:grpSpPr>
            <a:xfrm>
              <a:off x="-3437547" y="1295337"/>
              <a:ext cx="2933825" cy="558875"/>
              <a:chOff x="-3419346" y="368233"/>
              <a:chExt cx="3904920" cy="743862"/>
            </a:xfrm>
          </p:grpSpPr>
          <p:sp>
            <p:nvSpPr>
              <p:cNvPr id="329" name="Rechthoek 328">
                <a:extLst>
                  <a:ext uri="{FF2B5EF4-FFF2-40B4-BE49-F238E27FC236}">
                    <a16:creationId xmlns:a16="http://schemas.microsoft.com/office/drawing/2014/main" id="{F4C23DD8-1EEB-444F-97E8-7DB7F22E448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30" name="Rechte verbindingslijn 329">
                <a:extLst>
                  <a:ext uri="{FF2B5EF4-FFF2-40B4-BE49-F238E27FC236}">
                    <a16:creationId xmlns:a16="http://schemas.microsoft.com/office/drawing/2014/main" id="{EC276B65-801E-4FEF-8A36-2F62689B59D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1" name="Rechte verbindingslijn 330">
                <a:extLst>
                  <a:ext uri="{FF2B5EF4-FFF2-40B4-BE49-F238E27FC236}">
                    <a16:creationId xmlns:a16="http://schemas.microsoft.com/office/drawing/2014/main" id="{4D85CD75-D75D-46B8-A00D-4CF81EE3531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2" name="Rechthoek 331">
                <a:extLst>
                  <a:ext uri="{FF2B5EF4-FFF2-40B4-BE49-F238E27FC236}">
                    <a16:creationId xmlns:a16="http://schemas.microsoft.com/office/drawing/2014/main" id="{36E1FA0F-31F3-49C8-8E80-258CED450A3B}"/>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33" name="Groep 332">
                <a:extLst>
                  <a:ext uri="{FF2B5EF4-FFF2-40B4-BE49-F238E27FC236}">
                    <a16:creationId xmlns:a16="http://schemas.microsoft.com/office/drawing/2014/main" id="{5A4795F5-37E6-4F38-850A-7A1A45F43652}"/>
                  </a:ext>
                </a:extLst>
              </p:cNvPr>
              <p:cNvGrpSpPr/>
              <p:nvPr userDrawn="1"/>
            </p:nvGrpSpPr>
            <p:grpSpPr>
              <a:xfrm>
                <a:off x="-3002834" y="720303"/>
                <a:ext cx="182598" cy="143759"/>
                <a:chOff x="-3310843" y="700986"/>
                <a:chExt cx="182598" cy="143759"/>
              </a:xfrm>
            </p:grpSpPr>
            <p:grpSp>
              <p:nvGrpSpPr>
                <p:cNvPr id="372" name="Groep 371">
                  <a:extLst>
                    <a:ext uri="{FF2B5EF4-FFF2-40B4-BE49-F238E27FC236}">
                      <a16:creationId xmlns:a16="http://schemas.microsoft.com/office/drawing/2014/main" id="{39185034-83E7-4FF4-B6FF-250310020996}"/>
                    </a:ext>
                  </a:extLst>
                </p:cNvPr>
                <p:cNvGrpSpPr/>
                <p:nvPr userDrawn="1"/>
              </p:nvGrpSpPr>
              <p:grpSpPr>
                <a:xfrm>
                  <a:off x="-3310843" y="700986"/>
                  <a:ext cx="182598" cy="143759"/>
                  <a:chOff x="-3310843" y="700986"/>
                  <a:chExt cx="182598" cy="143759"/>
                </a:xfrm>
              </p:grpSpPr>
              <p:cxnSp>
                <p:nvCxnSpPr>
                  <p:cNvPr id="376" name="Rechte verbindingslijn 375">
                    <a:extLst>
                      <a:ext uri="{FF2B5EF4-FFF2-40B4-BE49-F238E27FC236}">
                        <a16:creationId xmlns:a16="http://schemas.microsoft.com/office/drawing/2014/main" id="{29D344CD-C7EA-41BA-9DB2-2FDB70EEE87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77" name="Rechte verbindingslijn 376">
                    <a:extLst>
                      <a:ext uri="{FF2B5EF4-FFF2-40B4-BE49-F238E27FC236}">
                        <a16:creationId xmlns:a16="http://schemas.microsoft.com/office/drawing/2014/main" id="{72C08631-A23F-4142-943F-EEC71DA5C7EF}"/>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78" name="Rechte verbindingslijn 377">
                    <a:extLst>
                      <a:ext uri="{FF2B5EF4-FFF2-40B4-BE49-F238E27FC236}">
                        <a16:creationId xmlns:a16="http://schemas.microsoft.com/office/drawing/2014/main" id="{9219C585-A23C-4A03-9037-342255AD87C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79" name="Rechte verbindingslijn 378">
                    <a:extLst>
                      <a:ext uri="{FF2B5EF4-FFF2-40B4-BE49-F238E27FC236}">
                        <a16:creationId xmlns:a16="http://schemas.microsoft.com/office/drawing/2014/main" id="{CD8B7624-9942-4448-9E55-63340A8A91E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AEEE66E4-34BA-4B72-A925-B13B223568E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73" name="Groep 372">
                  <a:extLst>
                    <a:ext uri="{FF2B5EF4-FFF2-40B4-BE49-F238E27FC236}">
                      <a16:creationId xmlns:a16="http://schemas.microsoft.com/office/drawing/2014/main" id="{60CBB292-C3B9-4B4E-9AA5-69061A999BAB}"/>
                    </a:ext>
                  </a:extLst>
                </p:cNvPr>
                <p:cNvGrpSpPr/>
                <p:nvPr userDrawn="1"/>
              </p:nvGrpSpPr>
              <p:grpSpPr>
                <a:xfrm flipH="1">
                  <a:off x="-3310774" y="735854"/>
                  <a:ext cx="88801" cy="72568"/>
                  <a:chOff x="-2091059" y="1395403"/>
                  <a:chExt cx="157316" cy="128558"/>
                </a:xfrm>
              </p:grpSpPr>
              <p:sp>
                <p:nvSpPr>
                  <p:cNvPr id="374" name="Rechthoek 373">
                    <a:extLst>
                      <a:ext uri="{FF2B5EF4-FFF2-40B4-BE49-F238E27FC236}">
                        <a16:creationId xmlns:a16="http://schemas.microsoft.com/office/drawing/2014/main" id="{2B7F2EEC-E9D2-4F6E-AE51-4C99AD380BA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5" name="Pijl: punthaak 374">
                    <a:extLst>
                      <a:ext uri="{FF2B5EF4-FFF2-40B4-BE49-F238E27FC236}">
                        <a16:creationId xmlns:a16="http://schemas.microsoft.com/office/drawing/2014/main" id="{01398107-1754-4322-97B3-3E90A2FACA2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34" name="Groep 333">
                <a:extLst>
                  <a:ext uri="{FF2B5EF4-FFF2-40B4-BE49-F238E27FC236}">
                    <a16:creationId xmlns:a16="http://schemas.microsoft.com/office/drawing/2014/main" id="{939B2F05-4AF3-4F93-B952-01644D230EA6}"/>
                  </a:ext>
                </a:extLst>
              </p:cNvPr>
              <p:cNvGrpSpPr/>
              <p:nvPr userDrawn="1"/>
            </p:nvGrpSpPr>
            <p:grpSpPr>
              <a:xfrm>
                <a:off x="-3326107" y="720303"/>
                <a:ext cx="182598" cy="143759"/>
                <a:chOff x="-3634116" y="700986"/>
                <a:chExt cx="182598" cy="143759"/>
              </a:xfrm>
            </p:grpSpPr>
            <p:grpSp>
              <p:nvGrpSpPr>
                <p:cNvPr id="363" name="Groep 362">
                  <a:extLst>
                    <a:ext uri="{FF2B5EF4-FFF2-40B4-BE49-F238E27FC236}">
                      <a16:creationId xmlns:a16="http://schemas.microsoft.com/office/drawing/2014/main" id="{5A7A2DA7-68C5-4F04-9D8E-A53C0000F482}"/>
                    </a:ext>
                  </a:extLst>
                </p:cNvPr>
                <p:cNvGrpSpPr/>
                <p:nvPr userDrawn="1"/>
              </p:nvGrpSpPr>
              <p:grpSpPr>
                <a:xfrm>
                  <a:off x="-3634116" y="700986"/>
                  <a:ext cx="182598" cy="143759"/>
                  <a:chOff x="-3634116" y="700986"/>
                  <a:chExt cx="182598" cy="143759"/>
                </a:xfrm>
              </p:grpSpPr>
              <p:cxnSp>
                <p:nvCxnSpPr>
                  <p:cNvPr id="367" name="Rechte verbindingslijn 366">
                    <a:extLst>
                      <a:ext uri="{FF2B5EF4-FFF2-40B4-BE49-F238E27FC236}">
                        <a16:creationId xmlns:a16="http://schemas.microsoft.com/office/drawing/2014/main" id="{CE5F4043-BE09-40B9-B8D6-75A94C52DBD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68" name="Rechte verbindingslijn 367">
                    <a:extLst>
                      <a:ext uri="{FF2B5EF4-FFF2-40B4-BE49-F238E27FC236}">
                        <a16:creationId xmlns:a16="http://schemas.microsoft.com/office/drawing/2014/main" id="{C1CE4101-E796-4DF8-80AB-10C6C40AC7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69" name="Rechte verbindingslijn 368">
                    <a:extLst>
                      <a:ext uri="{FF2B5EF4-FFF2-40B4-BE49-F238E27FC236}">
                        <a16:creationId xmlns:a16="http://schemas.microsoft.com/office/drawing/2014/main" id="{A0DE6505-25D1-4493-9581-736CD37443DE}"/>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70" name="Rechte verbindingslijn 369">
                    <a:extLst>
                      <a:ext uri="{FF2B5EF4-FFF2-40B4-BE49-F238E27FC236}">
                        <a16:creationId xmlns:a16="http://schemas.microsoft.com/office/drawing/2014/main" id="{C6998B58-E5C3-421B-AACA-8BB753F24EC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71" name="Rechte verbindingslijn 370">
                    <a:extLst>
                      <a:ext uri="{FF2B5EF4-FFF2-40B4-BE49-F238E27FC236}">
                        <a16:creationId xmlns:a16="http://schemas.microsoft.com/office/drawing/2014/main" id="{1D574B4D-F40B-4471-9C90-2C6869B0E4E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64" name="Groep 363">
                  <a:extLst>
                    <a:ext uri="{FF2B5EF4-FFF2-40B4-BE49-F238E27FC236}">
                      <a16:creationId xmlns:a16="http://schemas.microsoft.com/office/drawing/2014/main" id="{83070619-20BA-4B96-8DD6-7D52C2554D1B}"/>
                    </a:ext>
                  </a:extLst>
                </p:cNvPr>
                <p:cNvGrpSpPr/>
                <p:nvPr userDrawn="1"/>
              </p:nvGrpSpPr>
              <p:grpSpPr>
                <a:xfrm>
                  <a:off x="-3634047" y="735854"/>
                  <a:ext cx="88801" cy="72568"/>
                  <a:chOff x="-2091059" y="1395403"/>
                  <a:chExt cx="157316" cy="128558"/>
                </a:xfrm>
              </p:grpSpPr>
              <p:sp>
                <p:nvSpPr>
                  <p:cNvPr id="365" name="Rechthoek 364">
                    <a:extLst>
                      <a:ext uri="{FF2B5EF4-FFF2-40B4-BE49-F238E27FC236}">
                        <a16:creationId xmlns:a16="http://schemas.microsoft.com/office/drawing/2014/main" id="{A975F434-D9E8-4C86-9221-6ED95E807F9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6" name="Pijl: punthaak 365">
                    <a:extLst>
                      <a:ext uri="{FF2B5EF4-FFF2-40B4-BE49-F238E27FC236}">
                        <a16:creationId xmlns:a16="http://schemas.microsoft.com/office/drawing/2014/main" id="{2251D4A1-10CB-45B0-85A4-2E89DF68063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35" name="Rechte verbindingslijn 334">
                <a:extLst>
                  <a:ext uri="{FF2B5EF4-FFF2-40B4-BE49-F238E27FC236}">
                    <a16:creationId xmlns:a16="http://schemas.microsoft.com/office/drawing/2014/main" id="{5E08EB10-7AC5-46CE-A3DB-AB248D1950D9}"/>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36" name="Rechte verbindingslijn 335">
                <a:extLst>
                  <a:ext uri="{FF2B5EF4-FFF2-40B4-BE49-F238E27FC236}">
                    <a16:creationId xmlns:a16="http://schemas.microsoft.com/office/drawing/2014/main" id="{2C5BD4E2-9DFB-4B2A-A283-D8E5CBA3F745}"/>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37" name="Groep 336">
                <a:extLst>
                  <a:ext uri="{FF2B5EF4-FFF2-40B4-BE49-F238E27FC236}">
                    <a16:creationId xmlns:a16="http://schemas.microsoft.com/office/drawing/2014/main" id="{BA99A363-56A8-4D34-948C-6052880AB635}"/>
                  </a:ext>
                </a:extLst>
              </p:cNvPr>
              <p:cNvGrpSpPr/>
              <p:nvPr userDrawn="1"/>
            </p:nvGrpSpPr>
            <p:grpSpPr>
              <a:xfrm>
                <a:off x="-2425037" y="370226"/>
                <a:ext cx="357690" cy="330595"/>
                <a:chOff x="-2721817" y="347336"/>
                <a:chExt cx="432805" cy="400021"/>
              </a:xfrm>
            </p:grpSpPr>
            <p:sp>
              <p:nvSpPr>
                <p:cNvPr id="352" name="Rechthoek 351">
                  <a:extLst>
                    <a:ext uri="{FF2B5EF4-FFF2-40B4-BE49-F238E27FC236}">
                      <a16:creationId xmlns:a16="http://schemas.microsoft.com/office/drawing/2014/main" id="{5CB1EEA1-175A-4B12-882E-7BAF5BF09D10}"/>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3" name="Groep 352">
                  <a:extLst>
                    <a:ext uri="{FF2B5EF4-FFF2-40B4-BE49-F238E27FC236}">
                      <a16:creationId xmlns:a16="http://schemas.microsoft.com/office/drawing/2014/main" id="{DC050AF5-6B3F-47F3-B296-94792B2F3ACB}"/>
                    </a:ext>
                  </a:extLst>
                </p:cNvPr>
                <p:cNvGrpSpPr/>
                <p:nvPr userDrawn="1"/>
              </p:nvGrpSpPr>
              <p:grpSpPr>
                <a:xfrm>
                  <a:off x="-2652453" y="431583"/>
                  <a:ext cx="294076" cy="231526"/>
                  <a:chOff x="-3634116" y="700986"/>
                  <a:chExt cx="182598" cy="143759"/>
                </a:xfrm>
              </p:grpSpPr>
              <p:grpSp>
                <p:nvGrpSpPr>
                  <p:cNvPr id="354" name="Groep 353">
                    <a:extLst>
                      <a:ext uri="{FF2B5EF4-FFF2-40B4-BE49-F238E27FC236}">
                        <a16:creationId xmlns:a16="http://schemas.microsoft.com/office/drawing/2014/main" id="{D3E174FE-8858-4CA9-A0FE-B0B8FA037AEA}"/>
                      </a:ext>
                    </a:extLst>
                  </p:cNvPr>
                  <p:cNvGrpSpPr/>
                  <p:nvPr userDrawn="1"/>
                </p:nvGrpSpPr>
                <p:grpSpPr>
                  <a:xfrm>
                    <a:off x="-3634116" y="700986"/>
                    <a:ext cx="182598" cy="143759"/>
                    <a:chOff x="-3634116" y="700986"/>
                    <a:chExt cx="182598" cy="143759"/>
                  </a:xfrm>
                </p:grpSpPr>
                <p:cxnSp>
                  <p:nvCxnSpPr>
                    <p:cNvPr id="358" name="Rechte verbindingslijn 357">
                      <a:extLst>
                        <a:ext uri="{FF2B5EF4-FFF2-40B4-BE49-F238E27FC236}">
                          <a16:creationId xmlns:a16="http://schemas.microsoft.com/office/drawing/2014/main" id="{B8638688-72B1-4349-9913-E34F7D24465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59" name="Rechte verbindingslijn 358">
                      <a:extLst>
                        <a:ext uri="{FF2B5EF4-FFF2-40B4-BE49-F238E27FC236}">
                          <a16:creationId xmlns:a16="http://schemas.microsoft.com/office/drawing/2014/main" id="{A449D089-8181-4AA2-BC24-86B165DD7F28}"/>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60" name="Rechte verbindingslijn 359">
                      <a:extLst>
                        <a:ext uri="{FF2B5EF4-FFF2-40B4-BE49-F238E27FC236}">
                          <a16:creationId xmlns:a16="http://schemas.microsoft.com/office/drawing/2014/main" id="{BF91E272-B113-4689-A46D-282D24B4193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61" name="Rechte verbindingslijn 360">
                      <a:extLst>
                        <a:ext uri="{FF2B5EF4-FFF2-40B4-BE49-F238E27FC236}">
                          <a16:creationId xmlns:a16="http://schemas.microsoft.com/office/drawing/2014/main" id="{EC1E3198-7FF6-4E26-9589-E37A5994293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9418E550-56B2-4EF2-990D-906C6FB4CD2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55" name="Groep 354">
                    <a:extLst>
                      <a:ext uri="{FF2B5EF4-FFF2-40B4-BE49-F238E27FC236}">
                        <a16:creationId xmlns:a16="http://schemas.microsoft.com/office/drawing/2014/main" id="{A6862AB4-0AD2-4E76-A072-8505D2299792}"/>
                      </a:ext>
                    </a:extLst>
                  </p:cNvPr>
                  <p:cNvGrpSpPr/>
                  <p:nvPr userDrawn="1"/>
                </p:nvGrpSpPr>
                <p:grpSpPr>
                  <a:xfrm>
                    <a:off x="-3634047" y="735854"/>
                    <a:ext cx="88801" cy="72568"/>
                    <a:chOff x="-2091059" y="1395403"/>
                    <a:chExt cx="157316" cy="128558"/>
                  </a:xfrm>
                </p:grpSpPr>
                <p:sp>
                  <p:nvSpPr>
                    <p:cNvPr id="356" name="Rechthoek 355">
                      <a:extLst>
                        <a:ext uri="{FF2B5EF4-FFF2-40B4-BE49-F238E27FC236}">
                          <a16:creationId xmlns:a16="http://schemas.microsoft.com/office/drawing/2014/main" id="{A8AF7EA4-061F-4D9C-969E-BF974232023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57" name="Pijl: punthaak 356">
                      <a:extLst>
                        <a:ext uri="{FF2B5EF4-FFF2-40B4-BE49-F238E27FC236}">
                          <a16:creationId xmlns:a16="http://schemas.microsoft.com/office/drawing/2014/main" id="{ADCF9CE3-C663-4782-8C65-F80DAAC17CA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38" name="Groep 337">
                <a:extLst>
                  <a:ext uri="{FF2B5EF4-FFF2-40B4-BE49-F238E27FC236}">
                    <a16:creationId xmlns:a16="http://schemas.microsoft.com/office/drawing/2014/main" id="{BCD8E005-759B-409C-A2FB-C8E93945FA2F}"/>
                  </a:ext>
                </a:extLst>
              </p:cNvPr>
              <p:cNvGrpSpPr/>
              <p:nvPr userDrawn="1"/>
            </p:nvGrpSpPr>
            <p:grpSpPr>
              <a:xfrm>
                <a:off x="-2425037" y="781500"/>
                <a:ext cx="357690" cy="330595"/>
                <a:chOff x="-2721817" y="782525"/>
                <a:chExt cx="432805" cy="400021"/>
              </a:xfrm>
            </p:grpSpPr>
            <p:sp>
              <p:nvSpPr>
                <p:cNvPr id="341" name="Rechthoek 340">
                  <a:extLst>
                    <a:ext uri="{FF2B5EF4-FFF2-40B4-BE49-F238E27FC236}">
                      <a16:creationId xmlns:a16="http://schemas.microsoft.com/office/drawing/2014/main" id="{906FEB8C-9C81-490A-9811-A49EC1BE3F0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42" name="Groep 341">
                  <a:extLst>
                    <a:ext uri="{FF2B5EF4-FFF2-40B4-BE49-F238E27FC236}">
                      <a16:creationId xmlns:a16="http://schemas.microsoft.com/office/drawing/2014/main" id="{7CF4158C-C833-4504-BB3A-A11C01ADF087}"/>
                    </a:ext>
                  </a:extLst>
                </p:cNvPr>
                <p:cNvGrpSpPr/>
                <p:nvPr userDrawn="1"/>
              </p:nvGrpSpPr>
              <p:grpSpPr>
                <a:xfrm>
                  <a:off x="-2652453" y="866772"/>
                  <a:ext cx="294076" cy="231526"/>
                  <a:chOff x="-3310843" y="700986"/>
                  <a:chExt cx="182598" cy="143759"/>
                </a:xfrm>
              </p:grpSpPr>
              <p:grpSp>
                <p:nvGrpSpPr>
                  <p:cNvPr id="343" name="Groep 342">
                    <a:extLst>
                      <a:ext uri="{FF2B5EF4-FFF2-40B4-BE49-F238E27FC236}">
                        <a16:creationId xmlns:a16="http://schemas.microsoft.com/office/drawing/2014/main" id="{1582C828-B804-4BE8-B47D-FCDC7BBE5209}"/>
                      </a:ext>
                    </a:extLst>
                  </p:cNvPr>
                  <p:cNvGrpSpPr/>
                  <p:nvPr userDrawn="1"/>
                </p:nvGrpSpPr>
                <p:grpSpPr>
                  <a:xfrm>
                    <a:off x="-3310843" y="700986"/>
                    <a:ext cx="182598" cy="143759"/>
                    <a:chOff x="-3310843" y="700986"/>
                    <a:chExt cx="182598" cy="143759"/>
                  </a:xfrm>
                </p:grpSpPr>
                <p:cxnSp>
                  <p:nvCxnSpPr>
                    <p:cNvPr id="347" name="Rechte verbindingslijn 346">
                      <a:extLst>
                        <a:ext uri="{FF2B5EF4-FFF2-40B4-BE49-F238E27FC236}">
                          <a16:creationId xmlns:a16="http://schemas.microsoft.com/office/drawing/2014/main" id="{D668F080-4415-4CBB-9DD1-7688237BECB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5ABAA773-AC19-4267-9599-F4690BB53C5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0708D3FA-9BAF-4C2F-81A3-1A2C110AD1E7}"/>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50" name="Rechte verbindingslijn 349">
                      <a:extLst>
                        <a:ext uri="{FF2B5EF4-FFF2-40B4-BE49-F238E27FC236}">
                          <a16:creationId xmlns:a16="http://schemas.microsoft.com/office/drawing/2014/main" id="{B030F541-824F-423E-8A89-2BD72A56BFF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51" name="Rechte verbindingslijn 350">
                      <a:extLst>
                        <a:ext uri="{FF2B5EF4-FFF2-40B4-BE49-F238E27FC236}">
                          <a16:creationId xmlns:a16="http://schemas.microsoft.com/office/drawing/2014/main" id="{210C7F8F-3E1C-40C6-B700-51BEDE24B530}"/>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44" name="Groep 343">
                    <a:extLst>
                      <a:ext uri="{FF2B5EF4-FFF2-40B4-BE49-F238E27FC236}">
                        <a16:creationId xmlns:a16="http://schemas.microsoft.com/office/drawing/2014/main" id="{8F406B9C-D62A-476D-ACFD-FFFED04CF50A}"/>
                      </a:ext>
                    </a:extLst>
                  </p:cNvPr>
                  <p:cNvGrpSpPr/>
                  <p:nvPr userDrawn="1"/>
                </p:nvGrpSpPr>
                <p:grpSpPr>
                  <a:xfrm flipH="1">
                    <a:off x="-3310774" y="735854"/>
                    <a:ext cx="88801" cy="72568"/>
                    <a:chOff x="-2091059" y="1395403"/>
                    <a:chExt cx="157316" cy="128558"/>
                  </a:xfrm>
                </p:grpSpPr>
                <p:sp>
                  <p:nvSpPr>
                    <p:cNvPr id="345" name="Rechthoek 344">
                      <a:extLst>
                        <a:ext uri="{FF2B5EF4-FFF2-40B4-BE49-F238E27FC236}">
                          <a16:creationId xmlns:a16="http://schemas.microsoft.com/office/drawing/2014/main" id="{B56B302C-2B12-4206-846F-E8DD9867B6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46" name="Pijl: punthaak 345">
                      <a:extLst>
                        <a:ext uri="{FF2B5EF4-FFF2-40B4-BE49-F238E27FC236}">
                          <a16:creationId xmlns:a16="http://schemas.microsoft.com/office/drawing/2014/main" id="{80D30022-39AA-4521-B6E3-A3C3BEFE5FE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39" name="Rechthoek 338">
                <a:extLst>
                  <a:ext uri="{FF2B5EF4-FFF2-40B4-BE49-F238E27FC236}">
                    <a16:creationId xmlns:a16="http://schemas.microsoft.com/office/drawing/2014/main" id="{7D6AD4B8-8793-4756-B837-C5E0AAEF876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40" name="Rechthoek 339">
                <a:extLst>
                  <a:ext uri="{FF2B5EF4-FFF2-40B4-BE49-F238E27FC236}">
                    <a16:creationId xmlns:a16="http://schemas.microsoft.com/office/drawing/2014/main" id="{96D89153-A0FD-4860-8753-8736481603D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13" name="Rechte verbindingslijn 312">
              <a:extLst>
                <a:ext uri="{FF2B5EF4-FFF2-40B4-BE49-F238E27FC236}">
                  <a16:creationId xmlns:a16="http://schemas.microsoft.com/office/drawing/2014/main" id="{5F76A6E5-4858-4C23-AC19-8436E6602461}"/>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14" name="Rechthoek 313">
              <a:extLst>
                <a:ext uri="{FF2B5EF4-FFF2-40B4-BE49-F238E27FC236}">
                  <a16:creationId xmlns:a16="http://schemas.microsoft.com/office/drawing/2014/main" id="{CF32BC31-02D3-42C8-8D1C-AA544468A86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5" name="Ovaal 314">
              <a:extLst>
                <a:ext uri="{FF2B5EF4-FFF2-40B4-BE49-F238E27FC236}">
                  <a16:creationId xmlns:a16="http://schemas.microsoft.com/office/drawing/2014/main" id="{5180D60B-A16A-40AA-845F-D50838484E7B}"/>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6" name="Rechthoek 315">
              <a:extLst>
                <a:ext uri="{FF2B5EF4-FFF2-40B4-BE49-F238E27FC236}">
                  <a16:creationId xmlns:a16="http://schemas.microsoft.com/office/drawing/2014/main" id="{6140E930-7A42-4182-AA95-7826F8599B38}"/>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17" name="Ovaal 316">
              <a:extLst>
                <a:ext uri="{FF2B5EF4-FFF2-40B4-BE49-F238E27FC236}">
                  <a16:creationId xmlns:a16="http://schemas.microsoft.com/office/drawing/2014/main" id="{9CAAB7AF-18F8-4831-9CAE-73C9A160DCA0}"/>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18" name="Rechthoek 317">
              <a:extLst>
                <a:ext uri="{FF2B5EF4-FFF2-40B4-BE49-F238E27FC236}">
                  <a16:creationId xmlns:a16="http://schemas.microsoft.com/office/drawing/2014/main" id="{42F56C63-86E2-43D7-BC04-C02A6D571913}"/>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19" name="Ovaal 318">
              <a:extLst>
                <a:ext uri="{FF2B5EF4-FFF2-40B4-BE49-F238E27FC236}">
                  <a16:creationId xmlns:a16="http://schemas.microsoft.com/office/drawing/2014/main" id="{23C4633F-6A07-4822-B1F5-6B20C8D87E35}"/>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20" name="Rechthoek 319">
              <a:extLst>
                <a:ext uri="{FF2B5EF4-FFF2-40B4-BE49-F238E27FC236}">
                  <a16:creationId xmlns:a16="http://schemas.microsoft.com/office/drawing/2014/main" id="{DEB0A086-1111-4AB4-9AD5-DD7775735DF8}"/>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21" name="Ovaal 320">
              <a:extLst>
                <a:ext uri="{FF2B5EF4-FFF2-40B4-BE49-F238E27FC236}">
                  <a16:creationId xmlns:a16="http://schemas.microsoft.com/office/drawing/2014/main" id="{F2789F1D-4A82-4DA2-B9D7-616E885A6F88}"/>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22" name="Rechthoek 321">
              <a:extLst>
                <a:ext uri="{FF2B5EF4-FFF2-40B4-BE49-F238E27FC236}">
                  <a16:creationId xmlns:a16="http://schemas.microsoft.com/office/drawing/2014/main" id="{CD5BBC9B-3BD9-4CA3-8B0A-CEEED7165B83}"/>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23" name="Rechthoek 322">
              <a:extLst>
                <a:ext uri="{FF2B5EF4-FFF2-40B4-BE49-F238E27FC236}">
                  <a16:creationId xmlns:a16="http://schemas.microsoft.com/office/drawing/2014/main" id="{DB6A35F0-813D-4860-89AC-BEE9DA357E81}"/>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24" name="Rechte verbindingslijn 323">
              <a:extLst>
                <a:ext uri="{FF2B5EF4-FFF2-40B4-BE49-F238E27FC236}">
                  <a16:creationId xmlns:a16="http://schemas.microsoft.com/office/drawing/2014/main" id="{A58D0377-EA26-4D0E-A18D-45DB404DB7AF}"/>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25" name="Ovaal 324">
              <a:extLst>
                <a:ext uri="{FF2B5EF4-FFF2-40B4-BE49-F238E27FC236}">
                  <a16:creationId xmlns:a16="http://schemas.microsoft.com/office/drawing/2014/main" id="{2E0C2D67-0BC2-41D7-9DF5-3E03E433292C}"/>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26" name="Rechthoek 325">
              <a:extLst>
                <a:ext uri="{FF2B5EF4-FFF2-40B4-BE49-F238E27FC236}">
                  <a16:creationId xmlns:a16="http://schemas.microsoft.com/office/drawing/2014/main" id="{992CBF55-359F-4DEB-B150-894282698C3E}"/>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327" name="Ovaal 326">
              <a:extLst>
                <a:ext uri="{FF2B5EF4-FFF2-40B4-BE49-F238E27FC236}">
                  <a16:creationId xmlns:a16="http://schemas.microsoft.com/office/drawing/2014/main" id="{BA5694DC-83A2-4635-8D3C-4E5F8B00A33A}"/>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28" name="Rechthoek 327">
              <a:extLst>
                <a:ext uri="{FF2B5EF4-FFF2-40B4-BE49-F238E27FC236}">
                  <a16:creationId xmlns:a16="http://schemas.microsoft.com/office/drawing/2014/main" id="{B1F18ECE-4948-4A0D-AB74-3CF7D3C2040A}"/>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177" name="Groep 176">
            <a:extLst>
              <a:ext uri="{FF2B5EF4-FFF2-40B4-BE49-F238E27FC236}">
                <a16:creationId xmlns:a16="http://schemas.microsoft.com/office/drawing/2014/main" id="{78C6F4E0-5D60-45C8-9FAE-E6FFE355A4C5}"/>
              </a:ext>
            </a:extLst>
          </p:cNvPr>
          <p:cNvGrpSpPr/>
          <p:nvPr userDrawn="1"/>
        </p:nvGrpSpPr>
        <p:grpSpPr>
          <a:xfrm>
            <a:off x="12391601" y="2"/>
            <a:ext cx="3183678" cy="4278621"/>
            <a:chOff x="12391601" y="0"/>
            <a:chExt cx="3183678" cy="4278621"/>
          </a:xfrm>
        </p:grpSpPr>
        <p:sp>
          <p:nvSpPr>
            <p:cNvPr id="178" name="Rechthoek 177">
              <a:extLst>
                <a:ext uri="{FF2B5EF4-FFF2-40B4-BE49-F238E27FC236}">
                  <a16:creationId xmlns:a16="http://schemas.microsoft.com/office/drawing/2014/main" id="{0C22893C-BA40-4F30-B310-FF8144B6CFF0}"/>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79" name="Ovaal 178">
              <a:extLst>
                <a:ext uri="{FF2B5EF4-FFF2-40B4-BE49-F238E27FC236}">
                  <a16:creationId xmlns:a16="http://schemas.microsoft.com/office/drawing/2014/main" id="{79CAE5B3-89CD-4DC8-A8BF-08FB15BE0D3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0" name="Rechte verbindingslijn 179">
              <a:extLst>
                <a:ext uri="{FF2B5EF4-FFF2-40B4-BE49-F238E27FC236}">
                  <a16:creationId xmlns:a16="http://schemas.microsoft.com/office/drawing/2014/main" id="{D40955E8-D7A3-465A-9964-568A9EFC6B9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81" name="Rechte verbindingslijn 180">
              <a:extLst>
                <a:ext uri="{FF2B5EF4-FFF2-40B4-BE49-F238E27FC236}">
                  <a16:creationId xmlns:a16="http://schemas.microsoft.com/office/drawing/2014/main" id="{2FAF3A56-9A51-4CBE-8098-8F9571346DE9}"/>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82" name="Rechthoek 181">
              <a:extLst>
                <a:ext uri="{FF2B5EF4-FFF2-40B4-BE49-F238E27FC236}">
                  <a16:creationId xmlns:a16="http://schemas.microsoft.com/office/drawing/2014/main" id="{F0BF308B-466D-4584-BC8E-FBC1CEEB93E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83" name="Rechte verbindingslijn 182">
              <a:extLst>
                <a:ext uri="{FF2B5EF4-FFF2-40B4-BE49-F238E27FC236}">
                  <a16:creationId xmlns:a16="http://schemas.microsoft.com/office/drawing/2014/main" id="{85046990-5994-4AEF-B547-B5D72417368B}"/>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84" name="Ovaal 183">
              <a:extLst>
                <a:ext uri="{FF2B5EF4-FFF2-40B4-BE49-F238E27FC236}">
                  <a16:creationId xmlns:a16="http://schemas.microsoft.com/office/drawing/2014/main" id="{6DBF0669-0C69-46DB-9428-DB7E44A6A3BC}"/>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5" name="Rechthoek 184">
              <a:extLst>
                <a:ext uri="{FF2B5EF4-FFF2-40B4-BE49-F238E27FC236}">
                  <a16:creationId xmlns:a16="http://schemas.microsoft.com/office/drawing/2014/main" id="{0B02E7B6-F96B-4E75-8C7C-ADE41BD6F34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86" name="Groep 185">
              <a:extLst>
                <a:ext uri="{FF2B5EF4-FFF2-40B4-BE49-F238E27FC236}">
                  <a16:creationId xmlns:a16="http://schemas.microsoft.com/office/drawing/2014/main" id="{E5FEA21E-BCB2-4A26-811D-05A0C0A904AC}"/>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26335F41-3D56-42FE-898F-07B7FDA75DC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18" name="Rechte verbindingslijn 217">
                <a:extLst>
                  <a:ext uri="{FF2B5EF4-FFF2-40B4-BE49-F238E27FC236}">
                    <a16:creationId xmlns:a16="http://schemas.microsoft.com/office/drawing/2014/main" id="{C440C38C-20D8-4DED-8D3D-6F5ABD4C3C9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A350DD35-2561-4602-A3EF-FE6A7E9F12B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87" name="Groep 186">
              <a:extLst>
                <a:ext uri="{FF2B5EF4-FFF2-40B4-BE49-F238E27FC236}">
                  <a16:creationId xmlns:a16="http://schemas.microsoft.com/office/drawing/2014/main" id="{C0B2A3FC-E4A4-44DE-B669-20ADDC625114}"/>
                </a:ext>
              </a:extLst>
            </p:cNvPr>
            <p:cNvGrpSpPr/>
            <p:nvPr userDrawn="1"/>
          </p:nvGrpSpPr>
          <p:grpSpPr>
            <a:xfrm>
              <a:off x="12757282" y="1141626"/>
              <a:ext cx="294789" cy="318834"/>
              <a:chOff x="14466489" y="1001522"/>
              <a:chExt cx="290627" cy="314333"/>
            </a:xfrm>
          </p:grpSpPr>
          <p:sp>
            <p:nvSpPr>
              <p:cNvPr id="211" name="Rechthoek 210">
                <a:extLst>
                  <a:ext uri="{FF2B5EF4-FFF2-40B4-BE49-F238E27FC236}">
                    <a16:creationId xmlns:a16="http://schemas.microsoft.com/office/drawing/2014/main" id="{EBC83DBF-8E4B-46C1-9008-55DC25F2DEA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12" name="Ovaal 211">
                <a:extLst>
                  <a:ext uri="{FF2B5EF4-FFF2-40B4-BE49-F238E27FC236}">
                    <a16:creationId xmlns:a16="http://schemas.microsoft.com/office/drawing/2014/main" id="{A3A43F3B-3700-4B89-9793-7D3036DECC4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3" name="Vrije vorm: vorm 212">
                <a:extLst>
                  <a:ext uri="{FF2B5EF4-FFF2-40B4-BE49-F238E27FC236}">
                    <a16:creationId xmlns:a16="http://schemas.microsoft.com/office/drawing/2014/main" id="{7D990796-41AD-4004-9980-E2DF175C36AD}"/>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4" name="Rechthoek: afgeronde hoeken 213">
                <a:extLst>
                  <a:ext uri="{FF2B5EF4-FFF2-40B4-BE49-F238E27FC236}">
                    <a16:creationId xmlns:a16="http://schemas.microsoft.com/office/drawing/2014/main" id="{0825E50A-14F4-4E0B-9361-E3D92A7FCCC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15" name="Rechte verbindingslijn 214">
                <a:extLst>
                  <a:ext uri="{FF2B5EF4-FFF2-40B4-BE49-F238E27FC236}">
                    <a16:creationId xmlns:a16="http://schemas.microsoft.com/office/drawing/2014/main" id="{326055B3-01A6-4D15-9109-D66B3E25A20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16" name="Rechte verbindingslijn 215">
                <a:extLst>
                  <a:ext uri="{FF2B5EF4-FFF2-40B4-BE49-F238E27FC236}">
                    <a16:creationId xmlns:a16="http://schemas.microsoft.com/office/drawing/2014/main" id="{ED193875-86D2-4159-BDCD-C7F71AF80FC1}"/>
                  </a:ext>
                </a:extLst>
              </p:cNvPr>
              <p:cNvCxnSpPr>
                <a:cxnSpLocks/>
                <a:stCxn id="21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88" name="Ovaal 187">
              <a:extLst>
                <a:ext uri="{FF2B5EF4-FFF2-40B4-BE49-F238E27FC236}">
                  <a16:creationId xmlns:a16="http://schemas.microsoft.com/office/drawing/2014/main" id="{3A41CEB9-2038-4A12-AE9B-9F111913363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89" name="Rechthoek 188">
              <a:extLst>
                <a:ext uri="{FF2B5EF4-FFF2-40B4-BE49-F238E27FC236}">
                  <a16:creationId xmlns:a16="http://schemas.microsoft.com/office/drawing/2014/main" id="{0FD90EC1-BC0C-4BE7-AC91-6B70F63783D2}"/>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90" name="Rechte verbindingslijn 189">
              <a:extLst>
                <a:ext uri="{FF2B5EF4-FFF2-40B4-BE49-F238E27FC236}">
                  <a16:creationId xmlns:a16="http://schemas.microsoft.com/office/drawing/2014/main" id="{175003E0-947F-493D-87F2-8723C6A8C12C}"/>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91" name="Groep 190">
              <a:extLst>
                <a:ext uri="{FF2B5EF4-FFF2-40B4-BE49-F238E27FC236}">
                  <a16:creationId xmlns:a16="http://schemas.microsoft.com/office/drawing/2014/main" id="{1598CEBC-2D1A-4008-A56D-EDBF216EE1C0}"/>
                </a:ext>
              </a:extLst>
            </p:cNvPr>
            <p:cNvGrpSpPr/>
            <p:nvPr userDrawn="1"/>
          </p:nvGrpSpPr>
          <p:grpSpPr>
            <a:xfrm>
              <a:off x="12696514" y="3540678"/>
              <a:ext cx="514284" cy="612918"/>
              <a:chOff x="12682980" y="3403241"/>
              <a:chExt cx="622284" cy="741632"/>
            </a:xfrm>
          </p:grpSpPr>
          <p:grpSp>
            <p:nvGrpSpPr>
              <p:cNvPr id="195" name="Groep 194">
                <a:extLst>
                  <a:ext uri="{FF2B5EF4-FFF2-40B4-BE49-F238E27FC236}">
                    <a16:creationId xmlns:a16="http://schemas.microsoft.com/office/drawing/2014/main" id="{F182831D-3676-401A-974B-FAB465349B92}"/>
                  </a:ext>
                </a:extLst>
              </p:cNvPr>
              <p:cNvGrpSpPr/>
              <p:nvPr userDrawn="1"/>
            </p:nvGrpSpPr>
            <p:grpSpPr>
              <a:xfrm>
                <a:off x="12771568" y="3403241"/>
                <a:ext cx="467138" cy="448489"/>
                <a:chOff x="12782195" y="3403241"/>
                <a:chExt cx="467138" cy="448489"/>
              </a:xfrm>
            </p:grpSpPr>
            <p:grpSp>
              <p:nvGrpSpPr>
                <p:cNvPr id="198" name="Groep 197">
                  <a:extLst>
                    <a:ext uri="{FF2B5EF4-FFF2-40B4-BE49-F238E27FC236}">
                      <a16:creationId xmlns:a16="http://schemas.microsoft.com/office/drawing/2014/main" id="{0665E7BB-8ABA-4736-993F-5FECA7203C4E}"/>
                    </a:ext>
                  </a:extLst>
                </p:cNvPr>
                <p:cNvGrpSpPr/>
                <p:nvPr userDrawn="1"/>
              </p:nvGrpSpPr>
              <p:grpSpPr>
                <a:xfrm>
                  <a:off x="12782195" y="3403241"/>
                  <a:ext cx="412967" cy="393907"/>
                  <a:chOff x="13554906" y="3320109"/>
                  <a:chExt cx="443906" cy="423419"/>
                </a:xfrm>
              </p:grpSpPr>
              <p:grpSp>
                <p:nvGrpSpPr>
                  <p:cNvPr id="205" name="Groep 204">
                    <a:extLst>
                      <a:ext uri="{FF2B5EF4-FFF2-40B4-BE49-F238E27FC236}">
                        <a16:creationId xmlns:a16="http://schemas.microsoft.com/office/drawing/2014/main" id="{F70C4021-3530-4634-96F9-21ED1F2E8908}"/>
                      </a:ext>
                    </a:extLst>
                  </p:cNvPr>
                  <p:cNvGrpSpPr/>
                  <p:nvPr userDrawn="1"/>
                </p:nvGrpSpPr>
                <p:grpSpPr>
                  <a:xfrm>
                    <a:off x="13554906" y="3320109"/>
                    <a:ext cx="443906" cy="423419"/>
                    <a:chOff x="12909684" y="1276143"/>
                    <a:chExt cx="443906" cy="423419"/>
                  </a:xfrm>
                </p:grpSpPr>
                <p:sp>
                  <p:nvSpPr>
                    <p:cNvPr id="208" name="Rechthoek 207">
                      <a:extLst>
                        <a:ext uri="{FF2B5EF4-FFF2-40B4-BE49-F238E27FC236}">
                          <a16:creationId xmlns:a16="http://schemas.microsoft.com/office/drawing/2014/main" id="{D5C1438D-A735-4167-A249-AA61399B404C}"/>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09" name="Rechthoek 208">
                      <a:extLst>
                        <a:ext uri="{FF2B5EF4-FFF2-40B4-BE49-F238E27FC236}">
                          <a16:creationId xmlns:a16="http://schemas.microsoft.com/office/drawing/2014/main" id="{F21FF678-A67F-4BAB-84A6-A8FEB9A213A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10" name="Ovaal 209">
                      <a:extLst>
                        <a:ext uri="{FF2B5EF4-FFF2-40B4-BE49-F238E27FC236}">
                          <a16:creationId xmlns:a16="http://schemas.microsoft.com/office/drawing/2014/main" id="{29BC043A-5D61-4FFF-AA22-9693944D309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206" name="Afbeelding 205">
                    <a:extLst>
                      <a:ext uri="{FF2B5EF4-FFF2-40B4-BE49-F238E27FC236}">
                        <a16:creationId xmlns:a16="http://schemas.microsoft.com/office/drawing/2014/main" id="{079F8545-AB46-4034-A22C-6B991D102EDA}"/>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07" name="Afbeelding 206">
                    <a:extLst>
                      <a:ext uri="{FF2B5EF4-FFF2-40B4-BE49-F238E27FC236}">
                        <a16:creationId xmlns:a16="http://schemas.microsoft.com/office/drawing/2014/main" id="{9DEE9B1E-4595-4571-AB13-AD348943704B}"/>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99" name="Groep 198">
                  <a:extLst>
                    <a:ext uri="{FF2B5EF4-FFF2-40B4-BE49-F238E27FC236}">
                      <a16:creationId xmlns:a16="http://schemas.microsoft.com/office/drawing/2014/main" id="{798D5E4C-42BE-41E8-9B27-B327CD424938}"/>
                    </a:ext>
                  </a:extLst>
                </p:cNvPr>
                <p:cNvGrpSpPr/>
                <p:nvPr userDrawn="1"/>
              </p:nvGrpSpPr>
              <p:grpSpPr>
                <a:xfrm>
                  <a:off x="13103513" y="3705268"/>
                  <a:ext cx="145820" cy="146462"/>
                  <a:chOff x="13096169" y="3602278"/>
                  <a:chExt cx="145820" cy="146462"/>
                </a:xfrm>
              </p:grpSpPr>
              <p:sp>
                <p:nvSpPr>
                  <p:cNvPr id="203" name="Rechthoek 202">
                    <a:extLst>
                      <a:ext uri="{FF2B5EF4-FFF2-40B4-BE49-F238E27FC236}">
                        <a16:creationId xmlns:a16="http://schemas.microsoft.com/office/drawing/2014/main" id="{9426A64A-A40A-4E0A-BE4B-4F4A5B08C32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04" name="Rechthoek 203">
                    <a:extLst>
                      <a:ext uri="{FF2B5EF4-FFF2-40B4-BE49-F238E27FC236}">
                        <a16:creationId xmlns:a16="http://schemas.microsoft.com/office/drawing/2014/main" id="{232A4A1C-3722-4DEA-8F45-097FDB8D88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00" name="Groep 199">
                  <a:extLst>
                    <a:ext uri="{FF2B5EF4-FFF2-40B4-BE49-F238E27FC236}">
                      <a16:creationId xmlns:a16="http://schemas.microsoft.com/office/drawing/2014/main" id="{A963ED44-16C6-43CE-BB5E-4F3D30829AD7}"/>
                    </a:ext>
                  </a:extLst>
                </p:cNvPr>
                <p:cNvGrpSpPr/>
                <p:nvPr userDrawn="1"/>
              </p:nvGrpSpPr>
              <p:grpSpPr>
                <a:xfrm rot="10800000">
                  <a:off x="13061402" y="3665637"/>
                  <a:ext cx="145820" cy="146462"/>
                  <a:chOff x="13096169" y="3602278"/>
                  <a:chExt cx="145820" cy="146462"/>
                </a:xfrm>
              </p:grpSpPr>
              <p:sp>
                <p:nvSpPr>
                  <p:cNvPr id="201" name="Rechthoek 200">
                    <a:extLst>
                      <a:ext uri="{FF2B5EF4-FFF2-40B4-BE49-F238E27FC236}">
                        <a16:creationId xmlns:a16="http://schemas.microsoft.com/office/drawing/2014/main" id="{70CEB185-DB8C-4786-B066-24AE0D25D99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02" name="Rechthoek 201">
                    <a:extLst>
                      <a:ext uri="{FF2B5EF4-FFF2-40B4-BE49-F238E27FC236}">
                        <a16:creationId xmlns:a16="http://schemas.microsoft.com/office/drawing/2014/main" id="{C7A02C0C-4BD5-430B-AA90-54B9D5A2104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196" name="Rechthoek 195">
                <a:extLst>
                  <a:ext uri="{FF2B5EF4-FFF2-40B4-BE49-F238E27FC236}">
                    <a16:creationId xmlns:a16="http://schemas.microsoft.com/office/drawing/2014/main" id="{088F75E5-3279-4406-ADED-7193A27BBF7C}"/>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197" name="Gelijkbenige driehoek 196">
                <a:extLst>
                  <a:ext uri="{FF2B5EF4-FFF2-40B4-BE49-F238E27FC236}">
                    <a16:creationId xmlns:a16="http://schemas.microsoft.com/office/drawing/2014/main" id="{4910FB32-4732-40BB-A8B7-3A645ED0E431}"/>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39748603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oud van twee - oranje">
    <p:spTree>
      <p:nvGrpSpPr>
        <p:cNvPr id="1" name=""/>
        <p:cNvGrpSpPr/>
        <p:nvPr/>
      </p:nvGrpSpPr>
      <p:grpSpPr>
        <a:xfrm>
          <a:off x="0" y="0"/>
          <a:ext cx="0" cy="0"/>
          <a:chOff x="0" y="0"/>
          <a:chExt cx="0" cy="0"/>
        </a:xfrm>
      </p:grpSpPr>
      <p:grpSp>
        <p:nvGrpSpPr>
          <p:cNvPr id="10" name="Groep 9"/>
          <p:cNvGrpSpPr/>
          <p:nvPr userDrawn="1"/>
        </p:nvGrpSpPr>
        <p:grpSpPr>
          <a:xfrm>
            <a:off x="8026593" y="1534407"/>
            <a:ext cx="3609281" cy="4474402"/>
            <a:chOff x="6014916" y="1914964"/>
            <a:chExt cx="2706961" cy="4474402"/>
          </a:xfrm>
          <a:solidFill>
            <a:schemeClr val="accent2"/>
          </a:solidFill>
        </p:grpSpPr>
        <p:sp>
          <p:nvSpPr>
            <p:cNvPr id="11" name="Vrije vorm 10"/>
            <p:cNvSpPr/>
            <p:nvPr/>
          </p:nvSpPr>
          <p:spPr>
            <a:xfrm>
              <a:off x="8377238" y="1914964"/>
              <a:ext cx="344639" cy="337506"/>
            </a:xfrm>
            <a:custGeom>
              <a:avLst/>
              <a:gdLst>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79937 w 2607128"/>
                <a:gd name="connsiteY7" fmla="*/ 176943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64946 w 2607128"/>
                <a:gd name="connsiteY7" fmla="*/ 181940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264946 w 2607128"/>
                <a:gd name="connsiteY6" fmla="*/ 181940 h 279788"/>
                <a:gd name="connsiteX7" fmla="*/ 2404269 w 2607128"/>
                <a:gd name="connsiteY7" fmla="*/ 111570 h 279788"/>
                <a:gd name="connsiteX8" fmla="*/ 2563503 w 2607128"/>
                <a:gd name="connsiteY8" fmla="*/ 436 h 279788"/>
                <a:gd name="connsiteX9" fmla="*/ 2570319 w 2607128"/>
                <a:gd name="connsiteY9" fmla="*/ 95 h 279788"/>
                <a:gd name="connsiteX0" fmla="*/ 305373 w 342182"/>
                <a:gd name="connsiteY0" fmla="*/ 95 h 279788"/>
                <a:gd name="connsiteX1" fmla="*/ 342182 w 342182"/>
                <a:gd name="connsiteY1" fmla="*/ 76704 h 279788"/>
                <a:gd name="connsiteX2" fmla="*/ 342182 w 342182"/>
                <a:gd name="connsiteY2" fmla="*/ 279788 h 279788"/>
                <a:gd name="connsiteX3" fmla="*/ 339262 w 342182"/>
                <a:gd name="connsiteY3" fmla="*/ 265325 h 279788"/>
                <a:gd name="connsiteX4" fmla="*/ 213326 w 342182"/>
                <a:gd name="connsiteY4" fmla="*/ 181849 h 279788"/>
                <a:gd name="connsiteX5" fmla="*/ 0 w 342182"/>
                <a:gd name="connsiteY5" fmla="*/ 181940 h 279788"/>
                <a:gd name="connsiteX6" fmla="*/ 139323 w 342182"/>
                <a:gd name="connsiteY6" fmla="*/ 111570 h 279788"/>
                <a:gd name="connsiteX7" fmla="*/ 298557 w 342182"/>
                <a:gd name="connsiteY7" fmla="*/ 436 h 279788"/>
                <a:gd name="connsiteX8" fmla="*/ 305373 w 342182"/>
                <a:gd name="connsiteY8" fmla="*/ 95 h 279788"/>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65325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41681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4424 w 347020"/>
                <a:gd name="connsiteY3" fmla="*/ 267744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4639"/>
                <a:gd name="connsiteY0" fmla="*/ 95 h 337506"/>
                <a:gd name="connsiteX1" fmla="*/ 342182 w 344639"/>
                <a:gd name="connsiteY1" fmla="*/ 76704 h 337506"/>
                <a:gd name="connsiteX2" fmla="*/ 344639 w 344639"/>
                <a:gd name="connsiteY2" fmla="*/ 337506 h 337506"/>
                <a:gd name="connsiteX3" fmla="*/ 334424 w 344639"/>
                <a:gd name="connsiteY3" fmla="*/ 267744 h 337506"/>
                <a:gd name="connsiteX4" fmla="*/ 213326 w 344639"/>
                <a:gd name="connsiteY4" fmla="*/ 181849 h 337506"/>
                <a:gd name="connsiteX5" fmla="*/ 0 w 344639"/>
                <a:gd name="connsiteY5" fmla="*/ 181940 h 337506"/>
                <a:gd name="connsiteX6" fmla="*/ 139323 w 344639"/>
                <a:gd name="connsiteY6" fmla="*/ 111570 h 337506"/>
                <a:gd name="connsiteX7" fmla="*/ 298557 w 344639"/>
                <a:gd name="connsiteY7" fmla="*/ 436 h 337506"/>
                <a:gd name="connsiteX8" fmla="*/ 305373 w 344639"/>
                <a:gd name="connsiteY8" fmla="*/ 95 h 33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639" h="337506">
                  <a:moveTo>
                    <a:pt x="305373" y="95"/>
                  </a:moveTo>
                  <a:cubicBezTo>
                    <a:pt x="317643" y="1117"/>
                    <a:pt x="342182" y="11331"/>
                    <a:pt x="342182" y="76704"/>
                  </a:cubicBezTo>
                  <a:cubicBezTo>
                    <a:pt x="343795" y="156494"/>
                    <a:pt x="343026" y="257716"/>
                    <a:pt x="344639" y="337506"/>
                  </a:cubicBezTo>
                  <a:cubicBezTo>
                    <a:pt x="340440" y="321396"/>
                    <a:pt x="338623" y="283854"/>
                    <a:pt x="334424" y="267744"/>
                  </a:cubicBezTo>
                  <a:cubicBezTo>
                    <a:pt x="313676" y="218689"/>
                    <a:pt x="269940" y="181849"/>
                    <a:pt x="213326" y="181849"/>
                  </a:cubicBezTo>
                  <a:lnTo>
                    <a:pt x="0" y="181940"/>
                  </a:lnTo>
                  <a:cubicBezTo>
                    <a:pt x="0" y="181940"/>
                    <a:pt x="100061" y="170406"/>
                    <a:pt x="139323" y="111570"/>
                  </a:cubicBezTo>
                  <a:cubicBezTo>
                    <a:pt x="139323" y="111570"/>
                    <a:pt x="235299" y="436"/>
                    <a:pt x="298557" y="436"/>
                  </a:cubicBezTo>
                  <a:cubicBezTo>
                    <a:pt x="298557" y="436"/>
                    <a:pt x="301284" y="-245"/>
                    <a:pt x="305373" y="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2" name="Afgeronde rechthoek 11"/>
            <p:cNvSpPr/>
            <p:nvPr/>
          </p:nvSpPr>
          <p:spPr>
            <a:xfrm>
              <a:off x="6014916" y="2088295"/>
              <a:ext cx="2706885" cy="4301071"/>
            </a:xfrm>
            <a:prstGeom prst="roundRect">
              <a:avLst>
                <a:gd name="adj" fmla="val 481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8" name="Afgeronde rechthoek 7"/>
          <p:cNvSpPr/>
          <p:nvPr userDrawn="1"/>
        </p:nvSpPr>
        <p:spPr>
          <a:xfrm>
            <a:off x="658302" y="1708486"/>
            <a:ext cx="7136801" cy="4268241"/>
          </a:xfrm>
          <a:prstGeom prst="roundRect">
            <a:avLst>
              <a:gd name="adj" fmla="val 3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 name="Title 1"/>
          <p:cNvSpPr>
            <a:spLocks noGrp="1"/>
          </p:cNvSpPr>
          <p:nvPr>
            <p:ph type="title"/>
          </p:nvPr>
        </p:nvSpPr>
        <p:spPr>
          <a:xfrm>
            <a:off x="502652" y="533569"/>
            <a:ext cx="11133221" cy="584775"/>
          </a:xfrm>
        </p:spPr>
        <p:txBody>
          <a:bodyPr>
            <a:spAutoFit/>
          </a:bodyPr>
          <a:lstStyle>
            <a:lvl1pPr>
              <a:defRPr>
                <a:solidFill>
                  <a:schemeClr val="accent2"/>
                </a:solidFill>
              </a:defRPr>
            </a:lvl1pPr>
          </a:lstStyle>
          <a:p>
            <a:r>
              <a:rPr lang="nl-NL" noProof="0"/>
              <a:t>Klik om de stijl te bewerken</a:t>
            </a:r>
          </a:p>
        </p:txBody>
      </p:sp>
      <p:sp>
        <p:nvSpPr>
          <p:cNvPr id="13" name="Tekstvak 12"/>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Inhoud van twee</a:t>
            </a:r>
            <a:r>
              <a:rPr lang="nl-NL" sz="1600" b="1" baseline="0" noProof="0">
                <a:solidFill>
                  <a:schemeClr val="tx1"/>
                </a:solidFill>
              </a:rPr>
              <a:t> - oranje</a:t>
            </a:r>
            <a:endParaRPr lang="nl-NL" sz="1600" b="1" noProof="0">
              <a:solidFill>
                <a:schemeClr val="tx1"/>
              </a:solidFill>
            </a:endParaRPr>
          </a:p>
        </p:txBody>
      </p:sp>
      <p:sp>
        <p:nvSpPr>
          <p:cNvPr id="46"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51" name="Content Placeholder 2"/>
          <p:cNvSpPr>
            <a:spLocks noGrp="1"/>
          </p:cNvSpPr>
          <p:nvPr>
            <p:ph sz="half" idx="1"/>
          </p:nvPr>
        </p:nvSpPr>
        <p:spPr>
          <a:xfrm>
            <a:off x="762066" y="1708486"/>
            <a:ext cx="6916300" cy="389718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2" name="Content Placeholder 3"/>
          <p:cNvSpPr>
            <a:spLocks noGrp="1"/>
          </p:cNvSpPr>
          <p:nvPr>
            <p:ph sz="half" idx="2"/>
          </p:nvPr>
        </p:nvSpPr>
        <p:spPr bwMode="gray">
          <a:xfrm>
            <a:off x="8130359" y="1708485"/>
            <a:ext cx="3387191" cy="307777"/>
          </a:xfrm>
        </p:spPr>
        <p:txBody>
          <a:bodyPr>
            <a:spAutoFit/>
          </a:bodyPr>
          <a:lstStyle>
            <a:lvl1pP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p:txBody>
      </p:sp>
      <p:sp>
        <p:nvSpPr>
          <p:cNvPr id="54" name="Content Placeholder 3"/>
          <p:cNvSpPr>
            <a:spLocks noGrp="1"/>
          </p:cNvSpPr>
          <p:nvPr>
            <p:ph sz="half" idx="15"/>
          </p:nvPr>
        </p:nvSpPr>
        <p:spPr bwMode="gray">
          <a:xfrm>
            <a:off x="8130359" y="2315817"/>
            <a:ext cx="3387191" cy="3766524"/>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grpSp>
        <p:nvGrpSpPr>
          <p:cNvPr id="76" name="Groep 75"/>
          <p:cNvGrpSpPr/>
          <p:nvPr userDrawn="1"/>
        </p:nvGrpSpPr>
        <p:grpSpPr>
          <a:xfrm>
            <a:off x="-3279573" y="5020705"/>
            <a:ext cx="3086613" cy="1841358"/>
            <a:chOff x="8427776" y="4654945"/>
            <a:chExt cx="2314960" cy="1841358"/>
          </a:xfrm>
        </p:grpSpPr>
        <p:grpSp>
          <p:nvGrpSpPr>
            <p:cNvPr id="77" name="Groep 76"/>
            <p:cNvGrpSpPr/>
            <p:nvPr userDrawn="1"/>
          </p:nvGrpSpPr>
          <p:grpSpPr>
            <a:xfrm>
              <a:off x="8432864" y="4781014"/>
              <a:ext cx="2309872" cy="1592662"/>
              <a:chOff x="-3092517" y="-83840"/>
              <a:chExt cx="3136706" cy="2509126"/>
            </a:xfrm>
          </p:grpSpPr>
          <p:sp>
            <p:nvSpPr>
              <p:cNvPr id="80"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1" name="Ovaal 80"/>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2" name="Ovaal 81"/>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3" name="Ovaal 82"/>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4"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5"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6"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7" name="Ovaal 86"/>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88" name="Ovaal 87"/>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89"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78" name="Rechte verbindingslijn 77"/>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Rechte verbindingslijn 78"/>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90"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91" name="Tijdelijke aanduiding voor tekst 46"/>
          <p:cNvSpPr>
            <a:spLocks noGrp="1"/>
          </p:cNvSpPr>
          <p:nvPr userDrawn="1">
            <p:ph type="body" sz="quarter" idx="14" hasCustomPrompt="1"/>
          </p:nvPr>
        </p:nvSpPr>
        <p:spPr>
          <a:xfrm>
            <a:off x="762066" y="5611213"/>
            <a:ext cx="6916300" cy="476671"/>
          </a:xfrm>
        </p:spPr>
        <p:txBody>
          <a:bodyPr/>
          <a:lstStyle>
            <a:lvl1pPr>
              <a:lnSpc>
                <a:spcPts val="1100"/>
              </a:lnSpc>
              <a:defRPr sz="1000" i="1">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Legenda</a:t>
            </a:r>
          </a:p>
        </p:txBody>
      </p:sp>
      <p:grpSp>
        <p:nvGrpSpPr>
          <p:cNvPr id="53" name="Groep 52"/>
          <p:cNvGrpSpPr/>
          <p:nvPr userDrawn="1"/>
        </p:nvGrpSpPr>
        <p:grpSpPr>
          <a:xfrm>
            <a:off x="-3471145" y="-46322"/>
            <a:ext cx="3471145" cy="3781320"/>
            <a:chOff x="-2603359" y="-46322"/>
            <a:chExt cx="2603359" cy="3781320"/>
          </a:xfrm>
        </p:grpSpPr>
        <p:sp>
          <p:nvSpPr>
            <p:cNvPr id="92" name="Afgeronde rechthoek 91"/>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93"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94"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95"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6"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97" name="Afgeronde rechthoek 96"/>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98" name="Rechthoek 97"/>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99" name="Rechte verbindingslijn 98"/>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01"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2"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3"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4"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05"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06" name="Afgeronde rechthoek 105"/>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07"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8"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9"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10"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11"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37553429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KST / AFBEELDING (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2912620"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7A116090-8D55-4F82-9BED-76A33F249E36}"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AFBEELDING (L)</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3992874" y="1459111"/>
            <a:ext cx="7658873" cy="4119774"/>
          </a:xfrm>
          <a:prstGeom prst="roundRect">
            <a:avLst>
              <a:gd name="adj" fmla="val 1562"/>
            </a:avLst>
          </a:prstGeo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2" name="GRID" hidden="1">
            <a:extLst>
              <a:ext uri="{FF2B5EF4-FFF2-40B4-BE49-F238E27FC236}">
                <a16:creationId xmlns:a16="http://schemas.microsoft.com/office/drawing/2014/main" id="{1E41F764-1AFD-4406-8FC3-8AFDE81A144B}"/>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A48EBADC-7828-4BE0-96FE-54072374E48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4" name="Rechthoek 13">
              <a:extLst>
                <a:ext uri="{FF2B5EF4-FFF2-40B4-BE49-F238E27FC236}">
                  <a16:creationId xmlns:a16="http://schemas.microsoft.com/office/drawing/2014/main" id="{93FEF0DA-6152-49B4-88A9-FA1B029BA12E}"/>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5" name="Rechthoek 14">
              <a:extLst>
                <a:ext uri="{FF2B5EF4-FFF2-40B4-BE49-F238E27FC236}">
                  <a16:creationId xmlns:a16="http://schemas.microsoft.com/office/drawing/2014/main" id="{9D7895AD-EFA0-49FE-B48C-7F8CB364A30A}"/>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6" name="Rechthoek 15">
              <a:extLst>
                <a:ext uri="{FF2B5EF4-FFF2-40B4-BE49-F238E27FC236}">
                  <a16:creationId xmlns:a16="http://schemas.microsoft.com/office/drawing/2014/main" id="{CCFF143D-181F-426E-8325-F22238B7EEBE}"/>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0" name="Rechthoek 19">
              <a:extLst>
                <a:ext uri="{FF2B5EF4-FFF2-40B4-BE49-F238E27FC236}">
                  <a16:creationId xmlns:a16="http://schemas.microsoft.com/office/drawing/2014/main" id="{A0E79AA7-F8F1-455E-9B66-D81495328928}"/>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1" name="Rechthoek 20">
              <a:extLst>
                <a:ext uri="{FF2B5EF4-FFF2-40B4-BE49-F238E27FC236}">
                  <a16:creationId xmlns:a16="http://schemas.microsoft.com/office/drawing/2014/main" id="{533D6696-A362-4DD7-803F-2DC08411661E}"/>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3" name="Rechthoek 22">
              <a:extLst>
                <a:ext uri="{FF2B5EF4-FFF2-40B4-BE49-F238E27FC236}">
                  <a16:creationId xmlns:a16="http://schemas.microsoft.com/office/drawing/2014/main" id="{EFCCFC8E-71E5-444E-ACBB-E36F283C7588}"/>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4" name="Rechthoek 23">
              <a:extLst>
                <a:ext uri="{FF2B5EF4-FFF2-40B4-BE49-F238E27FC236}">
                  <a16:creationId xmlns:a16="http://schemas.microsoft.com/office/drawing/2014/main" id="{5D8956D1-457D-40F8-8190-FA6F756085CB}"/>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1AEE44CE-345A-41FC-8F3E-46B190D19250}"/>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B5CFE119-C5CF-4E3E-9E92-B99F66582E74}"/>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7" name="Rechthoek 26">
              <a:extLst>
                <a:ext uri="{FF2B5EF4-FFF2-40B4-BE49-F238E27FC236}">
                  <a16:creationId xmlns:a16="http://schemas.microsoft.com/office/drawing/2014/main" id="{3F952043-26FE-4C8E-A1A4-5780FB85A1A5}"/>
                </a:ext>
              </a:extLst>
            </p:cNvPr>
            <p:cNvSpPr/>
            <p:nvPr userDrawn="1"/>
          </p:nvSpPr>
          <p:spPr>
            <a:xfrm>
              <a:off x="5826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B1470838-9E0F-49A1-AFAE-65487F57FB08}"/>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9" name="Rechthoek 28">
              <a:extLst>
                <a:ext uri="{FF2B5EF4-FFF2-40B4-BE49-F238E27FC236}">
                  <a16:creationId xmlns:a16="http://schemas.microsoft.com/office/drawing/2014/main" id="{D9E6C3CF-16A6-4C4A-A370-DB04E3A4CF43}"/>
                </a:ext>
              </a:extLst>
            </p:cNvPr>
            <p:cNvSpPr/>
            <p:nvPr userDrawn="1"/>
          </p:nvSpPr>
          <p:spPr>
            <a:xfrm>
              <a:off x="3452873"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grpSp>
        <p:nvGrpSpPr>
          <p:cNvPr id="313" name="Instructie">
            <a:extLst>
              <a:ext uri="{FF2B5EF4-FFF2-40B4-BE49-F238E27FC236}">
                <a16:creationId xmlns:a16="http://schemas.microsoft.com/office/drawing/2014/main" id="{66A5A389-707D-4258-A7D5-BE1780C3409B}"/>
              </a:ext>
            </a:extLst>
          </p:cNvPr>
          <p:cNvGrpSpPr/>
          <p:nvPr userDrawn="1"/>
        </p:nvGrpSpPr>
        <p:grpSpPr>
          <a:xfrm>
            <a:off x="-3437546" y="1436"/>
            <a:ext cx="3201327" cy="6041867"/>
            <a:chOff x="-3437547" y="1434"/>
            <a:chExt cx="3201327" cy="6041867"/>
          </a:xfrm>
        </p:grpSpPr>
        <p:cxnSp>
          <p:nvCxnSpPr>
            <p:cNvPr id="314" name="Rechte verbindingslijn 313">
              <a:extLst>
                <a:ext uri="{FF2B5EF4-FFF2-40B4-BE49-F238E27FC236}">
                  <a16:creationId xmlns:a16="http://schemas.microsoft.com/office/drawing/2014/main" id="{BDB3E11C-04FA-4977-B005-A195F31C2869}"/>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5" name="Ovaal 314">
              <a:extLst>
                <a:ext uri="{FF2B5EF4-FFF2-40B4-BE49-F238E27FC236}">
                  <a16:creationId xmlns:a16="http://schemas.microsoft.com/office/drawing/2014/main" id="{19CB214C-60F4-48EF-A8B8-BC59C731B119}"/>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6" name="Rechthoek 315">
              <a:extLst>
                <a:ext uri="{FF2B5EF4-FFF2-40B4-BE49-F238E27FC236}">
                  <a16:creationId xmlns:a16="http://schemas.microsoft.com/office/drawing/2014/main" id="{B61E6B0A-1B59-4F1B-9174-D61F8D244499}"/>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7" name="Ovaal 316">
              <a:extLst>
                <a:ext uri="{FF2B5EF4-FFF2-40B4-BE49-F238E27FC236}">
                  <a16:creationId xmlns:a16="http://schemas.microsoft.com/office/drawing/2014/main" id="{AD1E1F91-5F43-4D18-920A-DA67E3671B90}"/>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18" name="Rechthoek 317">
              <a:extLst>
                <a:ext uri="{FF2B5EF4-FFF2-40B4-BE49-F238E27FC236}">
                  <a16:creationId xmlns:a16="http://schemas.microsoft.com/office/drawing/2014/main" id="{C333984C-4F99-4CD5-963F-7BE7C7EDDE91}"/>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9" name="Ovaal 318">
              <a:extLst>
                <a:ext uri="{FF2B5EF4-FFF2-40B4-BE49-F238E27FC236}">
                  <a16:creationId xmlns:a16="http://schemas.microsoft.com/office/drawing/2014/main" id="{4FCC8973-A1CB-4EE6-84BF-13394AF321B7}"/>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20" name="Rechthoek 319">
              <a:extLst>
                <a:ext uri="{FF2B5EF4-FFF2-40B4-BE49-F238E27FC236}">
                  <a16:creationId xmlns:a16="http://schemas.microsoft.com/office/drawing/2014/main" id="{7BB53F2E-FB55-4AF6-834B-FDE8EC697243}"/>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21" name="Ovaal 320">
              <a:extLst>
                <a:ext uri="{FF2B5EF4-FFF2-40B4-BE49-F238E27FC236}">
                  <a16:creationId xmlns:a16="http://schemas.microsoft.com/office/drawing/2014/main" id="{288904F1-9CC1-4BAD-A57F-A15FE1ACC443}"/>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2" name="Rechthoek 321">
              <a:extLst>
                <a:ext uri="{FF2B5EF4-FFF2-40B4-BE49-F238E27FC236}">
                  <a16:creationId xmlns:a16="http://schemas.microsoft.com/office/drawing/2014/main" id="{9AD2C58B-3D0E-4D39-AA53-E03F600286BB}"/>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323" name="Rechthoek 322">
              <a:extLst>
                <a:ext uri="{FF2B5EF4-FFF2-40B4-BE49-F238E27FC236}">
                  <a16:creationId xmlns:a16="http://schemas.microsoft.com/office/drawing/2014/main" id="{44130C0F-4785-4346-8053-6EDEAFB3C95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4" name="Ovaal 323">
              <a:extLst>
                <a:ext uri="{FF2B5EF4-FFF2-40B4-BE49-F238E27FC236}">
                  <a16:creationId xmlns:a16="http://schemas.microsoft.com/office/drawing/2014/main" id="{8079D226-9D9A-4CCF-AF12-BEAF7081233F}"/>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5" name="Rechte verbindingslijn 324">
              <a:extLst>
                <a:ext uri="{FF2B5EF4-FFF2-40B4-BE49-F238E27FC236}">
                  <a16:creationId xmlns:a16="http://schemas.microsoft.com/office/drawing/2014/main" id="{CD1F7B5D-15A4-4C51-BA9A-8D696834ACB9}"/>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6" name="Groep 325">
              <a:extLst>
                <a:ext uri="{FF2B5EF4-FFF2-40B4-BE49-F238E27FC236}">
                  <a16:creationId xmlns:a16="http://schemas.microsoft.com/office/drawing/2014/main" id="{3E8D81BD-43DC-49CA-9E86-B63A07D93C8D}"/>
                </a:ext>
              </a:extLst>
            </p:cNvPr>
            <p:cNvGrpSpPr/>
            <p:nvPr userDrawn="1"/>
          </p:nvGrpSpPr>
          <p:grpSpPr>
            <a:xfrm>
              <a:off x="-3437547" y="1295337"/>
              <a:ext cx="2933825" cy="558875"/>
              <a:chOff x="-3419346" y="368233"/>
              <a:chExt cx="3904920" cy="743862"/>
            </a:xfrm>
          </p:grpSpPr>
          <p:sp>
            <p:nvSpPr>
              <p:cNvPr id="343" name="Rechthoek 342">
                <a:extLst>
                  <a:ext uri="{FF2B5EF4-FFF2-40B4-BE49-F238E27FC236}">
                    <a16:creationId xmlns:a16="http://schemas.microsoft.com/office/drawing/2014/main" id="{971C35B1-2351-4514-8B7F-9B628E926C2B}"/>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4" name="Rechte verbindingslijn 343">
                <a:extLst>
                  <a:ext uri="{FF2B5EF4-FFF2-40B4-BE49-F238E27FC236}">
                    <a16:creationId xmlns:a16="http://schemas.microsoft.com/office/drawing/2014/main" id="{129E9C8E-61FE-4179-9B3C-6855B49B8AD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5" name="Rechte verbindingslijn 344">
                <a:extLst>
                  <a:ext uri="{FF2B5EF4-FFF2-40B4-BE49-F238E27FC236}">
                    <a16:creationId xmlns:a16="http://schemas.microsoft.com/office/drawing/2014/main" id="{B1D22699-471A-40EF-90FB-B7672957348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6" name="Rechthoek 345">
                <a:extLst>
                  <a:ext uri="{FF2B5EF4-FFF2-40B4-BE49-F238E27FC236}">
                    <a16:creationId xmlns:a16="http://schemas.microsoft.com/office/drawing/2014/main" id="{F0A32C35-7BF9-444E-BE85-24B10C3B2D3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47" name="Groep 346">
                <a:extLst>
                  <a:ext uri="{FF2B5EF4-FFF2-40B4-BE49-F238E27FC236}">
                    <a16:creationId xmlns:a16="http://schemas.microsoft.com/office/drawing/2014/main" id="{D226C922-5240-41B5-AD5F-986D1D179744}"/>
                  </a:ext>
                </a:extLst>
              </p:cNvPr>
              <p:cNvGrpSpPr/>
              <p:nvPr userDrawn="1"/>
            </p:nvGrpSpPr>
            <p:grpSpPr>
              <a:xfrm>
                <a:off x="-3002834" y="720303"/>
                <a:ext cx="182598" cy="143759"/>
                <a:chOff x="-3310843" y="700986"/>
                <a:chExt cx="182598" cy="143759"/>
              </a:xfrm>
            </p:grpSpPr>
            <p:grpSp>
              <p:nvGrpSpPr>
                <p:cNvPr id="386" name="Groep 385">
                  <a:extLst>
                    <a:ext uri="{FF2B5EF4-FFF2-40B4-BE49-F238E27FC236}">
                      <a16:creationId xmlns:a16="http://schemas.microsoft.com/office/drawing/2014/main" id="{CDFBA10E-89A1-4D4B-A357-5FF5D79DD9C0}"/>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61BCBED7-C234-41D6-8596-5D10C0207F4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CAA329F8-73AE-4812-9367-B3EA57D9837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6E5F5E82-5243-4BDC-8A4D-D86D10FEDC3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5B8B2FDE-1D7F-4EB8-B9E7-BB3BCD243FF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835EFA3A-E9E6-4BC7-BE87-618044D5893D}"/>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4FA547EF-5FED-403B-A576-8B68064FFB26}"/>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BA4D0C60-A865-4254-B046-EFFAEE0F206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9" name="Pijl: punthaak 388">
                    <a:extLst>
                      <a:ext uri="{FF2B5EF4-FFF2-40B4-BE49-F238E27FC236}">
                        <a16:creationId xmlns:a16="http://schemas.microsoft.com/office/drawing/2014/main" id="{ED0EB921-B0D9-43E7-AE4B-85E283BA211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48" name="Groep 347">
                <a:extLst>
                  <a:ext uri="{FF2B5EF4-FFF2-40B4-BE49-F238E27FC236}">
                    <a16:creationId xmlns:a16="http://schemas.microsoft.com/office/drawing/2014/main" id="{F9C2DC79-BD42-411B-9B5B-F5ED1BD7FFC6}"/>
                  </a:ext>
                </a:extLst>
              </p:cNvPr>
              <p:cNvGrpSpPr/>
              <p:nvPr userDrawn="1"/>
            </p:nvGrpSpPr>
            <p:grpSpPr>
              <a:xfrm>
                <a:off x="-3326107" y="720303"/>
                <a:ext cx="182598" cy="143759"/>
                <a:chOff x="-3634116" y="700986"/>
                <a:chExt cx="182598" cy="143759"/>
              </a:xfrm>
            </p:grpSpPr>
            <p:grpSp>
              <p:nvGrpSpPr>
                <p:cNvPr id="377" name="Groep 376">
                  <a:extLst>
                    <a:ext uri="{FF2B5EF4-FFF2-40B4-BE49-F238E27FC236}">
                      <a16:creationId xmlns:a16="http://schemas.microsoft.com/office/drawing/2014/main" id="{945510EE-13EC-407D-9B73-D49262235D75}"/>
                    </a:ext>
                  </a:extLst>
                </p:cNvPr>
                <p:cNvGrpSpPr/>
                <p:nvPr userDrawn="1"/>
              </p:nvGrpSpPr>
              <p:grpSpPr>
                <a:xfrm>
                  <a:off x="-3634116" y="700986"/>
                  <a:ext cx="182598" cy="143759"/>
                  <a:chOff x="-3634116" y="700986"/>
                  <a:chExt cx="182598" cy="143759"/>
                </a:xfrm>
              </p:grpSpPr>
              <p:cxnSp>
                <p:nvCxnSpPr>
                  <p:cNvPr id="381" name="Rechte verbindingslijn 380">
                    <a:extLst>
                      <a:ext uri="{FF2B5EF4-FFF2-40B4-BE49-F238E27FC236}">
                        <a16:creationId xmlns:a16="http://schemas.microsoft.com/office/drawing/2014/main" id="{F59B2C75-E712-49B1-A8F4-CC907FD5BD2E}"/>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2AB032FF-F29F-4E98-AB4B-2CC049ECD19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539E62BF-1CAC-431E-870F-4C0877B09ECF}"/>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4" name="Rechte verbindingslijn 383">
                    <a:extLst>
                      <a:ext uri="{FF2B5EF4-FFF2-40B4-BE49-F238E27FC236}">
                        <a16:creationId xmlns:a16="http://schemas.microsoft.com/office/drawing/2014/main" id="{066ACC7E-9034-4381-960C-CF046F2E0A3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FB849B54-1A01-4287-B972-38AC9C5039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78" name="Groep 377">
                  <a:extLst>
                    <a:ext uri="{FF2B5EF4-FFF2-40B4-BE49-F238E27FC236}">
                      <a16:creationId xmlns:a16="http://schemas.microsoft.com/office/drawing/2014/main" id="{D469F597-4C34-4702-B603-A37C34FE4C6A}"/>
                    </a:ext>
                  </a:extLst>
                </p:cNvPr>
                <p:cNvGrpSpPr/>
                <p:nvPr userDrawn="1"/>
              </p:nvGrpSpPr>
              <p:grpSpPr>
                <a:xfrm>
                  <a:off x="-3634047" y="735854"/>
                  <a:ext cx="88801" cy="72568"/>
                  <a:chOff x="-2091059" y="1395403"/>
                  <a:chExt cx="157316" cy="128558"/>
                </a:xfrm>
              </p:grpSpPr>
              <p:sp>
                <p:nvSpPr>
                  <p:cNvPr id="379" name="Rechthoek 378">
                    <a:extLst>
                      <a:ext uri="{FF2B5EF4-FFF2-40B4-BE49-F238E27FC236}">
                        <a16:creationId xmlns:a16="http://schemas.microsoft.com/office/drawing/2014/main" id="{89E6AA46-0CC3-4E9C-8AC4-B58C5A7923F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0" name="Pijl: punthaak 379">
                    <a:extLst>
                      <a:ext uri="{FF2B5EF4-FFF2-40B4-BE49-F238E27FC236}">
                        <a16:creationId xmlns:a16="http://schemas.microsoft.com/office/drawing/2014/main" id="{6C752CED-A17F-424D-9A4B-94385983E14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49" name="Rechte verbindingslijn 348">
                <a:extLst>
                  <a:ext uri="{FF2B5EF4-FFF2-40B4-BE49-F238E27FC236}">
                    <a16:creationId xmlns:a16="http://schemas.microsoft.com/office/drawing/2014/main" id="{C3F67446-0C0D-4B17-9A0E-57AC35069F38}"/>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50" name="Rechte verbindingslijn 349">
                <a:extLst>
                  <a:ext uri="{FF2B5EF4-FFF2-40B4-BE49-F238E27FC236}">
                    <a16:creationId xmlns:a16="http://schemas.microsoft.com/office/drawing/2014/main" id="{65DF656D-3D0C-4EEC-A993-B1A665718ED6}"/>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51" name="Groep 350">
                <a:extLst>
                  <a:ext uri="{FF2B5EF4-FFF2-40B4-BE49-F238E27FC236}">
                    <a16:creationId xmlns:a16="http://schemas.microsoft.com/office/drawing/2014/main" id="{13ABDE18-A6F3-451C-BFAC-0373790CBD59}"/>
                  </a:ext>
                </a:extLst>
              </p:cNvPr>
              <p:cNvGrpSpPr/>
              <p:nvPr userDrawn="1"/>
            </p:nvGrpSpPr>
            <p:grpSpPr>
              <a:xfrm>
                <a:off x="-2425037" y="370226"/>
                <a:ext cx="357690" cy="330595"/>
                <a:chOff x="-2721817" y="347336"/>
                <a:chExt cx="432805" cy="400021"/>
              </a:xfrm>
            </p:grpSpPr>
            <p:sp>
              <p:nvSpPr>
                <p:cNvPr id="366" name="Rechthoek 365">
                  <a:extLst>
                    <a:ext uri="{FF2B5EF4-FFF2-40B4-BE49-F238E27FC236}">
                      <a16:creationId xmlns:a16="http://schemas.microsoft.com/office/drawing/2014/main" id="{2E18999F-9F18-439F-B7F1-ACF0C137626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67" name="Groep 366">
                  <a:extLst>
                    <a:ext uri="{FF2B5EF4-FFF2-40B4-BE49-F238E27FC236}">
                      <a16:creationId xmlns:a16="http://schemas.microsoft.com/office/drawing/2014/main" id="{00543282-9CE6-4F0B-8681-09F96EB87924}"/>
                    </a:ext>
                  </a:extLst>
                </p:cNvPr>
                <p:cNvGrpSpPr/>
                <p:nvPr userDrawn="1"/>
              </p:nvGrpSpPr>
              <p:grpSpPr>
                <a:xfrm>
                  <a:off x="-2652453" y="431583"/>
                  <a:ext cx="294076" cy="231526"/>
                  <a:chOff x="-3634116" y="700986"/>
                  <a:chExt cx="182598" cy="143759"/>
                </a:xfrm>
              </p:grpSpPr>
              <p:grpSp>
                <p:nvGrpSpPr>
                  <p:cNvPr id="368" name="Groep 367">
                    <a:extLst>
                      <a:ext uri="{FF2B5EF4-FFF2-40B4-BE49-F238E27FC236}">
                        <a16:creationId xmlns:a16="http://schemas.microsoft.com/office/drawing/2014/main" id="{19A9E15F-A54E-4B58-9A1D-F9E626A222C6}"/>
                      </a:ext>
                    </a:extLst>
                  </p:cNvPr>
                  <p:cNvGrpSpPr/>
                  <p:nvPr userDrawn="1"/>
                </p:nvGrpSpPr>
                <p:grpSpPr>
                  <a:xfrm>
                    <a:off x="-3634116" y="700986"/>
                    <a:ext cx="182598" cy="143759"/>
                    <a:chOff x="-3634116" y="700986"/>
                    <a:chExt cx="182598" cy="143759"/>
                  </a:xfrm>
                </p:grpSpPr>
                <p:cxnSp>
                  <p:nvCxnSpPr>
                    <p:cNvPr id="372" name="Rechte verbindingslijn 371">
                      <a:extLst>
                        <a:ext uri="{FF2B5EF4-FFF2-40B4-BE49-F238E27FC236}">
                          <a16:creationId xmlns:a16="http://schemas.microsoft.com/office/drawing/2014/main" id="{C574005F-A767-4953-820A-754DD085423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3" name="Rechte verbindingslijn 372">
                      <a:extLst>
                        <a:ext uri="{FF2B5EF4-FFF2-40B4-BE49-F238E27FC236}">
                          <a16:creationId xmlns:a16="http://schemas.microsoft.com/office/drawing/2014/main" id="{BE403BE7-0AF0-4359-80D5-94BB7AE7901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4" name="Rechte verbindingslijn 373">
                      <a:extLst>
                        <a:ext uri="{FF2B5EF4-FFF2-40B4-BE49-F238E27FC236}">
                          <a16:creationId xmlns:a16="http://schemas.microsoft.com/office/drawing/2014/main" id="{9F816BDA-BB3E-42DB-A7FB-38BEF17F60D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5" name="Rechte verbindingslijn 374">
                      <a:extLst>
                        <a:ext uri="{FF2B5EF4-FFF2-40B4-BE49-F238E27FC236}">
                          <a16:creationId xmlns:a16="http://schemas.microsoft.com/office/drawing/2014/main" id="{280E0709-802D-4135-9A10-F1F0EA7C5F4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6" name="Rechte verbindingslijn 375">
                      <a:extLst>
                        <a:ext uri="{FF2B5EF4-FFF2-40B4-BE49-F238E27FC236}">
                          <a16:creationId xmlns:a16="http://schemas.microsoft.com/office/drawing/2014/main" id="{A1F81D07-C763-479C-8C91-DC115C0D8E9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69" name="Groep 368">
                    <a:extLst>
                      <a:ext uri="{FF2B5EF4-FFF2-40B4-BE49-F238E27FC236}">
                        <a16:creationId xmlns:a16="http://schemas.microsoft.com/office/drawing/2014/main" id="{16733BA1-9B49-4AB7-89E2-E477F0C88041}"/>
                      </a:ext>
                    </a:extLst>
                  </p:cNvPr>
                  <p:cNvGrpSpPr/>
                  <p:nvPr userDrawn="1"/>
                </p:nvGrpSpPr>
                <p:grpSpPr>
                  <a:xfrm>
                    <a:off x="-3634047" y="735854"/>
                    <a:ext cx="88801" cy="72568"/>
                    <a:chOff x="-2091059" y="1395403"/>
                    <a:chExt cx="157316" cy="128558"/>
                  </a:xfrm>
                </p:grpSpPr>
                <p:sp>
                  <p:nvSpPr>
                    <p:cNvPr id="370" name="Rechthoek 369">
                      <a:extLst>
                        <a:ext uri="{FF2B5EF4-FFF2-40B4-BE49-F238E27FC236}">
                          <a16:creationId xmlns:a16="http://schemas.microsoft.com/office/drawing/2014/main" id="{C02D85BB-2B7A-48B9-8747-2B4BDC63DF6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1" name="Pijl: punthaak 370">
                      <a:extLst>
                        <a:ext uri="{FF2B5EF4-FFF2-40B4-BE49-F238E27FC236}">
                          <a16:creationId xmlns:a16="http://schemas.microsoft.com/office/drawing/2014/main" id="{5208E2D0-D1B8-4710-ACA3-E340604C5EE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2" name="Groep 351">
                <a:extLst>
                  <a:ext uri="{FF2B5EF4-FFF2-40B4-BE49-F238E27FC236}">
                    <a16:creationId xmlns:a16="http://schemas.microsoft.com/office/drawing/2014/main" id="{2F7B175D-9B0F-4CB9-81A4-07883B538FDD}"/>
                  </a:ext>
                </a:extLst>
              </p:cNvPr>
              <p:cNvGrpSpPr/>
              <p:nvPr userDrawn="1"/>
            </p:nvGrpSpPr>
            <p:grpSpPr>
              <a:xfrm>
                <a:off x="-2425037" y="781500"/>
                <a:ext cx="357690" cy="330595"/>
                <a:chOff x="-2721817" y="782525"/>
                <a:chExt cx="432805" cy="400021"/>
              </a:xfrm>
            </p:grpSpPr>
            <p:sp>
              <p:nvSpPr>
                <p:cNvPr id="355" name="Rechthoek 354">
                  <a:extLst>
                    <a:ext uri="{FF2B5EF4-FFF2-40B4-BE49-F238E27FC236}">
                      <a16:creationId xmlns:a16="http://schemas.microsoft.com/office/drawing/2014/main" id="{517D5E23-FB09-4E72-A832-C28BD866FFD7}"/>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6" name="Groep 355">
                  <a:extLst>
                    <a:ext uri="{FF2B5EF4-FFF2-40B4-BE49-F238E27FC236}">
                      <a16:creationId xmlns:a16="http://schemas.microsoft.com/office/drawing/2014/main" id="{9528064D-0826-4BFC-86D3-9D1EF718CB16}"/>
                    </a:ext>
                  </a:extLst>
                </p:cNvPr>
                <p:cNvGrpSpPr/>
                <p:nvPr userDrawn="1"/>
              </p:nvGrpSpPr>
              <p:grpSpPr>
                <a:xfrm>
                  <a:off x="-2652453" y="866772"/>
                  <a:ext cx="294076" cy="231526"/>
                  <a:chOff x="-3310843" y="700986"/>
                  <a:chExt cx="182598" cy="143759"/>
                </a:xfrm>
              </p:grpSpPr>
              <p:grpSp>
                <p:nvGrpSpPr>
                  <p:cNvPr id="357" name="Groep 356">
                    <a:extLst>
                      <a:ext uri="{FF2B5EF4-FFF2-40B4-BE49-F238E27FC236}">
                        <a16:creationId xmlns:a16="http://schemas.microsoft.com/office/drawing/2014/main" id="{7F35971B-94C6-468B-83CC-521FA2533FA5}"/>
                      </a:ext>
                    </a:extLst>
                  </p:cNvPr>
                  <p:cNvGrpSpPr/>
                  <p:nvPr userDrawn="1"/>
                </p:nvGrpSpPr>
                <p:grpSpPr>
                  <a:xfrm>
                    <a:off x="-3310843" y="700986"/>
                    <a:ext cx="182598" cy="143759"/>
                    <a:chOff x="-3310843" y="700986"/>
                    <a:chExt cx="182598" cy="143759"/>
                  </a:xfrm>
                </p:grpSpPr>
                <p:cxnSp>
                  <p:nvCxnSpPr>
                    <p:cNvPr id="361" name="Rechte verbindingslijn 360">
                      <a:extLst>
                        <a:ext uri="{FF2B5EF4-FFF2-40B4-BE49-F238E27FC236}">
                          <a16:creationId xmlns:a16="http://schemas.microsoft.com/office/drawing/2014/main" id="{CEA1E2CE-9868-46A2-B613-1AD40EBE380C}"/>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FA75C5C3-15A4-41B6-84A9-65D287276D74}"/>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3" name="Rechte verbindingslijn 362">
                      <a:extLst>
                        <a:ext uri="{FF2B5EF4-FFF2-40B4-BE49-F238E27FC236}">
                          <a16:creationId xmlns:a16="http://schemas.microsoft.com/office/drawing/2014/main" id="{25F37B2B-7BB9-48F3-8FAC-AD8B7D02C18E}"/>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4" name="Rechte verbindingslijn 363">
                      <a:extLst>
                        <a:ext uri="{FF2B5EF4-FFF2-40B4-BE49-F238E27FC236}">
                          <a16:creationId xmlns:a16="http://schemas.microsoft.com/office/drawing/2014/main" id="{C60CA2F8-EDBB-4572-9AAD-C3023AFDC15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5" name="Rechte verbindingslijn 364">
                      <a:extLst>
                        <a:ext uri="{FF2B5EF4-FFF2-40B4-BE49-F238E27FC236}">
                          <a16:creationId xmlns:a16="http://schemas.microsoft.com/office/drawing/2014/main" id="{1313F6C8-4720-44EB-ADA4-ED841630A6F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58" name="Groep 357">
                    <a:extLst>
                      <a:ext uri="{FF2B5EF4-FFF2-40B4-BE49-F238E27FC236}">
                        <a16:creationId xmlns:a16="http://schemas.microsoft.com/office/drawing/2014/main" id="{9391042A-C3AE-4FDD-9088-421E57098C95}"/>
                      </a:ext>
                    </a:extLst>
                  </p:cNvPr>
                  <p:cNvGrpSpPr/>
                  <p:nvPr userDrawn="1"/>
                </p:nvGrpSpPr>
                <p:grpSpPr>
                  <a:xfrm flipH="1">
                    <a:off x="-3310774" y="735854"/>
                    <a:ext cx="88801" cy="72568"/>
                    <a:chOff x="-2091059" y="1395403"/>
                    <a:chExt cx="157316" cy="128558"/>
                  </a:xfrm>
                </p:grpSpPr>
                <p:sp>
                  <p:nvSpPr>
                    <p:cNvPr id="359" name="Rechthoek 358">
                      <a:extLst>
                        <a:ext uri="{FF2B5EF4-FFF2-40B4-BE49-F238E27FC236}">
                          <a16:creationId xmlns:a16="http://schemas.microsoft.com/office/drawing/2014/main" id="{4AF52846-E1F0-4F8E-B415-3A923648689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0" name="Pijl: punthaak 359">
                      <a:extLst>
                        <a:ext uri="{FF2B5EF4-FFF2-40B4-BE49-F238E27FC236}">
                          <a16:creationId xmlns:a16="http://schemas.microsoft.com/office/drawing/2014/main" id="{E6D98ECF-0BA1-4D6F-9DA6-3DFCDFB324A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3" name="Rechthoek 352">
                <a:extLst>
                  <a:ext uri="{FF2B5EF4-FFF2-40B4-BE49-F238E27FC236}">
                    <a16:creationId xmlns:a16="http://schemas.microsoft.com/office/drawing/2014/main" id="{4204B077-92FB-4B65-844E-198E8BECD9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4" name="Rechthoek 353">
                <a:extLst>
                  <a:ext uri="{FF2B5EF4-FFF2-40B4-BE49-F238E27FC236}">
                    <a16:creationId xmlns:a16="http://schemas.microsoft.com/office/drawing/2014/main" id="{2E2E24B9-4B50-489B-99E4-BB00A91C8C6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27" name="Rechte verbindingslijn 326">
              <a:extLst>
                <a:ext uri="{FF2B5EF4-FFF2-40B4-BE49-F238E27FC236}">
                  <a16:creationId xmlns:a16="http://schemas.microsoft.com/office/drawing/2014/main" id="{464D35B2-2362-44E2-B3DB-5D8F11BBEE4B}"/>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28" name="Rechthoek 327">
              <a:extLst>
                <a:ext uri="{FF2B5EF4-FFF2-40B4-BE49-F238E27FC236}">
                  <a16:creationId xmlns:a16="http://schemas.microsoft.com/office/drawing/2014/main" id="{C4575DF3-F611-4ED0-9160-61A1427C3AA6}"/>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9" name="Ovaal 328">
              <a:extLst>
                <a:ext uri="{FF2B5EF4-FFF2-40B4-BE49-F238E27FC236}">
                  <a16:creationId xmlns:a16="http://schemas.microsoft.com/office/drawing/2014/main" id="{A1B8E9A6-4379-4925-B80C-62DB31AADB7C}"/>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30" name="Rechthoek 329">
              <a:extLst>
                <a:ext uri="{FF2B5EF4-FFF2-40B4-BE49-F238E27FC236}">
                  <a16:creationId xmlns:a16="http://schemas.microsoft.com/office/drawing/2014/main" id="{9D380F45-E4F1-4BBD-8FA8-CDEDBC7D898C}"/>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31" name="Ovaal 330">
              <a:extLst>
                <a:ext uri="{FF2B5EF4-FFF2-40B4-BE49-F238E27FC236}">
                  <a16:creationId xmlns:a16="http://schemas.microsoft.com/office/drawing/2014/main" id="{17BDFF78-B0B7-4581-AE2A-0051478D8685}"/>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2" name="Rechthoek 331">
              <a:extLst>
                <a:ext uri="{FF2B5EF4-FFF2-40B4-BE49-F238E27FC236}">
                  <a16:creationId xmlns:a16="http://schemas.microsoft.com/office/drawing/2014/main" id="{17036FFC-4998-4B16-803F-FCF3981E4D1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3" name="Ovaal 332">
              <a:extLst>
                <a:ext uri="{FF2B5EF4-FFF2-40B4-BE49-F238E27FC236}">
                  <a16:creationId xmlns:a16="http://schemas.microsoft.com/office/drawing/2014/main" id="{C1421421-1992-42D9-823C-D85B453206B4}"/>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4" name="Rechthoek 333">
              <a:extLst>
                <a:ext uri="{FF2B5EF4-FFF2-40B4-BE49-F238E27FC236}">
                  <a16:creationId xmlns:a16="http://schemas.microsoft.com/office/drawing/2014/main" id="{F68A0C3C-23E2-4568-9682-08A4D02AFAEB}"/>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5" name="Ovaal 334">
              <a:extLst>
                <a:ext uri="{FF2B5EF4-FFF2-40B4-BE49-F238E27FC236}">
                  <a16:creationId xmlns:a16="http://schemas.microsoft.com/office/drawing/2014/main" id="{4799B7D9-C473-430C-8F81-3AE30D31D0B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6" name="Rechthoek 335">
              <a:extLst>
                <a:ext uri="{FF2B5EF4-FFF2-40B4-BE49-F238E27FC236}">
                  <a16:creationId xmlns:a16="http://schemas.microsoft.com/office/drawing/2014/main" id="{7F13A039-6125-42E8-B82E-9CE8F0A550AA}"/>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37" name="Rechthoek 336">
              <a:extLst>
                <a:ext uri="{FF2B5EF4-FFF2-40B4-BE49-F238E27FC236}">
                  <a16:creationId xmlns:a16="http://schemas.microsoft.com/office/drawing/2014/main" id="{26E187A7-8461-48BF-BF3F-03B5981A368B}"/>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38" name="Rechte verbindingslijn 337">
              <a:extLst>
                <a:ext uri="{FF2B5EF4-FFF2-40B4-BE49-F238E27FC236}">
                  <a16:creationId xmlns:a16="http://schemas.microsoft.com/office/drawing/2014/main" id="{A0541823-903A-4C9E-8B9A-270AE2CD068C}"/>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39" name="Ovaal 338">
              <a:extLst>
                <a:ext uri="{FF2B5EF4-FFF2-40B4-BE49-F238E27FC236}">
                  <a16:creationId xmlns:a16="http://schemas.microsoft.com/office/drawing/2014/main" id="{754E9281-9BA1-4E69-9539-0BDE72954F24}"/>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40" name="Rechthoek 339">
              <a:extLst>
                <a:ext uri="{FF2B5EF4-FFF2-40B4-BE49-F238E27FC236}">
                  <a16:creationId xmlns:a16="http://schemas.microsoft.com/office/drawing/2014/main" id="{09E649A0-FC2D-40FE-841A-A3502F2E14D8}"/>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341" name="Ovaal 340">
              <a:extLst>
                <a:ext uri="{FF2B5EF4-FFF2-40B4-BE49-F238E27FC236}">
                  <a16:creationId xmlns:a16="http://schemas.microsoft.com/office/drawing/2014/main" id="{A2C486FF-3197-4B43-AFF1-AFA97A38CC5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2" name="Rechthoek 341">
              <a:extLst>
                <a:ext uri="{FF2B5EF4-FFF2-40B4-BE49-F238E27FC236}">
                  <a16:creationId xmlns:a16="http://schemas.microsoft.com/office/drawing/2014/main" id="{BBB44AF4-1420-42A0-A672-752F26289511}"/>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191" name="Groep 190">
            <a:extLst>
              <a:ext uri="{FF2B5EF4-FFF2-40B4-BE49-F238E27FC236}">
                <a16:creationId xmlns:a16="http://schemas.microsoft.com/office/drawing/2014/main" id="{DE9BD81A-255A-4363-A620-FB41FB91DDDB}"/>
              </a:ext>
            </a:extLst>
          </p:cNvPr>
          <p:cNvGrpSpPr/>
          <p:nvPr userDrawn="1"/>
        </p:nvGrpSpPr>
        <p:grpSpPr>
          <a:xfrm>
            <a:off x="12391601" y="2"/>
            <a:ext cx="3183678" cy="4278621"/>
            <a:chOff x="12391601" y="0"/>
            <a:chExt cx="3183678" cy="4278621"/>
          </a:xfrm>
        </p:grpSpPr>
        <p:sp>
          <p:nvSpPr>
            <p:cNvPr id="192" name="Rechthoek 191">
              <a:extLst>
                <a:ext uri="{FF2B5EF4-FFF2-40B4-BE49-F238E27FC236}">
                  <a16:creationId xmlns:a16="http://schemas.microsoft.com/office/drawing/2014/main" id="{E20C2D69-B092-46AD-AC00-6226A6DBC438}"/>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93" name="Ovaal 192">
              <a:extLst>
                <a:ext uri="{FF2B5EF4-FFF2-40B4-BE49-F238E27FC236}">
                  <a16:creationId xmlns:a16="http://schemas.microsoft.com/office/drawing/2014/main" id="{FC38609A-FD1A-4D80-B12D-571145F0EB6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94" name="Rechte verbindingslijn 193">
              <a:extLst>
                <a:ext uri="{FF2B5EF4-FFF2-40B4-BE49-F238E27FC236}">
                  <a16:creationId xmlns:a16="http://schemas.microsoft.com/office/drawing/2014/main" id="{F0462923-B1C1-4360-A705-8FF7BCCFBE6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95" name="Rechte verbindingslijn 194">
              <a:extLst>
                <a:ext uri="{FF2B5EF4-FFF2-40B4-BE49-F238E27FC236}">
                  <a16:creationId xmlns:a16="http://schemas.microsoft.com/office/drawing/2014/main" id="{EFF44239-810B-46D9-A1D1-47BC2D2B0825}"/>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96" name="Rechthoek 195">
              <a:extLst>
                <a:ext uri="{FF2B5EF4-FFF2-40B4-BE49-F238E27FC236}">
                  <a16:creationId xmlns:a16="http://schemas.microsoft.com/office/drawing/2014/main" id="{7FCE518B-B0B6-4764-8311-C2E1F9007D1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97" name="Rechte verbindingslijn 196">
              <a:extLst>
                <a:ext uri="{FF2B5EF4-FFF2-40B4-BE49-F238E27FC236}">
                  <a16:creationId xmlns:a16="http://schemas.microsoft.com/office/drawing/2014/main" id="{3E38ACFF-90E1-4DBF-888C-536982DC0188}"/>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98" name="Ovaal 197">
              <a:extLst>
                <a:ext uri="{FF2B5EF4-FFF2-40B4-BE49-F238E27FC236}">
                  <a16:creationId xmlns:a16="http://schemas.microsoft.com/office/drawing/2014/main" id="{ADC04B17-9298-42C7-8255-CAE8E7D1D70B}"/>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99" name="Rechthoek 198">
              <a:extLst>
                <a:ext uri="{FF2B5EF4-FFF2-40B4-BE49-F238E27FC236}">
                  <a16:creationId xmlns:a16="http://schemas.microsoft.com/office/drawing/2014/main" id="{E5859DAD-1B71-4678-89E1-FE8A2C8313A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00" name="Groep 199">
              <a:extLst>
                <a:ext uri="{FF2B5EF4-FFF2-40B4-BE49-F238E27FC236}">
                  <a16:creationId xmlns:a16="http://schemas.microsoft.com/office/drawing/2014/main" id="{253ED09A-EEDD-49EE-B275-B09E429CFEA2}"/>
                </a:ext>
              </a:extLst>
            </p:cNvPr>
            <p:cNvGrpSpPr/>
            <p:nvPr userDrawn="1"/>
          </p:nvGrpSpPr>
          <p:grpSpPr>
            <a:xfrm>
              <a:off x="12757282" y="2184550"/>
              <a:ext cx="825500" cy="209550"/>
              <a:chOff x="13504624" y="2482850"/>
              <a:chExt cx="825500" cy="209550"/>
            </a:xfrm>
          </p:grpSpPr>
          <p:sp>
            <p:nvSpPr>
              <p:cNvPr id="231" name="Rechthoek 230">
                <a:extLst>
                  <a:ext uri="{FF2B5EF4-FFF2-40B4-BE49-F238E27FC236}">
                    <a16:creationId xmlns:a16="http://schemas.microsoft.com/office/drawing/2014/main" id="{92896F93-D2A3-4CE6-B222-DC8ED12B6A7D}"/>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32" name="Rechte verbindingslijn 231">
                <a:extLst>
                  <a:ext uri="{FF2B5EF4-FFF2-40B4-BE49-F238E27FC236}">
                    <a16:creationId xmlns:a16="http://schemas.microsoft.com/office/drawing/2014/main" id="{71FF9085-B8A9-4ADA-977D-B0A03A470E0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33" name="Gelijkbenige driehoek 232">
                <a:extLst>
                  <a:ext uri="{FF2B5EF4-FFF2-40B4-BE49-F238E27FC236}">
                    <a16:creationId xmlns:a16="http://schemas.microsoft.com/office/drawing/2014/main" id="{F5501DB9-CF06-4903-829D-97AA4E80E32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01" name="Groep 200">
              <a:extLst>
                <a:ext uri="{FF2B5EF4-FFF2-40B4-BE49-F238E27FC236}">
                  <a16:creationId xmlns:a16="http://schemas.microsoft.com/office/drawing/2014/main" id="{42A220D0-4133-4B24-81B1-98FECD1DF67B}"/>
                </a:ext>
              </a:extLst>
            </p:cNvPr>
            <p:cNvGrpSpPr/>
            <p:nvPr userDrawn="1"/>
          </p:nvGrpSpPr>
          <p:grpSpPr>
            <a:xfrm>
              <a:off x="12757282" y="1141626"/>
              <a:ext cx="294789" cy="318834"/>
              <a:chOff x="14466489" y="1001522"/>
              <a:chExt cx="290627" cy="314333"/>
            </a:xfrm>
          </p:grpSpPr>
          <p:sp>
            <p:nvSpPr>
              <p:cNvPr id="225" name="Rechthoek 224">
                <a:extLst>
                  <a:ext uri="{FF2B5EF4-FFF2-40B4-BE49-F238E27FC236}">
                    <a16:creationId xmlns:a16="http://schemas.microsoft.com/office/drawing/2014/main" id="{D8FCB35D-4FE0-43E9-AA39-A1BA1E8B179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6" name="Ovaal 225">
                <a:extLst>
                  <a:ext uri="{FF2B5EF4-FFF2-40B4-BE49-F238E27FC236}">
                    <a16:creationId xmlns:a16="http://schemas.microsoft.com/office/drawing/2014/main" id="{85A2C362-52AE-402A-8DB2-993C9C0C2236}"/>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27" name="Vrije vorm: vorm 226">
                <a:extLst>
                  <a:ext uri="{FF2B5EF4-FFF2-40B4-BE49-F238E27FC236}">
                    <a16:creationId xmlns:a16="http://schemas.microsoft.com/office/drawing/2014/main" id="{EE197F35-9A80-46F4-B7BE-ED28469089D7}"/>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28" name="Rechthoek: afgeronde hoeken 227">
                <a:extLst>
                  <a:ext uri="{FF2B5EF4-FFF2-40B4-BE49-F238E27FC236}">
                    <a16:creationId xmlns:a16="http://schemas.microsoft.com/office/drawing/2014/main" id="{029FFF95-C519-4C5B-8BE8-BAB1F03F149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29" name="Rechte verbindingslijn 228">
                <a:extLst>
                  <a:ext uri="{FF2B5EF4-FFF2-40B4-BE49-F238E27FC236}">
                    <a16:creationId xmlns:a16="http://schemas.microsoft.com/office/drawing/2014/main" id="{3395386C-90CE-4A7C-A98B-6BDD8C2FA82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30" name="Rechte verbindingslijn 229">
                <a:extLst>
                  <a:ext uri="{FF2B5EF4-FFF2-40B4-BE49-F238E27FC236}">
                    <a16:creationId xmlns:a16="http://schemas.microsoft.com/office/drawing/2014/main" id="{F8B27765-37AB-49A8-8C33-2D3026F8DB19}"/>
                  </a:ext>
                </a:extLst>
              </p:cNvPr>
              <p:cNvCxnSpPr>
                <a:cxnSpLocks/>
                <a:stCxn id="22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02" name="Ovaal 201">
              <a:extLst>
                <a:ext uri="{FF2B5EF4-FFF2-40B4-BE49-F238E27FC236}">
                  <a16:creationId xmlns:a16="http://schemas.microsoft.com/office/drawing/2014/main" id="{AE4A3236-485C-4666-A1DB-FB0114CC0C5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3" name="Rechthoek 202">
              <a:extLst>
                <a:ext uri="{FF2B5EF4-FFF2-40B4-BE49-F238E27FC236}">
                  <a16:creationId xmlns:a16="http://schemas.microsoft.com/office/drawing/2014/main" id="{57BF5333-5012-47B4-96A0-A75CAE4C6531}"/>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04" name="Rechte verbindingslijn 203">
              <a:extLst>
                <a:ext uri="{FF2B5EF4-FFF2-40B4-BE49-F238E27FC236}">
                  <a16:creationId xmlns:a16="http://schemas.microsoft.com/office/drawing/2014/main" id="{A2C3ED1F-1793-493C-87B9-21A427AD265A}"/>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205" name="Groep 204">
              <a:extLst>
                <a:ext uri="{FF2B5EF4-FFF2-40B4-BE49-F238E27FC236}">
                  <a16:creationId xmlns:a16="http://schemas.microsoft.com/office/drawing/2014/main" id="{5C7A68CB-0056-4A1C-BDDD-758D5B45652E}"/>
                </a:ext>
              </a:extLst>
            </p:cNvPr>
            <p:cNvGrpSpPr/>
            <p:nvPr userDrawn="1"/>
          </p:nvGrpSpPr>
          <p:grpSpPr>
            <a:xfrm>
              <a:off x="12696514" y="3540678"/>
              <a:ext cx="514284" cy="612918"/>
              <a:chOff x="12682980" y="3403241"/>
              <a:chExt cx="622284" cy="741632"/>
            </a:xfrm>
          </p:grpSpPr>
          <p:grpSp>
            <p:nvGrpSpPr>
              <p:cNvPr id="209" name="Groep 208">
                <a:extLst>
                  <a:ext uri="{FF2B5EF4-FFF2-40B4-BE49-F238E27FC236}">
                    <a16:creationId xmlns:a16="http://schemas.microsoft.com/office/drawing/2014/main" id="{FE05E858-03BA-47A2-9576-3AC8C9798926}"/>
                  </a:ext>
                </a:extLst>
              </p:cNvPr>
              <p:cNvGrpSpPr/>
              <p:nvPr userDrawn="1"/>
            </p:nvGrpSpPr>
            <p:grpSpPr>
              <a:xfrm>
                <a:off x="12771568" y="3403241"/>
                <a:ext cx="467138" cy="448489"/>
                <a:chOff x="12782195" y="3403241"/>
                <a:chExt cx="467138" cy="448489"/>
              </a:xfrm>
            </p:grpSpPr>
            <p:grpSp>
              <p:nvGrpSpPr>
                <p:cNvPr id="212" name="Groep 211">
                  <a:extLst>
                    <a:ext uri="{FF2B5EF4-FFF2-40B4-BE49-F238E27FC236}">
                      <a16:creationId xmlns:a16="http://schemas.microsoft.com/office/drawing/2014/main" id="{52BF72BA-372B-46AA-A866-5BB2A9E52C99}"/>
                    </a:ext>
                  </a:extLst>
                </p:cNvPr>
                <p:cNvGrpSpPr/>
                <p:nvPr userDrawn="1"/>
              </p:nvGrpSpPr>
              <p:grpSpPr>
                <a:xfrm>
                  <a:off x="12782195" y="3403241"/>
                  <a:ext cx="412967" cy="393907"/>
                  <a:chOff x="13554906" y="3320109"/>
                  <a:chExt cx="443906" cy="423419"/>
                </a:xfrm>
              </p:grpSpPr>
              <p:grpSp>
                <p:nvGrpSpPr>
                  <p:cNvPr id="219" name="Groep 218">
                    <a:extLst>
                      <a:ext uri="{FF2B5EF4-FFF2-40B4-BE49-F238E27FC236}">
                        <a16:creationId xmlns:a16="http://schemas.microsoft.com/office/drawing/2014/main" id="{26AF55C7-E747-41BA-A2A9-AA1C2B1FDC41}"/>
                      </a:ext>
                    </a:extLst>
                  </p:cNvPr>
                  <p:cNvGrpSpPr/>
                  <p:nvPr userDrawn="1"/>
                </p:nvGrpSpPr>
                <p:grpSpPr>
                  <a:xfrm>
                    <a:off x="13554906" y="3320109"/>
                    <a:ext cx="443906" cy="423419"/>
                    <a:chOff x="12909684" y="1276143"/>
                    <a:chExt cx="443906" cy="423419"/>
                  </a:xfrm>
                </p:grpSpPr>
                <p:sp>
                  <p:nvSpPr>
                    <p:cNvPr id="222" name="Rechthoek 221">
                      <a:extLst>
                        <a:ext uri="{FF2B5EF4-FFF2-40B4-BE49-F238E27FC236}">
                          <a16:creationId xmlns:a16="http://schemas.microsoft.com/office/drawing/2014/main" id="{1172B7E7-C162-44AF-96D5-0494FB0FA521}"/>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3" name="Rechthoek 222">
                      <a:extLst>
                        <a:ext uri="{FF2B5EF4-FFF2-40B4-BE49-F238E27FC236}">
                          <a16:creationId xmlns:a16="http://schemas.microsoft.com/office/drawing/2014/main" id="{5D0485DE-E74D-4323-9DEF-ABE7044E3B3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4" name="Ovaal 223">
                      <a:extLst>
                        <a:ext uri="{FF2B5EF4-FFF2-40B4-BE49-F238E27FC236}">
                          <a16:creationId xmlns:a16="http://schemas.microsoft.com/office/drawing/2014/main" id="{E1912CA7-2D38-4167-831B-980CB3070F54}"/>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220" name="Afbeelding 219">
                    <a:extLst>
                      <a:ext uri="{FF2B5EF4-FFF2-40B4-BE49-F238E27FC236}">
                        <a16:creationId xmlns:a16="http://schemas.microsoft.com/office/drawing/2014/main" id="{FDFC122A-A086-4FC8-8E24-00C8CEC16F01}"/>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1" name="Afbeelding 220">
                    <a:extLst>
                      <a:ext uri="{FF2B5EF4-FFF2-40B4-BE49-F238E27FC236}">
                        <a16:creationId xmlns:a16="http://schemas.microsoft.com/office/drawing/2014/main" id="{273A67C8-CFF3-4A2E-A364-0EAA1D98B65A}"/>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213" name="Groep 212">
                  <a:extLst>
                    <a:ext uri="{FF2B5EF4-FFF2-40B4-BE49-F238E27FC236}">
                      <a16:creationId xmlns:a16="http://schemas.microsoft.com/office/drawing/2014/main" id="{D667FD43-AD2B-4AC4-9F28-33AE59F55DB2}"/>
                    </a:ext>
                  </a:extLst>
                </p:cNvPr>
                <p:cNvGrpSpPr/>
                <p:nvPr userDrawn="1"/>
              </p:nvGrpSpPr>
              <p:grpSpPr>
                <a:xfrm>
                  <a:off x="13103513" y="3705268"/>
                  <a:ext cx="145820" cy="146462"/>
                  <a:chOff x="13096169" y="3602278"/>
                  <a:chExt cx="145820" cy="146462"/>
                </a:xfrm>
              </p:grpSpPr>
              <p:sp>
                <p:nvSpPr>
                  <p:cNvPr id="217" name="Rechthoek 216">
                    <a:extLst>
                      <a:ext uri="{FF2B5EF4-FFF2-40B4-BE49-F238E27FC236}">
                        <a16:creationId xmlns:a16="http://schemas.microsoft.com/office/drawing/2014/main" id="{395027D0-3816-4997-9A54-A809A05EDE8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8" name="Rechthoek 217">
                    <a:extLst>
                      <a:ext uri="{FF2B5EF4-FFF2-40B4-BE49-F238E27FC236}">
                        <a16:creationId xmlns:a16="http://schemas.microsoft.com/office/drawing/2014/main" id="{F4C78CEB-2FEB-4AF5-B8C7-CA433D68154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14" name="Groep 213">
                  <a:extLst>
                    <a:ext uri="{FF2B5EF4-FFF2-40B4-BE49-F238E27FC236}">
                      <a16:creationId xmlns:a16="http://schemas.microsoft.com/office/drawing/2014/main" id="{D661A418-387C-4766-B984-6682A019CB0E}"/>
                    </a:ext>
                  </a:extLst>
                </p:cNvPr>
                <p:cNvGrpSpPr/>
                <p:nvPr userDrawn="1"/>
              </p:nvGrpSpPr>
              <p:grpSpPr>
                <a:xfrm rot="10800000">
                  <a:off x="13061402" y="3665637"/>
                  <a:ext cx="145820" cy="146462"/>
                  <a:chOff x="13096169" y="3602278"/>
                  <a:chExt cx="145820" cy="146462"/>
                </a:xfrm>
              </p:grpSpPr>
              <p:sp>
                <p:nvSpPr>
                  <p:cNvPr id="215" name="Rechthoek 214">
                    <a:extLst>
                      <a:ext uri="{FF2B5EF4-FFF2-40B4-BE49-F238E27FC236}">
                        <a16:creationId xmlns:a16="http://schemas.microsoft.com/office/drawing/2014/main" id="{6A033E4D-0B77-4B8D-9DDC-ADA7281B9F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6" name="Rechthoek 215">
                    <a:extLst>
                      <a:ext uri="{FF2B5EF4-FFF2-40B4-BE49-F238E27FC236}">
                        <a16:creationId xmlns:a16="http://schemas.microsoft.com/office/drawing/2014/main" id="{60B65305-B9B3-406E-82BB-EEFEAB6ED5C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210" name="Rechthoek 209">
                <a:extLst>
                  <a:ext uri="{FF2B5EF4-FFF2-40B4-BE49-F238E27FC236}">
                    <a16:creationId xmlns:a16="http://schemas.microsoft.com/office/drawing/2014/main" id="{A5C30312-8246-4345-A86F-02DE31753CB8}"/>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211" name="Gelijkbenige driehoek 210">
                <a:extLst>
                  <a:ext uri="{FF2B5EF4-FFF2-40B4-BE49-F238E27FC236}">
                    <a16:creationId xmlns:a16="http://schemas.microsoft.com/office/drawing/2014/main" id="{EA41D65A-BFA2-433B-A344-B18070AF8B37}"/>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27182163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9277F49C-3EF0-4FE1-9AEE-1B569D8AC0AA}"/>
              </a:ext>
            </a:extLst>
          </p:cNvPr>
          <p:cNvSpPr>
            <a:spLocks noGrp="1"/>
          </p:cNvSpPr>
          <p:nvPr>
            <p:ph type="pic" sz="quarter" idx="16" hasCustomPrompt="1"/>
          </p:nvPr>
        </p:nvSpPr>
        <p:spPr>
          <a:xfrm>
            <a:off x="1" y="-1"/>
            <a:ext cx="12191998" cy="6265769"/>
          </a:xfrm>
          <a:solidFill>
            <a:schemeClr val="bg1">
              <a:lumMod val="95000"/>
            </a:schemeClr>
          </a:solidFill>
        </p:spPr>
        <p:txBody>
          <a:bodyPr tIns="270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E0BEAB56-8B04-4ECA-A479-A72540E0980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AFBEELDING</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61" name="Instructie">
            <a:extLst>
              <a:ext uri="{FF2B5EF4-FFF2-40B4-BE49-F238E27FC236}">
                <a16:creationId xmlns:a16="http://schemas.microsoft.com/office/drawing/2014/main" id="{03E372C2-6CF2-4ED2-8A64-2CB215474CFB}"/>
              </a:ext>
            </a:extLst>
          </p:cNvPr>
          <p:cNvGrpSpPr/>
          <p:nvPr userDrawn="1"/>
        </p:nvGrpSpPr>
        <p:grpSpPr>
          <a:xfrm>
            <a:off x="12391601" y="1"/>
            <a:ext cx="3183678" cy="3883011"/>
            <a:chOff x="12391601" y="0"/>
            <a:chExt cx="3183678" cy="3883011"/>
          </a:xfrm>
        </p:grpSpPr>
        <p:grpSp>
          <p:nvGrpSpPr>
            <p:cNvPr id="65" name="Groep 64">
              <a:extLst>
                <a:ext uri="{FF2B5EF4-FFF2-40B4-BE49-F238E27FC236}">
                  <a16:creationId xmlns:a16="http://schemas.microsoft.com/office/drawing/2014/main" id="{410089C7-732E-470E-A73B-AE0A83CF265E}"/>
                </a:ext>
              </a:extLst>
            </p:cNvPr>
            <p:cNvGrpSpPr/>
            <p:nvPr userDrawn="1"/>
          </p:nvGrpSpPr>
          <p:grpSpPr>
            <a:xfrm>
              <a:off x="12757282" y="3100116"/>
              <a:ext cx="1499406" cy="678267"/>
              <a:chOff x="12757283" y="3120781"/>
              <a:chExt cx="1499406" cy="678267"/>
            </a:xfrm>
          </p:grpSpPr>
          <p:sp>
            <p:nvSpPr>
              <p:cNvPr id="89" name="Rechthoek 88">
                <a:extLst>
                  <a:ext uri="{FF2B5EF4-FFF2-40B4-BE49-F238E27FC236}">
                    <a16:creationId xmlns:a16="http://schemas.microsoft.com/office/drawing/2014/main" id="{CABA49A0-9B70-4593-B4DD-E92D3BE79194}"/>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90" name="Rechthoek 89">
                <a:extLst>
                  <a:ext uri="{FF2B5EF4-FFF2-40B4-BE49-F238E27FC236}">
                    <a16:creationId xmlns:a16="http://schemas.microsoft.com/office/drawing/2014/main" id="{96DDE965-E871-47F5-9FE5-E82F2C25139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1" name="Tekstvak 90">
                <a:extLst>
                  <a:ext uri="{FF2B5EF4-FFF2-40B4-BE49-F238E27FC236}">
                    <a16:creationId xmlns:a16="http://schemas.microsoft.com/office/drawing/2014/main" id="{E9A21028-1874-4295-93FF-4AC3CDB38FB7}"/>
                  </a:ext>
                </a:extLst>
              </p:cNvPr>
              <p:cNvSpPr txBox="1"/>
              <p:nvPr userDrawn="1"/>
            </p:nvSpPr>
            <p:spPr>
              <a:xfrm>
                <a:off x="12997648" y="3159891"/>
                <a:ext cx="957818" cy="203133"/>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92" name="Tekstvak 91">
                <a:extLst>
                  <a:ext uri="{FF2B5EF4-FFF2-40B4-BE49-F238E27FC236}">
                    <a16:creationId xmlns:a16="http://schemas.microsoft.com/office/drawing/2014/main" id="{AE0EA7B4-0CCD-4215-B995-5EA531B5CA00}"/>
                  </a:ext>
                </a:extLst>
              </p:cNvPr>
              <p:cNvSpPr txBox="1"/>
              <p:nvPr userDrawn="1"/>
            </p:nvSpPr>
            <p:spPr>
              <a:xfrm>
                <a:off x="12984219" y="3481017"/>
                <a:ext cx="1165564" cy="203133"/>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3" name="Picture 3">
                <a:extLst>
                  <a:ext uri="{FF2B5EF4-FFF2-40B4-BE49-F238E27FC236}">
                    <a16:creationId xmlns:a16="http://schemas.microsoft.com/office/drawing/2014/main" id="{918BA030-D629-45BC-8A99-FFAC71280D3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4" name="Gelijkbenige driehoek 93">
                <a:extLst>
                  <a:ext uri="{FF2B5EF4-FFF2-40B4-BE49-F238E27FC236}">
                    <a16:creationId xmlns:a16="http://schemas.microsoft.com/office/drawing/2014/main" id="{B78F2EF2-81FD-4762-9B3C-25A35B5143F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95" name="Groep 94">
                <a:extLst>
                  <a:ext uri="{FF2B5EF4-FFF2-40B4-BE49-F238E27FC236}">
                    <a16:creationId xmlns:a16="http://schemas.microsoft.com/office/drawing/2014/main" id="{E4A351EC-55EF-4909-8119-4D621C97A589}"/>
                  </a:ext>
                </a:extLst>
              </p:cNvPr>
              <p:cNvGrpSpPr/>
              <p:nvPr userDrawn="1"/>
            </p:nvGrpSpPr>
            <p:grpSpPr>
              <a:xfrm>
                <a:off x="12822311" y="3178534"/>
                <a:ext cx="182309" cy="163794"/>
                <a:chOff x="12832541" y="3162395"/>
                <a:chExt cx="219532" cy="197236"/>
              </a:xfrm>
            </p:grpSpPr>
            <p:sp>
              <p:nvSpPr>
                <p:cNvPr id="100" name="Rechthoek 99">
                  <a:extLst>
                    <a:ext uri="{FF2B5EF4-FFF2-40B4-BE49-F238E27FC236}">
                      <a16:creationId xmlns:a16="http://schemas.microsoft.com/office/drawing/2014/main" id="{B832FFCA-9879-405F-AAE8-888376095F92}"/>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01" name="Rechthoek 100">
                  <a:extLst>
                    <a:ext uri="{FF2B5EF4-FFF2-40B4-BE49-F238E27FC236}">
                      <a16:creationId xmlns:a16="http://schemas.microsoft.com/office/drawing/2014/main" id="{5BDB98E6-422C-4652-B8B4-DFCE331F3B26}"/>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02" name="Rechthoek 101">
                  <a:extLst>
                    <a:ext uri="{FF2B5EF4-FFF2-40B4-BE49-F238E27FC236}">
                      <a16:creationId xmlns:a16="http://schemas.microsoft.com/office/drawing/2014/main" id="{069A26F1-6CDF-46E3-BCEF-9027BA7D42F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nvGrpSpPr>
              <p:cNvPr id="96" name="Groep 95">
                <a:extLst>
                  <a:ext uri="{FF2B5EF4-FFF2-40B4-BE49-F238E27FC236}">
                    <a16:creationId xmlns:a16="http://schemas.microsoft.com/office/drawing/2014/main" id="{7275FEBE-22E6-45CB-977F-923A0E758097}"/>
                  </a:ext>
                </a:extLst>
              </p:cNvPr>
              <p:cNvGrpSpPr/>
              <p:nvPr userDrawn="1"/>
            </p:nvGrpSpPr>
            <p:grpSpPr>
              <a:xfrm>
                <a:off x="12822311" y="3480352"/>
                <a:ext cx="182309" cy="163794"/>
                <a:chOff x="12832541" y="3162395"/>
                <a:chExt cx="219532" cy="197236"/>
              </a:xfrm>
            </p:grpSpPr>
            <p:sp>
              <p:nvSpPr>
                <p:cNvPr id="97" name="Rechthoek 96">
                  <a:extLst>
                    <a:ext uri="{FF2B5EF4-FFF2-40B4-BE49-F238E27FC236}">
                      <a16:creationId xmlns:a16="http://schemas.microsoft.com/office/drawing/2014/main" id="{B23D6C2E-0F3B-4616-A53D-854218EFE71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98" name="Rechthoek 97">
                  <a:extLst>
                    <a:ext uri="{FF2B5EF4-FFF2-40B4-BE49-F238E27FC236}">
                      <a16:creationId xmlns:a16="http://schemas.microsoft.com/office/drawing/2014/main" id="{B83D79E5-AD69-4A8A-8354-129A22D25FE3}"/>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99" name="Rechthoek 98">
                  <a:extLst>
                    <a:ext uri="{FF2B5EF4-FFF2-40B4-BE49-F238E27FC236}">
                      <a16:creationId xmlns:a16="http://schemas.microsoft.com/office/drawing/2014/main" id="{8BE7535C-03AF-4D1B-B702-B07FA7AC9787}"/>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
          <p:nvSpPr>
            <p:cNvPr id="66" name="Rechthoek 65">
              <a:extLst>
                <a:ext uri="{FF2B5EF4-FFF2-40B4-BE49-F238E27FC236}">
                  <a16:creationId xmlns:a16="http://schemas.microsoft.com/office/drawing/2014/main" id="{176F3B6B-944E-4017-9F68-62698982C162}"/>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67" name="Ovaal 66">
              <a:extLst>
                <a:ext uri="{FF2B5EF4-FFF2-40B4-BE49-F238E27FC236}">
                  <a16:creationId xmlns:a16="http://schemas.microsoft.com/office/drawing/2014/main" id="{A1409754-86CE-4AB4-B150-0D867D98049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8" name="Rechte verbindingslijn 67">
              <a:extLst>
                <a:ext uri="{FF2B5EF4-FFF2-40B4-BE49-F238E27FC236}">
                  <a16:creationId xmlns:a16="http://schemas.microsoft.com/office/drawing/2014/main" id="{F8FB7CC0-863B-4F17-B3B4-49FE21D5EDA1}"/>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69" name="Rechte verbindingslijn 68">
              <a:extLst>
                <a:ext uri="{FF2B5EF4-FFF2-40B4-BE49-F238E27FC236}">
                  <a16:creationId xmlns:a16="http://schemas.microsoft.com/office/drawing/2014/main" id="{AAC2D312-317B-48B6-80B4-9626E9851B73}"/>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70" name="Rechthoek 69">
              <a:extLst>
                <a:ext uri="{FF2B5EF4-FFF2-40B4-BE49-F238E27FC236}">
                  <a16:creationId xmlns:a16="http://schemas.microsoft.com/office/drawing/2014/main" id="{F6345545-BDFC-4EEE-B76B-30FEADF146D1}"/>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9C1E74D7-BCE7-4C39-925F-055E9FF175D6}"/>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72" name="Ovaal 71">
              <a:extLst>
                <a:ext uri="{FF2B5EF4-FFF2-40B4-BE49-F238E27FC236}">
                  <a16:creationId xmlns:a16="http://schemas.microsoft.com/office/drawing/2014/main" id="{6941CE07-9AC0-4B7C-94FC-0A96C2651182}"/>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3" name="Rechthoek 72">
              <a:extLst>
                <a:ext uri="{FF2B5EF4-FFF2-40B4-BE49-F238E27FC236}">
                  <a16:creationId xmlns:a16="http://schemas.microsoft.com/office/drawing/2014/main" id="{522F2471-323C-4D67-9817-609478422EA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4" name="Groep 73">
              <a:extLst>
                <a:ext uri="{FF2B5EF4-FFF2-40B4-BE49-F238E27FC236}">
                  <a16:creationId xmlns:a16="http://schemas.microsoft.com/office/drawing/2014/main" id="{DBF53E4A-1E86-43FC-AD89-871FB997F320}"/>
                </a:ext>
              </a:extLst>
            </p:cNvPr>
            <p:cNvGrpSpPr/>
            <p:nvPr userDrawn="1"/>
          </p:nvGrpSpPr>
          <p:grpSpPr>
            <a:xfrm>
              <a:off x="12757282" y="2184550"/>
              <a:ext cx="825500" cy="209550"/>
              <a:chOff x="13504624" y="2482850"/>
              <a:chExt cx="825500" cy="209550"/>
            </a:xfrm>
          </p:grpSpPr>
          <p:sp>
            <p:nvSpPr>
              <p:cNvPr id="86" name="Rechthoek 85">
                <a:extLst>
                  <a:ext uri="{FF2B5EF4-FFF2-40B4-BE49-F238E27FC236}">
                    <a16:creationId xmlns:a16="http://schemas.microsoft.com/office/drawing/2014/main" id="{DD742ABA-7974-44E6-B34C-78B657EE035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87" name="Rechte verbindingslijn 86">
                <a:extLst>
                  <a:ext uri="{FF2B5EF4-FFF2-40B4-BE49-F238E27FC236}">
                    <a16:creationId xmlns:a16="http://schemas.microsoft.com/office/drawing/2014/main" id="{E3523979-2512-436A-B53E-5574C67AA28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8" name="Gelijkbenige driehoek 87">
                <a:extLst>
                  <a:ext uri="{FF2B5EF4-FFF2-40B4-BE49-F238E27FC236}">
                    <a16:creationId xmlns:a16="http://schemas.microsoft.com/office/drawing/2014/main" id="{7A2BD2DB-2226-4013-B06B-AB386AE5231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75" name="Groep 74">
              <a:extLst>
                <a:ext uri="{FF2B5EF4-FFF2-40B4-BE49-F238E27FC236}">
                  <a16:creationId xmlns:a16="http://schemas.microsoft.com/office/drawing/2014/main" id="{563C4487-9D2F-4396-B38D-FA27F445588C}"/>
                </a:ext>
              </a:extLst>
            </p:cNvPr>
            <p:cNvGrpSpPr/>
            <p:nvPr userDrawn="1"/>
          </p:nvGrpSpPr>
          <p:grpSpPr>
            <a:xfrm>
              <a:off x="12757282" y="1141626"/>
              <a:ext cx="294789" cy="318834"/>
              <a:chOff x="14466489" y="1001522"/>
              <a:chExt cx="290627" cy="314333"/>
            </a:xfrm>
          </p:grpSpPr>
          <p:sp>
            <p:nvSpPr>
              <p:cNvPr id="79" name="Rechthoek 78">
                <a:extLst>
                  <a:ext uri="{FF2B5EF4-FFF2-40B4-BE49-F238E27FC236}">
                    <a16:creationId xmlns:a16="http://schemas.microsoft.com/office/drawing/2014/main" id="{A8778464-D8CF-4A27-A866-597FB418B44E}"/>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1" name="Ovaal 80">
                <a:extLst>
                  <a:ext uri="{FF2B5EF4-FFF2-40B4-BE49-F238E27FC236}">
                    <a16:creationId xmlns:a16="http://schemas.microsoft.com/office/drawing/2014/main" id="{B6C483D4-91F3-48DA-8BF5-24D6385E62D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2" name="Vrije vorm: vorm 81">
                <a:extLst>
                  <a:ext uri="{FF2B5EF4-FFF2-40B4-BE49-F238E27FC236}">
                    <a16:creationId xmlns:a16="http://schemas.microsoft.com/office/drawing/2014/main" id="{E5500FCF-E6E0-4015-ADD2-E13D4FA4BB7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3" name="Rechthoek: afgeronde hoeken 82">
                <a:extLst>
                  <a:ext uri="{FF2B5EF4-FFF2-40B4-BE49-F238E27FC236}">
                    <a16:creationId xmlns:a16="http://schemas.microsoft.com/office/drawing/2014/main" id="{0C120868-992C-4A83-A843-925C6D2117F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84" name="Rechte verbindingslijn 83">
                <a:extLst>
                  <a:ext uri="{FF2B5EF4-FFF2-40B4-BE49-F238E27FC236}">
                    <a16:creationId xmlns:a16="http://schemas.microsoft.com/office/drawing/2014/main" id="{F450B4A0-C913-433C-8F58-AC476870C4F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85" name="Rechte verbindingslijn 84">
                <a:extLst>
                  <a:ext uri="{FF2B5EF4-FFF2-40B4-BE49-F238E27FC236}">
                    <a16:creationId xmlns:a16="http://schemas.microsoft.com/office/drawing/2014/main" id="{F093EB83-9910-4608-928B-B206FCA39884}"/>
                  </a:ext>
                </a:extLst>
              </p:cNvPr>
              <p:cNvCxnSpPr>
                <a:cxnSpLocks/>
                <a:stCxn id="83"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Ovaal 75">
              <a:extLst>
                <a:ext uri="{FF2B5EF4-FFF2-40B4-BE49-F238E27FC236}">
                  <a16:creationId xmlns:a16="http://schemas.microsoft.com/office/drawing/2014/main" id="{ABB66157-FEA6-42F8-BA39-76BA2C3EB8F1}"/>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7" name="Rechthoek 76">
              <a:extLst>
                <a:ext uri="{FF2B5EF4-FFF2-40B4-BE49-F238E27FC236}">
                  <a16:creationId xmlns:a16="http://schemas.microsoft.com/office/drawing/2014/main" id="{E0D16C00-FDEC-43EC-9403-49F8354E66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8" name="Rechte verbindingslijn 77">
              <a:extLst>
                <a:ext uri="{FF2B5EF4-FFF2-40B4-BE49-F238E27FC236}">
                  <a16:creationId xmlns:a16="http://schemas.microsoft.com/office/drawing/2014/main" id="{C0E867D2-F5D7-4492-A6AB-07D22B431A01}"/>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sp>
        <p:nvSpPr>
          <p:cNvPr id="52" name="Titel 1">
            <a:extLst>
              <a:ext uri="{FF2B5EF4-FFF2-40B4-BE49-F238E27FC236}">
                <a16:creationId xmlns:a16="http://schemas.microsoft.com/office/drawing/2014/main" id="{01F6C60D-5159-4B7A-B934-3A1B555544A0}"/>
              </a:ext>
            </a:extLst>
          </p:cNvPr>
          <p:cNvSpPr>
            <a:spLocks noGrp="1"/>
          </p:cNvSpPr>
          <p:nvPr>
            <p:ph type="title" hasCustomPrompt="1"/>
          </p:nvPr>
        </p:nvSpPr>
        <p:spPr>
          <a:xfrm>
            <a:off x="540000" y="538835"/>
            <a:ext cx="11112000" cy="301139"/>
          </a:xfrm>
        </p:spPr>
        <p:txBody>
          <a:bodyPr/>
          <a:lstStyle>
            <a:lvl1pPr>
              <a:defRPr/>
            </a:lvl1pPr>
          </a:lstStyle>
          <a:p>
            <a:r>
              <a:rPr lang="nl-NL" noProof="0"/>
              <a:t>Voeg hier een titel in</a:t>
            </a:r>
            <a:endParaRPr lang="nl-NL"/>
          </a:p>
        </p:txBody>
      </p:sp>
      <p:sp>
        <p:nvSpPr>
          <p:cNvPr id="53" name="Tijdelijke aanduiding voor tekst 32">
            <a:extLst>
              <a:ext uri="{FF2B5EF4-FFF2-40B4-BE49-F238E27FC236}">
                <a16:creationId xmlns:a16="http://schemas.microsoft.com/office/drawing/2014/main" id="{F650475A-DF8D-4155-91B4-07580ED73B72}"/>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Tree>
    <p:extLst>
      <p:ext uri="{BB962C8B-B14F-4D97-AF65-F5344CB8AC3E}">
        <p14:creationId xmlns:p14="http://schemas.microsoft.com/office/powerpoint/2010/main" val="13552173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9277F49C-3EF0-4FE1-9AEE-1B569D8AC0AA}"/>
              </a:ext>
            </a:extLst>
          </p:cNvPr>
          <p:cNvSpPr>
            <a:spLocks noGrp="1"/>
          </p:cNvSpPr>
          <p:nvPr>
            <p:ph type="pic" sz="quarter" idx="16" hasCustomPrompt="1"/>
          </p:nvPr>
        </p:nvSpPr>
        <p:spPr>
          <a:xfrm>
            <a:off x="1" y="-1"/>
            <a:ext cx="12191998" cy="6265769"/>
          </a:xfrm>
          <a:solidFill>
            <a:schemeClr val="bg1">
              <a:lumMod val="95000"/>
            </a:schemeClr>
          </a:solidFill>
        </p:spPr>
        <p:txBody>
          <a:bodyPr lIns="6480000" tIns="0" anchor="ctr"/>
          <a:lstStyle>
            <a:lvl1pPr marL="0" indent="0" algn="l">
              <a:buNone/>
              <a:defRPr sz="1200" i="1">
                <a:solidFill>
                  <a:schemeClr val="bg1">
                    <a:lumMod val="50000"/>
                  </a:schemeClr>
                </a:solidFill>
              </a:defRPr>
            </a:lvl1pPr>
          </a:lstStyle>
          <a:p>
            <a:r>
              <a:rPr lang="nl-NL" noProof="0"/>
              <a:t>Klik op het pictogram hiernaast om een afbeelding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AB95CB60-6D95-48F0-BE63-414DD551F196}"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QUOTE</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1" name="Tijdelijke aanduiding voor verticale tekst 2">
            <a:extLst>
              <a:ext uri="{FF2B5EF4-FFF2-40B4-BE49-F238E27FC236}">
                <a16:creationId xmlns:a16="http://schemas.microsoft.com/office/drawing/2014/main" id="{C9789E4E-F2BA-4AE5-B556-28F06570489F}"/>
              </a:ext>
            </a:extLst>
          </p:cNvPr>
          <p:cNvSpPr>
            <a:spLocks noGrp="1"/>
          </p:cNvSpPr>
          <p:nvPr>
            <p:ph type="body" orient="vert" idx="1" hasCustomPrompt="1"/>
          </p:nvPr>
        </p:nvSpPr>
        <p:spPr>
          <a:xfrm>
            <a:off x="539999" y="546982"/>
            <a:ext cx="5260300" cy="4434453"/>
          </a:xfrm>
          <a:prstGeom prst="roundRect">
            <a:avLst>
              <a:gd name="adj" fmla="val 3753"/>
            </a:avLst>
          </a:prstGeom>
          <a:solidFill>
            <a:schemeClr val="accent1"/>
          </a:solidFill>
        </p:spPr>
        <p:txBody>
          <a:bodyPr vert="horz" wrap="square" lIns="360000" tIns="252000" rIns="360000" bIns="252000" anchor="t">
            <a:noAutofit/>
          </a:bodyPr>
          <a:lstStyle>
            <a:lvl1pPr marL="0" indent="0">
              <a:spcAft>
                <a:spcPts val="1000"/>
              </a:spcAft>
              <a:buClr>
                <a:schemeClr val="bg2">
                  <a:lumMod val="50000"/>
                </a:schemeClr>
              </a:buClr>
              <a:buNone/>
              <a:defRPr sz="2399" b="1" i="0">
                <a:solidFill>
                  <a:schemeClr val="bg1"/>
                </a:solidFill>
              </a:defRPr>
            </a:lvl1pPr>
            <a:lvl2pPr marL="0" indent="0" algn="l">
              <a:spcBef>
                <a:spcPts val="1000"/>
              </a:spcBef>
              <a:buClr>
                <a:schemeClr val="bg1"/>
              </a:buClr>
              <a:buFont typeface="Calibri Light" panose="020F0302020204030204" pitchFamily="34" charset="0"/>
              <a:buNone/>
              <a:defRPr sz="1999" i="1">
                <a:solidFill>
                  <a:schemeClr val="bg1"/>
                </a:solidFill>
              </a:defRPr>
            </a:lvl2pPr>
            <a:lvl3pPr marL="355493" indent="0" algn="r">
              <a:spcBef>
                <a:spcPts val="1000"/>
              </a:spcBef>
              <a:buClr>
                <a:schemeClr val="bg1"/>
              </a:buClr>
              <a:buNone/>
              <a:defRPr i="1">
                <a:solidFill>
                  <a:schemeClr val="bg1"/>
                </a:solidFill>
              </a:defRPr>
            </a:lvl3pPr>
            <a:lvl4pPr>
              <a:defRPr>
                <a:solidFill>
                  <a:schemeClr val="bg1"/>
                </a:solidFill>
              </a:defRPr>
            </a:lvl4pPr>
            <a:lvl5pP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defRPr>
                <a:solidFill>
                  <a:schemeClr val="bg1"/>
                </a:solidFill>
              </a:defRPr>
            </a:lvl8pPr>
            <a:lvl9pPr>
              <a:defRPr>
                <a:solidFill>
                  <a:schemeClr val="bg1"/>
                </a:solidFill>
              </a:defRPr>
            </a:lvl9pPr>
          </a:lstStyle>
          <a:p>
            <a:pPr lvl="0"/>
            <a:r>
              <a:rPr lang="nl-NL" noProof="0"/>
              <a:t>Titel quote</a:t>
            </a:r>
          </a:p>
          <a:p>
            <a:pPr lvl="1"/>
            <a:r>
              <a:rPr lang="nl-NL" noProof="0"/>
              <a:t>Quote tekst</a:t>
            </a:r>
          </a:p>
          <a:p>
            <a:pPr lvl="2"/>
            <a:r>
              <a:rPr lang="nl-NL" noProof="0"/>
              <a:t>Voor- en achternaam</a:t>
            </a:r>
          </a:p>
        </p:txBody>
      </p:sp>
      <p:grpSp>
        <p:nvGrpSpPr>
          <p:cNvPr id="12" name="Instructie">
            <a:extLst>
              <a:ext uri="{FF2B5EF4-FFF2-40B4-BE49-F238E27FC236}">
                <a16:creationId xmlns:a16="http://schemas.microsoft.com/office/drawing/2014/main" id="{C9F35CA6-7BFA-474E-8BDC-C043146657C7}"/>
              </a:ext>
            </a:extLst>
          </p:cNvPr>
          <p:cNvGrpSpPr/>
          <p:nvPr userDrawn="1"/>
        </p:nvGrpSpPr>
        <p:grpSpPr>
          <a:xfrm>
            <a:off x="-3437546" y="1434"/>
            <a:ext cx="3201327" cy="2834720"/>
            <a:chOff x="-3437547" y="1434"/>
            <a:chExt cx="3201327" cy="2834720"/>
          </a:xfrm>
        </p:grpSpPr>
        <p:cxnSp>
          <p:nvCxnSpPr>
            <p:cNvPr id="13" name="Rechte verbindingslijn 12">
              <a:extLst>
                <a:ext uri="{FF2B5EF4-FFF2-40B4-BE49-F238E27FC236}">
                  <a16:creationId xmlns:a16="http://schemas.microsoft.com/office/drawing/2014/main" id="{7470AD52-AC44-4F35-98D6-B477F9F4FF33}"/>
                </a:ext>
              </a:extLst>
            </p:cNvPr>
            <p:cNvCxnSpPr>
              <a:cxnSpLocks/>
            </p:cNvCxnSpPr>
            <p:nvPr userDrawn="1"/>
          </p:nvCxnSpPr>
          <p:spPr>
            <a:xfrm>
              <a:off x="-3419346" y="2836154"/>
              <a:ext cx="3176013" cy="0"/>
            </a:xfrm>
            <a:prstGeom prst="line">
              <a:avLst/>
            </a:prstGeom>
            <a:noFill/>
            <a:ln w="3175" cap="flat" cmpd="sng" algn="ctr">
              <a:solidFill>
                <a:schemeClr val="bg1">
                  <a:lumMod val="50000"/>
                </a:schemeClr>
              </a:solidFill>
              <a:prstDash val="solid"/>
            </a:ln>
            <a:effectLst/>
          </p:spPr>
        </p:cxnSp>
        <p:sp>
          <p:nvSpPr>
            <p:cNvPr id="27" name="Rechthoek 26">
              <a:extLst>
                <a:ext uri="{FF2B5EF4-FFF2-40B4-BE49-F238E27FC236}">
                  <a16:creationId xmlns:a16="http://schemas.microsoft.com/office/drawing/2014/main" id="{52978C1F-24D3-4622-9B8D-123FEF33E756}"/>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8" name="Ovaal 27">
              <a:extLst>
                <a:ext uri="{FF2B5EF4-FFF2-40B4-BE49-F238E27FC236}">
                  <a16:creationId xmlns:a16="http://schemas.microsoft.com/office/drawing/2014/main" id="{25B28BE2-CAEC-48F4-A1CE-8881E74BFB96}"/>
                </a:ext>
              </a:extLst>
            </p:cNvPr>
            <p:cNvSpPr/>
            <p:nvPr userDrawn="1"/>
          </p:nvSpPr>
          <p:spPr>
            <a:xfrm>
              <a:off x="-3425006" y="171914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9" name="Rechte verbindingslijn 28">
              <a:extLst>
                <a:ext uri="{FF2B5EF4-FFF2-40B4-BE49-F238E27FC236}">
                  <a16:creationId xmlns:a16="http://schemas.microsoft.com/office/drawing/2014/main" id="{3B708434-69FA-4D4B-BC0B-17AA0CC2A276}"/>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0" name="Groep 29">
              <a:extLst>
                <a:ext uri="{FF2B5EF4-FFF2-40B4-BE49-F238E27FC236}">
                  <a16:creationId xmlns:a16="http://schemas.microsoft.com/office/drawing/2014/main" id="{B10A304D-A5C7-4821-B822-29F75AF73688}"/>
                </a:ext>
              </a:extLst>
            </p:cNvPr>
            <p:cNvGrpSpPr/>
            <p:nvPr userDrawn="1"/>
          </p:nvGrpSpPr>
          <p:grpSpPr>
            <a:xfrm>
              <a:off x="-3437547" y="349413"/>
              <a:ext cx="2933825" cy="558875"/>
              <a:chOff x="-3419346" y="368233"/>
              <a:chExt cx="3904920" cy="743862"/>
            </a:xfrm>
          </p:grpSpPr>
          <p:sp>
            <p:nvSpPr>
              <p:cNvPr id="42" name="Rechthoek 41">
                <a:extLst>
                  <a:ext uri="{FF2B5EF4-FFF2-40B4-BE49-F238E27FC236}">
                    <a16:creationId xmlns:a16="http://schemas.microsoft.com/office/drawing/2014/main" id="{EA15583D-FEED-4915-8351-6134405434C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43" name="Rechte verbindingslijn 42">
                <a:extLst>
                  <a:ext uri="{FF2B5EF4-FFF2-40B4-BE49-F238E27FC236}">
                    <a16:creationId xmlns:a16="http://schemas.microsoft.com/office/drawing/2014/main" id="{1800BBB6-5EDD-45C2-8E3A-7356183B501F}"/>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76426B96-B581-4B1B-9362-F30E61939D5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hthoek 44">
                <a:extLst>
                  <a:ext uri="{FF2B5EF4-FFF2-40B4-BE49-F238E27FC236}">
                    <a16:creationId xmlns:a16="http://schemas.microsoft.com/office/drawing/2014/main" id="{5074095B-E00B-4AEC-A226-2AD4DB0939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46" name="Groep 45">
                <a:extLst>
                  <a:ext uri="{FF2B5EF4-FFF2-40B4-BE49-F238E27FC236}">
                    <a16:creationId xmlns:a16="http://schemas.microsoft.com/office/drawing/2014/main" id="{FD45D8A9-BD5D-47C3-92EF-3B5B4D8EDA3F}"/>
                  </a:ext>
                </a:extLst>
              </p:cNvPr>
              <p:cNvGrpSpPr/>
              <p:nvPr userDrawn="1"/>
            </p:nvGrpSpPr>
            <p:grpSpPr>
              <a:xfrm>
                <a:off x="-3002834" y="720303"/>
                <a:ext cx="182598" cy="143759"/>
                <a:chOff x="-3310843" y="700986"/>
                <a:chExt cx="182598" cy="143759"/>
              </a:xfrm>
            </p:grpSpPr>
            <p:grpSp>
              <p:nvGrpSpPr>
                <p:cNvPr id="85" name="Groep 84">
                  <a:extLst>
                    <a:ext uri="{FF2B5EF4-FFF2-40B4-BE49-F238E27FC236}">
                      <a16:creationId xmlns:a16="http://schemas.microsoft.com/office/drawing/2014/main" id="{842FFAD4-3D40-4352-9FAC-C137FF2E1DFA}"/>
                    </a:ext>
                  </a:extLst>
                </p:cNvPr>
                <p:cNvGrpSpPr/>
                <p:nvPr userDrawn="1"/>
              </p:nvGrpSpPr>
              <p:grpSpPr>
                <a:xfrm>
                  <a:off x="-3310843" y="700986"/>
                  <a:ext cx="182598" cy="143759"/>
                  <a:chOff x="-3310843" y="700986"/>
                  <a:chExt cx="182598" cy="143759"/>
                </a:xfrm>
              </p:grpSpPr>
              <p:cxnSp>
                <p:nvCxnSpPr>
                  <p:cNvPr id="89" name="Rechte verbindingslijn 88">
                    <a:extLst>
                      <a:ext uri="{FF2B5EF4-FFF2-40B4-BE49-F238E27FC236}">
                        <a16:creationId xmlns:a16="http://schemas.microsoft.com/office/drawing/2014/main" id="{F8DE4A24-1DDE-4A29-9E09-C937FB8DF19D}"/>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90" name="Rechte verbindingslijn 89">
                    <a:extLst>
                      <a:ext uri="{FF2B5EF4-FFF2-40B4-BE49-F238E27FC236}">
                        <a16:creationId xmlns:a16="http://schemas.microsoft.com/office/drawing/2014/main" id="{56B5AFDC-0235-40CC-BB9A-3A180CD80BC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91" name="Rechte verbindingslijn 90">
                    <a:extLst>
                      <a:ext uri="{FF2B5EF4-FFF2-40B4-BE49-F238E27FC236}">
                        <a16:creationId xmlns:a16="http://schemas.microsoft.com/office/drawing/2014/main" id="{2CFB5A99-8B73-4E94-BCAB-279572DE0A9E}"/>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92" name="Rechte verbindingslijn 91">
                    <a:extLst>
                      <a:ext uri="{FF2B5EF4-FFF2-40B4-BE49-F238E27FC236}">
                        <a16:creationId xmlns:a16="http://schemas.microsoft.com/office/drawing/2014/main" id="{728F0BB0-9C6C-4A99-B297-1AC6D2776FB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93" name="Rechte verbindingslijn 92">
                    <a:extLst>
                      <a:ext uri="{FF2B5EF4-FFF2-40B4-BE49-F238E27FC236}">
                        <a16:creationId xmlns:a16="http://schemas.microsoft.com/office/drawing/2014/main" id="{3697836E-FF6E-405D-A56A-A88AEE3C448F}"/>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86" name="Groep 85">
                  <a:extLst>
                    <a:ext uri="{FF2B5EF4-FFF2-40B4-BE49-F238E27FC236}">
                      <a16:creationId xmlns:a16="http://schemas.microsoft.com/office/drawing/2014/main" id="{6782AAEF-C7EA-45B3-BE37-34A3D465E27D}"/>
                    </a:ext>
                  </a:extLst>
                </p:cNvPr>
                <p:cNvGrpSpPr/>
                <p:nvPr userDrawn="1"/>
              </p:nvGrpSpPr>
              <p:grpSpPr>
                <a:xfrm flipH="1">
                  <a:off x="-3310774" y="735854"/>
                  <a:ext cx="88801" cy="72568"/>
                  <a:chOff x="-2091059" y="1395403"/>
                  <a:chExt cx="157316" cy="128558"/>
                </a:xfrm>
              </p:grpSpPr>
              <p:sp>
                <p:nvSpPr>
                  <p:cNvPr id="87" name="Rechthoek 86">
                    <a:extLst>
                      <a:ext uri="{FF2B5EF4-FFF2-40B4-BE49-F238E27FC236}">
                        <a16:creationId xmlns:a16="http://schemas.microsoft.com/office/drawing/2014/main" id="{F3EA78F1-F8BE-4025-A753-0EF2E7BD20A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8" name="Pijl: punthaak 87">
                    <a:extLst>
                      <a:ext uri="{FF2B5EF4-FFF2-40B4-BE49-F238E27FC236}">
                        <a16:creationId xmlns:a16="http://schemas.microsoft.com/office/drawing/2014/main" id="{FA15E25B-D8F6-408A-BAC5-A29C52FE13E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47" name="Groep 46">
                <a:extLst>
                  <a:ext uri="{FF2B5EF4-FFF2-40B4-BE49-F238E27FC236}">
                    <a16:creationId xmlns:a16="http://schemas.microsoft.com/office/drawing/2014/main" id="{D5BCE92F-DBF6-4ED4-9B3A-C66E7680F453}"/>
                  </a:ext>
                </a:extLst>
              </p:cNvPr>
              <p:cNvGrpSpPr/>
              <p:nvPr userDrawn="1"/>
            </p:nvGrpSpPr>
            <p:grpSpPr>
              <a:xfrm>
                <a:off x="-3326107" y="720303"/>
                <a:ext cx="182598" cy="143759"/>
                <a:chOff x="-3634116" y="700986"/>
                <a:chExt cx="182598" cy="143759"/>
              </a:xfrm>
            </p:grpSpPr>
            <p:grpSp>
              <p:nvGrpSpPr>
                <p:cNvPr id="76" name="Groep 75">
                  <a:extLst>
                    <a:ext uri="{FF2B5EF4-FFF2-40B4-BE49-F238E27FC236}">
                      <a16:creationId xmlns:a16="http://schemas.microsoft.com/office/drawing/2014/main" id="{3631BAC6-9985-4B81-8945-9406AA7F15BB}"/>
                    </a:ext>
                  </a:extLst>
                </p:cNvPr>
                <p:cNvGrpSpPr/>
                <p:nvPr userDrawn="1"/>
              </p:nvGrpSpPr>
              <p:grpSpPr>
                <a:xfrm>
                  <a:off x="-3634116" y="700986"/>
                  <a:ext cx="182598" cy="143759"/>
                  <a:chOff x="-3634116" y="700986"/>
                  <a:chExt cx="182598" cy="143759"/>
                </a:xfrm>
              </p:grpSpPr>
              <p:cxnSp>
                <p:nvCxnSpPr>
                  <p:cNvPr id="80" name="Rechte verbindingslijn 79">
                    <a:extLst>
                      <a:ext uri="{FF2B5EF4-FFF2-40B4-BE49-F238E27FC236}">
                        <a16:creationId xmlns:a16="http://schemas.microsoft.com/office/drawing/2014/main" id="{42F3EC91-6A0F-4AFA-BD02-D4A141E590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81" name="Rechte verbindingslijn 80">
                    <a:extLst>
                      <a:ext uri="{FF2B5EF4-FFF2-40B4-BE49-F238E27FC236}">
                        <a16:creationId xmlns:a16="http://schemas.microsoft.com/office/drawing/2014/main" id="{63875392-2802-44D8-A9B2-07742CD26604}"/>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id="{F8439B4C-D8DA-4614-B0C0-30E5016C24F1}"/>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83" name="Rechte verbindingslijn 82">
                    <a:extLst>
                      <a:ext uri="{FF2B5EF4-FFF2-40B4-BE49-F238E27FC236}">
                        <a16:creationId xmlns:a16="http://schemas.microsoft.com/office/drawing/2014/main" id="{874B82FC-3E33-4435-B0E8-8F553DD521D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84" name="Rechte verbindingslijn 83">
                    <a:extLst>
                      <a:ext uri="{FF2B5EF4-FFF2-40B4-BE49-F238E27FC236}">
                        <a16:creationId xmlns:a16="http://schemas.microsoft.com/office/drawing/2014/main" id="{D19202BD-FBEB-4203-9277-FF27EAF4420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77" name="Groep 76">
                  <a:extLst>
                    <a:ext uri="{FF2B5EF4-FFF2-40B4-BE49-F238E27FC236}">
                      <a16:creationId xmlns:a16="http://schemas.microsoft.com/office/drawing/2014/main" id="{455246FC-1488-41AB-A6BB-C08DEC74FA65}"/>
                    </a:ext>
                  </a:extLst>
                </p:cNvPr>
                <p:cNvGrpSpPr/>
                <p:nvPr userDrawn="1"/>
              </p:nvGrpSpPr>
              <p:grpSpPr>
                <a:xfrm>
                  <a:off x="-3634047" y="735854"/>
                  <a:ext cx="88801" cy="72568"/>
                  <a:chOff x="-2091059" y="1395403"/>
                  <a:chExt cx="157316" cy="128558"/>
                </a:xfrm>
              </p:grpSpPr>
              <p:sp>
                <p:nvSpPr>
                  <p:cNvPr id="78" name="Rechthoek 77">
                    <a:extLst>
                      <a:ext uri="{FF2B5EF4-FFF2-40B4-BE49-F238E27FC236}">
                        <a16:creationId xmlns:a16="http://schemas.microsoft.com/office/drawing/2014/main" id="{81A40158-DD83-45F4-BF75-41C7592A280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9" name="Pijl: punthaak 78">
                    <a:extLst>
                      <a:ext uri="{FF2B5EF4-FFF2-40B4-BE49-F238E27FC236}">
                        <a16:creationId xmlns:a16="http://schemas.microsoft.com/office/drawing/2014/main" id="{1A1F3830-54EE-472F-8004-E5CAF7AFE3E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48" name="Rechte verbindingslijn 47">
                <a:extLst>
                  <a:ext uri="{FF2B5EF4-FFF2-40B4-BE49-F238E27FC236}">
                    <a16:creationId xmlns:a16="http://schemas.microsoft.com/office/drawing/2014/main" id="{15BC7D26-CAEE-402F-8099-3B48F048B6AD}"/>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49" name="Rechte verbindingslijn 48">
                <a:extLst>
                  <a:ext uri="{FF2B5EF4-FFF2-40B4-BE49-F238E27FC236}">
                    <a16:creationId xmlns:a16="http://schemas.microsoft.com/office/drawing/2014/main" id="{7C805D0F-4D9A-43EB-A8BD-AADF8581D0C9}"/>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50" name="Groep 49">
                <a:extLst>
                  <a:ext uri="{FF2B5EF4-FFF2-40B4-BE49-F238E27FC236}">
                    <a16:creationId xmlns:a16="http://schemas.microsoft.com/office/drawing/2014/main" id="{8F46A0C8-CAD4-4FE2-A9C8-2877A5122A96}"/>
                  </a:ext>
                </a:extLst>
              </p:cNvPr>
              <p:cNvGrpSpPr/>
              <p:nvPr userDrawn="1"/>
            </p:nvGrpSpPr>
            <p:grpSpPr>
              <a:xfrm>
                <a:off x="-2425037" y="370226"/>
                <a:ext cx="357690" cy="330595"/>
                <a:chOff x="-2721817" y="347336"/>
                <a:chExt cx="432805" cy="400021"/>
              </a:xfrm>
            </p:grpSpPr>
            <p:sp>
              <p:nvSpPr>
                <p:cNvPr id="65" name="Rechthoek 64">
                  <a:extLst>
                    <a:ext uri="{FF2B5EF4-FFF2-40B4-BE49-F238E27FC236}">
                      <a16:creationId xmlns:a16="http://schemas.microsoft.com/office/drawing/2014/main" id="{C97BA9B9-8FD9-44E0-8D83-FCBB63F783E8}"/>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66" name="Groep 65">
                  <a:extLst>
                    <a:ext uri="{FF2B5EF4-FFF2-40B4-BE49-F238E27FC236}">
                      <a16:creationId xmlns:a16="http://schemas.microsoft.com/office/drawing/2014/main" id="{711C09C2-B7B9-463B-954A-34719CC16585}"/>
                    </a:ext>
                  </a:extLst>
                </p:cNvPr>
                <p:cNvGrpSpPr/>
                <p:nvPr userDrawn="1"/>
              </p:nvGrpSpPr>
              <p:grpSpPr>
                <a:xfrm>
                  <a:off x="-2652453" y="431583"/>
                  <a:ext cx="294076" cy="231526"/>
                  <a:chOff x="-3634116" y="700986"/>
                  <a:chExt cx="182598" cy="143759"/>
                </a:xfrm>
              </p:grpSpPr>
              <p:grpSp>
                <p:nvGrpSpPr>
                  <p:cNvPr id="67" name="Groep 66">
                    <a:extLst>
                      <a:ext uri="{FF2B5EF4-FFF2-40B4-BE49-F238E27FC236}">
                        <a16:creationId xmlns:a16="http://schemas.microsoft.com/office/drawing/2014/main" id="{863DE0BA-F3AC-4426-9E8B-2D5EEA2F3E44}"/>
                      </a:ext>
                    </a:extLst>
                  </p:cNvPr>
                  <p:cNvGrpSpPr/>
                  <p:nvPr userDrawn="1"/>
                </p:nvGrpSpPr>
                <p:grpSpPr>
                  <a:xfrm>
                    <a:off x="-3634116" y="700986"/>
                    <a:ext cx="182598" cy="143759"/>
                    <a:chOff x="-3634116" y="700986"/>
                    <a:chExt cx="182598" cy="143759"/>
                  </a:xfrm>
                </p:grpSpPr>
                <p:cxnSp>
                  <p:nvCxnSpPr>
                    <p:cNvPr id="71" name="Rechte verbindingslijn 70">
                      <a:extLst>
                        <a:ext uri="{FF2B5EF4-FFF2-40B4-BE49-F238E27FC236}">
                          <a16:creationId xmlns:a16="http://schemas.microsoft.com/office/drawing/2014/main" id="{71384791-FBF2-45F1-9861-FE525279035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72" name="Rechte verbindingslijn 71">
                      <a:extLst>
                        <a:ext uri="{FF2B5EF4-FFF2-40B4-BE49-F238E27FC236}">
                          <a16:creationId xmlns:a16="http://schemas.microsoft.com/office/drawing/2014/main" id="{55ABB93B-45A3-40E3-BAFC-A5D9D3CE325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73" name="Rechte verbindingslijn 72">
                      <a:extLst>
                        <a:ext uri="{FF2B5EF4-FFF2-40B4-BE49-F238E27FC236}">
                          <a16:creationId xmlns:a16="http://schemas.microsoft.com/office/drawing/2014/main" id="{3BC464E2-37C2-441D-8CDD-BE7208006C0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74" name="Rechte verbindingslijn 73">
                      <a:extLst>
                        <a:ext uri="{FF2B5EF4-FFF2-40B4-BE49-F238E27FC236}">
                          <a16:creationId xmlns:a16="http://schemas.microsoft.com/office/drawing/2014/main" id="{A649914B-17FD-48BD-A008-6CA520F20E0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75" name="Rechte verbindingslijn 74">
                      <a:extLst>
                        <a:ext uri="{FF2B5EF4-FFF2-40B4-BE49-F238E27FC236}">
                          <a16:creationId xmlns:a16="http://schemas.microsoft.com/office/drawing/2014/main" id="{BAF0C7B7-549E-4349-B8A4-99E75861345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8" name="Groep 67">
                    <a:extLst>
                      <a:ext uri="{FF2B5EF4-FFF2-40B4-BE49-F238E27FC236}">
                        <a16:creationId xmlns:a16="http://schemas.microsoft.com/office/drawing/2014/main" id="{1642AFD3-B67F-4B05-A669-318A150525D3}"/>
                      </a:ext>
                    </a:extLst>
                  </p:cNvPr>
                  <p:cNvGrpSpPr/>
                  <p:nvPr userDrawn="1"/>
                </p:nvGrpSpPr>
                <p:grpSpPr>
                  <a:xfrm>
                    <a:off x="-3634047" y="735854"/>
                    <a:ext cx="88801" cy="72568"/>
                    <a:chOff x="-2091059" y="1395403"/>
                    <a:chExt cx="157316" cy="128558"/>
                  </a:xfrm>
                </p:grpSpPr>
                <p:sp>
                  <p:nvSpPr>
                    <p:cNvPr id="69" name="Rechthoek 68">
                      <a:extLst>
                        <a:ext uri="{FF2B5EF4-FFF2-40B4-BE49-F238E27FC236}">
                          <a16:creationId xmlns:a16="http://schemas.microsoft.com/office/drawing/2014/main" id="{2B76EB2D-92B1-4482-B2EF-49469EA64FF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0" name="Pijl: punthaak 69">
                      <a:extLst>
                        <a:ext uri="{FF2B5EF4-FFF2-40B4-BE49-F238E27FC236}">
                          <a16:creationId xmlns:a16="http://schemas.microsoft.com/office/drawing/2014/main" id="{165E083E-7C4B-4D63-BB09-D0A066F6E29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51" name="Groep 50">
                <a:extLst>
                  <a:ext uri="{FF2B5EF4-FFF2-40B4-BE49-F238E27FC236}">
                    <a16:creationId xmlns:a16="http://schemas.microsoft.com/office/drawing/2014/main" id="{7D839A57-51AD-49C4-B030-264525AD7C4B}"/>
                  </a:ext>
                </a:extLst>
              </p:cNvPr>
              <p:cNvGrpSpPr/>
              <p:nvPr userDrawn="1"/>
            </p:nvGrpSpPr>
            <p:grpSpPr>
              <a:xfrm>
                <a:off x="-2425037" y="781500"/>
                <a:ext cx="357690" cy="330595"/>
                <a:chOff x="-2721817" y="782525"/>
                <a:chExt cx="432805" cy="400021"/>
              </a:xfrm>
            </p:grpSpPr>
            <p:sp>
              <p:nvSpPr>
                <p:cNvPr id="54" name="Rechthoek 53">
                  <a:extLst>
                    <a:ext uri="{FF2B5EF4-FFF2-40B4-BE49-F238E27FC236}">
                      <a16:creationId xmlns:a16="http://schemas.microsoft.com/office/drawing/2014/main" id="{F2D01EF0-3E51-453F-97B6-78F62D57293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55" name="Groep 54">
                  <a:extLst>
                    <a:ext uri="{FF2B5EF4-FFF2-40B4-BE49-F238E27FC236}">
                      <a16:creationId xmlns:a16="http://schemas.microsoft.com/office/drawing/2014/main" id="{C0BFA5D1-2728-48EF-B856-2C63CDD6B6B4}"/>
                    </a:ext>
                  </a:extLst>
                </p:cNvPr>
                <p:cNvGrpSpPr/>
                <p:nvPr userDrawn="1"/>
              </p:nvGrpSpPr>
              <p:grpSpPr>
                <a:xfrm>
                  <a:off x="-2652453" y="866772"/>
                  <a:ext cx="294076" cy="231526"/>
                  <a:chOff x="-3310843" y="700986"/>
                  <a:chExt cx="182598" cy="143759"/>
                </a:xfrm>
              </p:grpSpPr>
              <p:grpSp>
                <p:nvGrpSpPr>
                  <p:cNvPr id="56" name="Groep 55">
                    <a:extLst>
                      <a:ext uri="{FF2B5EF4-FFF2-40B4-BE49-F238E27FC236}">
                        <a16:creationId xmlns:a16="http://schemas.microsoft.com/office/drawing/2014/main" id="{D2F0E33D-ACA4-410F-A881-4281E34CE7D5}"/>
                      </a:ext>
                    </a:extLst>
                  </p:cNvPr>
                  <p:cNvGrpSpPr/>
                  <p:nvPr userDrawn="1"/>
                </p:nvGrpSpPr>
                <p:grpSpPr>
                  <a:xfrm>
                    <a:off x="-3310843" y="700986"/>
                    <a:ext cx="182598" cy="143759"/>
                    <a:chOff x="-3310843" y="700986"/>
                    <a:chExt cx="182598" cy="143759"/>
                  </a:xfrm>
                </p:grpSpPr>
                <p:cxnSp>
                  <p:nvCxnSpPr>
                    <p:cNvPr id="60" name="Rechte verbindingslijn 59">
                      <a:extLst>
                        <a:ext uri="{FF2B5EF4-FFF2-40B4-BE49-F238E27FC236}">
                          <a16:creationId xmlns:a16="http://schemas.microsoft.com/office/drawing/2014/main" id="{548D75AD-F67F-4384-A9B8-625B5433B88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61" name="Rechte verbindingslijn 60">
                      <a:extLst>
                        <a:ext uri="{FF2B5EF4-FFF2-40B4-BE49-F238E27FC236}">
                          <a16:creationId xmlns:a16="http://schemas.microsoft.com/office/drawing/2014/main" id="{241C06DD-3B81-40ED-B21E-05532263F57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62" name="Rechte verbindingslijn 61">
                      <a:extLst>
                        <a:ext uri="{FF2B5EF4-FFF2-40B4-BE49-F238E27FC236}">
                          <a16:creationId xmlns:a16="http://schemas.microsoft.com/office/drawing/2014/main" id="{61F8E622-007D-4BB1-ADDC-B6C2A9113109}"/>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63" name="Rechte verbindingslijn 62">
                      <a:extLst>
                        <a:ext uri="{FF2B5EF4-FFF2-40B4-BE49-F238E27FC236}">
                          <a16:creationId xmlns:a16="http://schemas.microsoft.com/office/drawing/2014/main" id="{6D8BFAC9-3A85-4247-9431-8321CA18E89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64" name="Rechte verbindingslijn 63">
                      <a:extLst>
                        <a:ext uri="{FF2B5EF4-FFF2-40B4-BE49-F238E27FC236}">
                          <a16:creationId xmlns:a16="http://schemas.microsoft.com/office/drawing/2014/main" id="{A30AAAAB-B596-40E1-A3AB-BE2A30AF625A}"/>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57" name="Groep 56">
                    <a:extLst>
                      <a:ext uri="{FF2B5EF4-FFF2-40B4-BE49-F238E27FC236}">
                        <a16:creationId xmlns:a16="http://schemas.microsoft.com/office/drawing/2014/main" id="{58AF3395-9991-4EAC-ABE3-518F39455D3B}"/>
                      </a:ext>
                    </a:extLst>
                  </p:cNvPr>
                  <p:cNvGrpSpPr/>
                  <p:nvPr userDrawn="1"/>
                </p:nvGrpSpPr>
                <p:grpSpPr>
                  <a:xfrm flipH="1">
                    <a:off x="-3310774" y="735854"/>
                    <a:ext cx="88801" cy="72568"/>
                    <a:chOff x="-2091059" y="1395403"/>
                    <a:chExt cx="157316" cy="128558"/>
                  </a:xfrm>
                </p:grpSpPr>
                <p:sp>
                  <p:nvSpPr>
                    <p:cNvPr id="58" name="Rechthoek 57">
                      <a:extLst>
                        <a:ext uri="{FF2B5EF4-FFF2-40B4-BE49-F238E27FC236}">
                          <a16:creationId xmlns:a16="http://schemas.microsoft.com/office/drawing/2014/main" id="{C6F124DA-0B40-41C9-B04E-AFDA12B611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59" name="Pijl: punthaak 58">
                      <a:extLst>
                        <a:ext uri="{FF2B5EF4-FFF2-40B4-BE49-F238E27FC236}">
                          <a16:creationId xmlns:a16="http://schemas.microsoft.com/office/drawing/2014/main" id="{8F789C1A-F6E1-4D97-8B96-D1A73171C4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52" name="Rechthoek 51">
                <a:extLst>
                  <a:ext uri="{FF2B5EF4-FFF2-40B4-BE49-F238E27FC236}">
                    <a16:creationId xmlns:a16="http://schemas.microsoft.com/office/drawing/2014/main" id="{0DD7F615-D4F7-43C9-AD6F-E2FB55856FC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53" name="Rechthoek 52">
                <a:extLst>
                  <a:ext uri="{FF2B5EF4-FFF2-40B4-BE49-F238E27FC236}">
                    <a16:creationId xmlns:a16="http://schemas.microsoft.com/office/drawing/2014/main" id="{25BC32A9-6AC4-41E3-9104-D5705B883BF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1" name="Rechte verbindingslijn 30">
              <a:extLst>
                <a:ext uri="{FF2B5EF4-FFF2-40B4-BE49-F238E27FC236}">
                  <a16:creationId xmlns:a16="http://schemas.microsoft.com/office/drawing/2014/main" id="{D4D61B48-E007-4271-B80B-E7E5FBD88CD9}"/>
                </a:ext>
              </a:extLst>
            </p:cNvPr>
            <p:cNvCxnSpPr>
              <a:cxnSpLocks/>
            </p:cNvCxnSpPr>
            <p:nvPr userDrawn="1"/>
          </p:nvCxnSpPr>
          <p:spPr>
            <a:xfrm>
              <a:off x="-3419346" y="1020931"/>
              <a:ext cx="3176013" cy="0"/>
            </a:xfrm>
            <a:prstGeom prst="line">
              <a:avLst/>
            </a:prstGeom>
            <a:noFill/>
            <a:ln w="3175" cap="flat" cmpd="sng" algn="ctr">
              <a:solidFill>
                <a:schemeClr val="bg1">
                  <a:lumMod val="50000"/>
                </a:schemeClr>
              </a:solidFill>
              <a:prstDash val="solid"/>
            </a:ln>
            <a:effectLst/>
          </p:spPr>
        </p:cxnSp>
        <p:sp>
          <p:nvSpPr>
            <p:cNvPr id="32" name="Rechthoek 31">
              <a:extLst>
                <a:ext uri="{FF2B5EF4-FFF2-40B4-BE49-F238E27FC236}">
                  <a16:creationId xmlns:a16="http://schemas.microsoft.com/office/drawing/2014/main" id="{EF348504-D17F-46D9-83BD-4ABA9147A72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399" b="1" i="0" kern="1200" noProof="0">
                  <a:solidFill>
                    <a:schemeClr val="tx1"/>
                  </a:solidFill>
                  <a:latin typeface="+mn-lt"/>
                  <a:ea typeface="+mn-ea"/>
                  <a:cs typeface="+mn-cs"/>
                </a:rPr>
                <a:t>Titel quote (24pt)</a:t>
              </a:r>
            </a:p>
          </p:txBody>
        </p:sp>
        <p:sp>
          <p:nvSpPr>
            <p:cNvPr id="33" name="Ovaal 32">
              <a:extLst>
                <a:ext uri="{FF2B5EF4-FFF2-40B4-BE49-F238E27FC236}">
                  <a16:creationId xmlns:a16="http://schemas.microsoft.com/office/drawing/2014/main" id="{8BF5F295-E7D3-4A03-9E13-427F35AC3DBE}"/>
                </a:ext>
              </a:extLst>
            </p:cNvPr>
            <p:cNvSpPr/>
            <p:nvPr userDrawn="1"/>
          </p:nvSpPr>
          <p:spPr>
            <a:xfrm>
              <a:off x="-3425006" y="2091065"/>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 name="Rechthoek 33">
              <a:extLst>
                <a:ext uri="{FF2B5EF4-FFF2-40B4-BE49-F238E27FC236}">
                  <a16:creationId xmlns:a16="http://schemas.microsoft.com/office/drawing/2014/main" id="{1564C920-E615-4D87-83D0-5EC2125A4F74}"/>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41" name="Rechthoek 40">
              <a:extLst>
                <a:ext uri="{FF2B5EF4-FFF2-40B4-BE49-F238E27FC236}">
                  <a16:creationId xmlns:a16="http://schemas.microsoft.com/office/drawing/2014/main" id="{F153F3D6-4CA4-416F-ACA2-562A18BA86F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sp>
          <p:nvSpPr>
            <p:cNvPr id="139" name="Ovaal 138">
              <a:extLst>
                <a:ext uri="{FF2B5EF4-FFF2-40B4-BE49-F238E27FC236}">
                  <a16:creationId xmlns:a16="http://schemas.microsoft.com/office/drawing/2014/main" id="{CFCB3DB3-18C6-4F7C-BFDD-B60CB1F99542}"/>
                </a:ext>
              </a:extLst>
            </p:cNvPr>
            <p:cNvSpPr/>
            <p:nvPr userDrawn="1"/>
          </p:nvSpPr>
          <p:spPr>
            <a:xfrm>
              <a:off x="-3425006" y="2459555"/>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0" name="Rechthoek 139">
              <a:extLst>
                <a:ext uri="{FF2B5EF4-FFF2-40B4-BE49-F238E27FC236}">
                  <a16:creationId xmlns:a16="http://schemas.microsoft.com/office/drawing/2014/main" id="{E7E19244-A189-4FDB-AF43-1667CAA7616B}"/>
                </a:ext>
              </a:extLst>
            </p:cNvPr>
            <p:cNvSpPr/>
            <p:nvPr userDrawn="1"/>
          </p:nvSpPr>
          <p:spPr>
            <a:xfrm>
              <a:off x="-3059324" y="2459554"/>
              <a:ext cx="2823104" cy="255963"/>
            </a:xfrm>
            <a:prstGeom prst="rect">
              <a:avLst/>
            </a:prstGeom>
            <a:noFill/>
            <a:ln w="25400" cap="flat" cmpd="sng" algn="ctr">
              <a:noFill/>
              <a:prstDash val="solid"/>
            </a:ln>
            <a:effectLst/>
          </p:spPr>
          <p:txBody>
            <a:bodyPr lIns="0" tIns="0" rIns="0" bIns="0" rtlCol="0" anchor="ctr"/>
            <a:lstStyle/>
            <a:p>
              <a:pPr marL="0" marR="0" lvl="1" indent="0" algn="l" defTabSz="914126" rtl="0" eaLnBrk="1" fontAlgn="auto" latinLnBrk="0" hangingPunct="1">
                <a:lnSpc>
                  <a:spcPct val="100000"/>
                </a:lnSpc>
                <a:spcBef>
                  <a:spcPts val="300"/>
                </a:spcBef>
                <a:spcAft>
                  <a:spcPts val="300"/>
                </a:spcAft>
                <a:buClr>
                  <a:schemeClr val="tx1"/>
                </a:buClr>
                <a:buSzTx/>
                <a:buFont typeface="Calibri Light" panose="020F0302020204030204" pitchFamily="34" charset="0"/>
                <a:buNone/>
                <a:tabLst/>
                <a:defRPr/>
              </a:pPr>
              <a:r>
                <a:rPr lang="nl-NL" sz="1400" kern="1200" noProof="0">
                  <a:solidFill>
                    <a:schemeClr val="tx1"/>
                  </a:solidFill>
                  <a:latin typeface="+mn-lt"/>
                  <a:ea typeface="+mn-ea"/>
                  <a:cs typeface="+mn-cs"/>
                </a:rPr>
                <a:t>Voor- en achternaam (14pt)</a:t>
              </a:r>
            </a:p>
          </p:txBody>
        </p:sp>
      </p:grpSp>
      <p:grpSp>
        <p:nvGrpSpPr>
          <p:cNvPr id="237" name="Instructie">
            <a:extLst>
              <a:ext uri="{FF2B5EF4-FFF2-40B4-BE49-F238E27FC236}">
                <a16:creationId xmlns:a16="http://schemas.microsoft.com/office/drawing/2014/main" id="{5491918F-D540-4E76-916D-5D5C9250EACF}"/>
              </a:ext>
            </a:extLst>
          </p:cNvPr>
          <p:cNvGrpSpPr/>
          <p:nvPr userDrawn="1"/>
        </p:nvGrpSpPr>
        <p:grpSpPr>
          <a:xfrm>
            <a:off x="12391601" y="1"/>
            <a:ext cx="3183678" cy="3883011"/>
            <a:chOff x="12391601" y="0"/>
            <a:chExt cx="3183678" cy="3883011"/>
          </a:xfrm>
        </p:grpSpPr>
        <p:grpSp>
          <p:nvGrpSpPr>
            <p:cNvPr id="241" name="Groep 240">
              <a:extLst>
                <a:ext uri="{FF2B5EF4-FFF2-40B4-BE49-F238E27FC236}">
                  <a16:creationId xmlns:a16="http://schemas.microsoft.com/office/drawing/2014/main" id="{94DACCBF-5E7C-44F3-94C0-3F7A4D6E3803}"/>
                </a:ext>
              </a:extLst>
            </p:cNvPr>
            <p:cNvGrpSpPr/>
            <p:nvPr userDrawn="1"/>
          </p:nvGrpSpPr>
          <p:grpSpPr>
            <a:xfrm>
              <a:off x="12757282" y="3100116"/>
              <a:ext cx="1499406" cy="678267"/>
              <a:chOff x="12757283" y="3120781"/>
              <a:chExt cx="1499406" cy="678267"/>
            </a:xfrm>
          </p:grpSpPr>
          <p:sp>
            <p:nvSpPr>
              <p:cNvPr id="264" name="Rechthoek 263">
                <a:extLst>
                  <a:ext uri="{FF2B5EF4-FFF2-40B4-BE49-F238E27FC236}">
                    <a16:creationId xmlns:a16="http://schemas.microsoft.com/office/drawing/2014/main" id="{B02759E1-C05D-431B-AE2A-27DC36EC65E2}"/>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65" name="Rechthoek 264">
                <a:extLst>
                  <a:ext uri="{FF2B5EF4-FFF2-40B4-BE49-F238E27FC236}">
                    <a16:creationId xmlns:a16="http://schemas.microsoft.com/office/drawing/2014/main" id="{158B4D79-3C30-465D-B97C-08B48449B45E}"/>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6" name="Tekstvak 265">
                <a:extLst>
                  <a:ext uri="{FF2B5EF4-FFF2-40B4-BE49-F238E27FC236}">
                    <a16:creationId xmlns:a16="http://schemas.microsoft.com/office/drawing/2014/main" id="{B1DC80E3-5222-4D34-A47A-EE5BB06A16A7}"/>
                  </a:ext>
                </a:extLst>
              </p:cNvPr>
              <p:cNvSpPr txBox="1"/>
              <p:nvPr userDrawn="1"/>
            </p:nvSpPr>
            <p:spPr>
              <a:xfrm>
                <a:off x="12997648" y="3159891"/>
                <a:ext cx="957818" cy="203133"/>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267" name="Tekstvak 266">
                <a:extLst>
                  <a:ext uri="{FF2B5EF4-FFF2-40B4-BE49-F238E27FC236}">
                    <a16:creationId xmlns:a16="http://schemas.microsoft.com/office/drawing/2014/main" id="{03EC5212-FD13-4992-9F4E-53B81E0A3138}"/>
                  </a:ext>
                </a:extLst>
              </p:cNvPr>
              <p:cNvSpPr txBox="1"/>
              <p:nvPr userDrawn="1"/>
            </p:nvSpPr>
            <p:spPr>
              <a:xfrm>
                <a:off x="12984219" y="3481017"/>
                <a:ext cx="1165564" cy="203133"/>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68" name="Picture 3">
                <a:extLst>
                  <a:ext uri="{FF2B5EF4-FFF2-40B4-BE49-F238E27FC236}">
                    <a16:creationId xmlns:a16="http://schemas.microsoft.com/office/drawing/2014/main" id="{99081990-F68A-4CE7-B403-9C6AF767148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9" name="Gelijkbenige driehoek 268">
                <a:extLst>
                  <a:ext uri="{FF2B5EF4-FFF2-40B4-BE49-F238E27FC236}">
                    <a16:creationId xmlns:a16="http://schemas.microsoft.com/office/drawing/2014/main" id="{7EA62E21-B95F-46A0-9609-6FA9F65415A8}"/>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70" name="Groep 269">
                <a:extLst>
                  <a:ext uri="{FF2B5EF4-FFF2-40B4-BE49-F238E27FC236}">
                    <a16:creationId xmlns:a16="http://schemas.microsoft.com/office/drawing/2014/main" id="{90808785-59DA-4748-A1F4-9EFD8712A5C3}"/>
                  </a:ext>
                </a:extLst>
              </p:cNvPr>
              <p:cNvGrpSpPr/>
              <p:nvPr userDrawn="1"/>
            </p:nvGrpSpPr>
            <p:grpSpPr>
              <a:xfrm>
                <a:off x="12822311" y="3178534"/>
                <a:ext cx="182309" cy="163794"/>
                <a:chOff x="12832541" y="3162395"/>
                <a:chExt cx="219532" cy="197236"/>
              </a:xfrm>
            </p:grpSpPr>
            <p:sp>
              <p:nvSpPr>
                <p:cNvPr id="275" name="Rechthoek 274">
                  <a:extLst>
                    <a:ext uri="{FF2B5EF4-FFF2-40B4-BE49-F238E27FC236}">
                      <a16:creationId xmlns:a16="http://schemas.microsoft.com/office/drawing/2014/main" id="{ABDC1EAB-84B3-49ED-8D0B-E799299D2CAB}"/>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276" name="Rechthoek 275">
                  <a:extLst>
                    <a:ext uri="{FF2B5EF4-FFF2-40B4-BE49-F238E27FC236}">
                      <a16:creationId xmlns:a16="http://schemas.microsoft.com/office/drawing/2014/main" id="{8C660497-F5E5-41E7-9208-7673AC6F4D9D}"/>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277" name="Rechthoek 276">
                  <a:extLst>
                    <a:ext uri="{FF2B5EF4-FFF2-40B4-BE49-F238E27FC236}">
                      <a16:creationId xmlns:a16="http://schemas.microsoft.com/office/drawing/2014/main" id="{0672E17E-BC3A-488B-AF2D-510FEF850AD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nvGrpSpPr>
              <p:cNvPr id="271" name="Groep 270">
                <a:extLst>
                  <a:ext uri="{FF2B5EF4-FFF2-40B4-BE49-F238E27FC236}">
                    <a16:creationId xmlns:a16="http://schemas.microsoft.com/office/drawing/2014/main" id="{AD5B832E-290A-4C57-87C6-747ACE00158E}"/>
                  </a:ext>
                </a:extLst>
              </p:cNvPr>
              <p:cNvGrpSpPr/>
              <p:nvPr userDrawn="1"/>
            </p:nvGrpSpPr>
            <p:grpSpPr>
              <a:xfrm>
                <a:off x="12822311" y="3480352"/>
                <a:ext cx="182309" cy="163794"/>
                <a:chOff x="12832541" y="3162395"/>
                <a:chExt cx="219532" cy="197236"/>
              </a:xfrm>
            </p:grpSpPr>
            <p:sp>
              <p:nvSpPr>
                <p:cNvPr id="272" name="Rechthoek 271">
                  <a:extLst>
                    <a:ext uri="{FF2B5EF4-FFF2-40B4-BE49-F238E27FC236}">
                      <a16:creationId xmlns:a16="http://schemas.microsoft.com/office/drawing/2014/main" id="{B7456BCF-EBDB-43EE-8DB4-DEDB47762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273" name="Rechthoek 272">
                  <a:extLst>
                    <a:ext uri="{FF2B5EF4-FFF2-40B4-BE49-F238E27FC236}">
                      <a16:creationId xmlns:a16="http://schemas.microsoft.com/office/drawing/2014/main" id="{A59F3A86-1244-448C-88C4-20F1E95B7885}"/>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274" name="Rechthoek 273">
                  <a:extLst>
                    <a:ext uri="{FF2B5EF4-FFF2-40B4-BE49-F238E27FC236}">
                      <a16:creationId xmlns:a16="http://schemas.microsoft.com/office/drawing/2014/main" id="{366471D4-3556-4A1B-A7F0-4BDA26CE44A2}"/>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
          <p:nvSpPr>
            <p:cNvPr id="242" name="Rechthoek 241">
              <a:extLst>
                <a:ext uri="{FF2B5EF4-FFF2-40B4-BE49-F238E27FC236}">
                  <a16:creationId xmlns:a16="http://schemas.microsoft.com/office/drawing/2014/main" id="{7F4F5C60-1F67-4C31-897B-D7C807FF3A9C}"/>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243" name="Ovaal 242">
              <a:extLst>
                <a:ext uri="{FF2B5EF4-FFF2-40B4-BE49-F238E27FC236}">
                  <a16:creationId xmlns:a16="http://schemas.microsoft.com/office/drawing/2014/main" id="{3B8192CF-FF08-4E42-AFAE-AFF24262776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44" name="Rechte verbindingslijn 243">
              <a:extLst>
                <a:ext uri="{FF2B5EF4-FFF2-40B4-BE49-F238E27FC236}">
                  <a16:creationId xmlns:a16="http://schemas.microsoft.com/office/drawing/2014/main" id="{92A9A90B-F5D1-4489-817C-6AAB86EBDF76}"/>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245" name="Rechte verbindingslijn 244">
              <a:extLst>
                <a:ext uri="{FF2B5EF4-FFF2-40B4-BE49-F238E27FC236}">
                  <a16:creationId xmlns:a16="http://schemas.microsoft.com/office/drawing/2014/main" id="{06008E7B-F5A4-4CED-B734-9C1D3D9A287A}"/>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246" name="Rechthoek 245">
              <a:extLst>
                <a:ext uri="{FF2B5EF4-FFF2-40B4-BE49-F238E27FC236}">
                  <a16:creationId xmlns:a16="http://schemas.microsoft.com/office/drawing/2014/main" id="{203F024B-60C4-4D71-9EA0-3621B42A3ED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47" name="Rechte verbindingslijn 246">
              <a:extLst>
                <a:ext uri="{FF2B5EF4-FFF2-40B4-BE49-F238E27FC236}">
                  <a16:creationId xmlns:a16="http://schemas.microsoft.com/office/drawing/2014/main" id="{7EABF443-8CD1-458D-A549-C93744F20F48}"/>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248" name="Ovaal 247">
              <a:extLst>
                <a:ext uri="{FF2B5EF4-FFF2-40B4-BE49-F238E27FC236}">
                  <a16:creationId xmlns:a16="http://schemas.microsoft.com/office/drawing/2014/main" id="{96243A47-BA60-458B-8515-9699DB2BC06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49" name="Rechthoek 248">
              <a:extLst>
                <a:ext uri="{FF2B5EF4-FFF2-40B4-BE49-F238E27FC236}">
                  <a16:creationId xmlns:a16="http://schemas.microsoft.com/office/drawing/2014/main" id="{9F28C744-5C9A-406A-A233-25F71A82B3D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50" name="Groep 249">
              <a:extLst>
                <a:ext uri="{FF2B5EF4-FFF2-40B4-BE49-F238E27FC236}">
                  <a16:creationId xmlns:a16="http://schemas.microsoft.com/office/drawing/2014/main" id="{2ADC90C0-E8A7-45BE-8C19-32CF2684F04B}"/>
                </a:ext>
              </a:extLst>
            </p:cNvPr>
            <p:cNvGrpSpPr/>
            <p:nvPr userDrawn="1"/>
          </p:nvGrpSpPr>
          <p:grpSpPr>
            <a:xfrm>
              <a:off x="12757282" y="2184550"/>
              <a:ext cx="825500" cy="209550"/>
              <a:chOff x="13504624" y="2482850"/>
              <a:chExt cx="825500" cy="209550"/>
            </a:xfrm>
          </p:grpSpPr>
          <p:sp>
            <p:nvSpPr>
              <p:cNvPr id="261" name="Rechthoek 260">
                <a:extLst>
                  <a:ext uri="{FF2B5EF4-FFF2-40B4-BE49-F238E27FC236}">
                    <a16:creationId xmlns:a16="http://schemas.microsoft.com/office/drawing/2014/main" id="{F8552CA6-F6C7-4327-AE13-0489A94AF44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62" name="Rechte verbindingslijn 261">
                <a:extLst>
                  <a:ext uri="{FF2B5EF4-FFF2-40B4-BE49-F238E27FC236}">
                    <a16:creationId xmlns:a16="http://schemas.microsoft.com/office/drawing/2014/main" id="{54F435DC-C63E-4FF0-9405-D66348673BD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63" name="Gelijkbenige driehoek 262">
                <a:extLst>
                  <a:ext uri="{FF2B5EF4-FFF2-40B4-BE49-F238E27FC236}">
                    <a16:creationId xmlns:a16="http://schemas.microsoft.com/office/drawing/2014/main" id="{D65CEBD3-80AC-42E7-A9B8-FD4A9D69828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51" name="Groep 250">
              <a:extLst>
                <a:ext uri="{FF2B5EF4-FFF2-40B4-BE49-F238E27FC236}">
                  <a16:creationId xmlns:a16="http://schemas.microsoft.com/office/drawing/2014/main" id="{62C5F95C-44A3-440C-988C-043424C611D1}"/>
                </a:ext>
              </a:extLst>
            </p:cNvPr>
            <p:cNvGrpSpPr/>
            <p:nvPr userDrawn="1"/>
          </p:nvGrpSpPr>
          <p:grpSpPr>
            <a:xfrm>
              <a:off x="12757282" y="1141626"/>
              <a:ext cx="294789" cy="318834"/>
              <a:chOff x="14466489" y="1001522"/>
              <a:chExt cx="290627" cy="314333"/>
            </a:xfrm>
          </p:grpSpPr>
          <p:sp>
            <p:nvSpPr>
              <p:cNvPr id="255" name="Rechthoek 254">
                <a:extLst>
                  <a:ext uri="{FF2B5EF4-FFF2-40B4-BE49-F238E27FC236}">
                    <a16:creationId xmlns:a16="http://schemas.microsoft.com/office/drawing/2014/main" id="{F0EDDF1E-3C33-4F98-8C07-280DBEBDA389}"/>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56" name="Ovaal 255">
                <a:extLst>
                  <a:ext uri="{FF2B5EF4-FFF2-40B4-BE49-F238E27FC236}">
                    <a16:creationId xmlns:a16="http://schemas.microsoft.com/office/drawing/2014/main" id="{593EEAF9-A0D9-4C4A-B674-E1D8658EF565}"/>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7" name="Vrije vorm: vorm 256">
                <a:extLst>
                  <a:ext uri="{FF2B5EF4-FFF2-40B4-BE49-F238E27FC236}">
                    <a16:creationId xmlns:a16="http://schemas.microsoft.com/office/drawing/2014/main" id="{3BE204A8-843C-469A-97BE-06F2C06C507F}"/>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8" name="Rechthoek: afgeronde hoeken 257">
                <a:extLst>
                  <a:ext uri="{FF2B5EF4-FFF2-40B4-BE49-F238E27FC236}">
                    <a16:creationId xmlns:a16="http://schemas.microsoft.com/office/drawing/2014/main" id="{70D35218-ACCA-48B8-B440-E9D19C5714C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59" name="Rechte verbindingslijn 258">
                <a:extLst>
                  <a:ext uri="{FF2B5EF4-FFF2-40B4-BE49-F238E27FC236}">
                    <a16:creationId xmlns:a16="http://schemas.microsoft.com/office/drawing/2014/main" id="{5A9D4445-125E-49D6-B34D-0D641D7808E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60" name="Rechte verbindingslijn 259">
                <a:extLst>
                  <a:ext uri="{FF2B5EF4-FFF2-40B4-BE49-F238E27FC236}">
                    <a16:creationId xmlns:a16="http://schemas.microsoft.com/office/drawing/2014/main" id="{11B68801-55B3-4408-82AC-29D8E6881934}"/>
                  </a:ext>
                </a:extLst>
              </p:cNvPr>
              <p:cNvCxnSpPr>
                <a:cxnSpLocks/>
                <a:stCxn id="25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52" name="Ovaal 251">
              <a:extLst>
                <a:ext uri="{FF2B5EF4-FFF2-40B4-BE49-F238E27FC236}">
                  <a16:creationId xmlns:a16="http://schemas.microsoft.com/office/drawing/2014/main" id="{44303F5E-67D9-4A8F-98D8-56F2581C51BB}"/>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53" name="Rechthoek 252">
              <a:extLst>
                <a:ext uri="{FF2B5EF4-FFF2-40B4-BE49-F238E27FC236}">
                  <a16:creationId xmlns:a16="http://schemas.microsoft.com/office/drawing/2014/main" id="{F19011DA-D85D-4B6B-9046-D65D8C1BF8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54" name="Rechte verbindingslijn 253">
              <a:extLst>
                <a:ext uri="{FF2B5EF4-FFF2-40B4-BE49-F238E27FC236}">
                  <a16:creationId xmlns:a16="http://schemas.microsoft.com/office/drawing/2014/main" id="{2F225B54-B8FA-4201-A60B-FEC37354923F}"/>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spTree>
    <p:extLst>
      <p:ext uri="{BB962C8B-B14F-4D97-AF65-F5344CB8AC3E}">
        <p14:creationId xmlns:p14="http://schemas.microsoft.com/office/powerpoint/2010/main" val="2333762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KST / 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5212FADA-E281-473E-BC04-D5AF486568F1}"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GRAFIEK</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8"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99" name="Instructie">
            <a:extLst>
              <a:ext uri="{FF2B5EF4-FFF2-40B4-BE49-F238E27FC236}">
                <a16:creationId xmlns:a16="http://schemas.microsoft.com/office/drawing/2014/main" id="{73DF0AAA-2D08-4FFB-8F59-5AC0380A2539}"/>
              </a:ext>
            </a:extLst>
          </p:cNvPr>
          <p:cNvGrpSpPr/>
          <p:nvPr userDrawn="1"/>
        </p:nvGrpSpPr>
        <p:grpSpPr>
          <a:xfrm>
            <a:off x="12389714" y="5221437"/>
            <a:ext cx="3183677" cy="1636565"/>
            <a:chOff x="12389714" y="4327164"/>
            <a:chExt cx="3183677" cy="1636565"/>
          </a:xfrm>
        </p:grpSpPr>
        <p:cxnSp>
          <p:nvCxnSpPr>
            <p:cNvPr id="101" name="Rechte verbindingslijn 100">
              <a:extLst>
                <a:ext uri="{FF2B5EF4-FFF2-40B4-BE49-F238E27FC236}">
                  <a16:creationId xmlns:a16="http://schemas.microsoft.com/office/drawing/2014/main" id="{6BEB8563-6DFC-49A1-A0EC-60E06EEAA630}"/>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102" name="Rechthoek 101">
              <a:extLst>
                <a:ext uri="{FF2B5EF4-FFF2-40B4-BE49-F238E27FC236}">
                  <a16:creationId xmlns:a16="http://schemas.microsoft.com/office/drawing/2014/main" id="{25862629-8712-49B9-B934-80319E3F3E2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103" name="Ovaal 102">
              <a:extLst>
                <a:ext uri="{FF2B5EF4-FFF2-40B4-BE49-F238E27FC236}">
                  <a16:creationId xmlns:a16="http://schemas.microsoft.com/office/drawing/2014/main" id="{AE50A387-EF89-4639-A5D5-51B2046494EF}"/>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4" name="Rechte verbindingslijn 103">
              <a:extLst>
                <a:ext uri="{FF2B5EF4-FFF2-40B4-BE49-F238E27FC236}">
                  <a16:creationId xmlns:a16="http://schemas.microsoft.com/office/drawing/2014/main" id="{3485DBD1-B8BC-4E1F-AC58-C1EA763F8C4E}"/>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105" name="Rechthoek 104">
              <a:extLst>
                <a:ext uri="{FF2B5EF4-FFF2-40B4-BE49-F238E27FC236}">
                  <a16:creationId xmlns:a16="http://schemas.microsoft.com/office/drawing/2014/main" id="{6796C7CB-DCE4-4B74-971D-8C6D54AFFEC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106" name="Groep 105">
              <a:extLst>
                <a:ext uri="{FF2B5EF4-FFF2-40B4-BE49-F238E27FC236}">
                  <a16:creationId xmlns:a16="http://schemas.microsoft.com/office/drawing/2014/main" id="{9716417D-3023-4155-9D06-0B4920509541}"/>
                </a:ext>
              </a:extLst>
            </p:cNvPr>
            <p:cNvGrpSpPr/>
            <p:nvPr userDrawn="1"/>
          </p:nvGrpSpPr>
          <p:grpSpPr>
            <a:xfrm>
              <a:off x="12755394" y="5222855"/>
              <a:ext cx="1714530" cy="639425"/>
              <a:chOff x="12757283" y="4365594"/>
              <a:chExt cx="1714530" cy="639425"/>
            </a:xfrm>
          </p:grpSpPr>
          <p:sp>
            <p:nvSpPr>
              <p:cNvPr id="107" name="Rechthoek 106">
                <a:extLst>
                  <a:ext uri="{FF2B5EF4-FFF2-40B4-BE49-F238E27FC236}">
                    <a16:creationId xmlns:a16="http://schemas.microsoft.com/office/drawing/2014/main" id="{728C42C2-1608-48F7-A640-CEF8E15ACCED}"/>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8" name="Rechthoek 107">
                <a:extLst>
                  <a:ext uri="{FF2B5EF4-FFF2-40B4-BE49-F238E27FC236}">
                    <a16:creationId xmlns:a16="http://schemas.microsoft.com/office/drawing/2014/main" id="{C577C2D9-F34C-41C5-A88B-56A65CC38187}"/>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9" name="Tekstvak 108">
                <a:extLst>
                  <a:ext uri="{FF2B5EF4-FFF2-40B4-BE49-F238E27FC236}">
                    <a16:creationId xmlns:a16="http://schemas.microsoft.com/office/drawing/2014/main" id="{E1EEB95A-A0C6-4FFD-BA71-BB3ED11CCB08}"/>
                  </a:ext>
                </a:extLst>
              </p:cNvPr>
              <p:cNvSpPr txBox="1"/>
              <p:nvPr userDrawn="1"/>
            </p:nvSpPr>
            <p:spPr>
              <a:xfrm>
                <a:off x="12997648" y="4404704"/>
                <a:ext cx="1248154"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110" name="Tekstvak 109">
                <a:extLst>
                  <a:ext uri="{FF2B5EF4-FFF2-40B4-BE49-F238E27FC236}">
                    <a16:creationId xmlns:a16="http://schemas.microsoft.com/office/drawing/2014/main" id="{4DDD0F85-BA7A-4BEE-A3B3-970743F41683}"/>
                  </a:ext>
                </a:extLst>
              </p:cNvPr>
              <p:cNvSpPr txBox="1"/>
              <p:nvPr userDrawn="1"/>
            </p:nvSpPr>
            <p:spPr>
              <a:xfrm>
                <a:off x="12984219" y="4725830"/>
                <a:ext cx="1274711"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111" name="Picture 3">
                <a:extLst>
                  <a:ext uri="{FF2B5EF4-FFF2-40B4-BE49-F238E27FC236}">
                    <a16:creationId xmlns:a16="http://schemas.microsoft.com/office/drawing/2014/main" id="{0D7FE121-0BDF-43BA-BBBB-F86E7F31A7A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2" name="Groep 111">
                <a:extLst>
                  <a:ext uri="{FF2B5EF4-FFF2-40B4-BE49-F238E27FC236}">
                    <a16:creationId xmlns:a16="http://schemas.microsoft.com/office/drawing/2014/main" id="{212B7847-F5F6-4D59-AE9D-9EAABAE8D77C}"/>
                  </a:ext>
                </a:extLst>
              </p:cNvPr>
              <p:cNvGrpSpPr/>
              <p:nvPr userDrawn="1"/>
            </p:nvGrpSpPr>
            <p:grpSpPr>
              <a:xfrm>
                <a:off x="12831198" y="4432250"/>
                <a:ext cx="139861" cy="152244"/>
                <a:chOff x="12574450" y="6053892"/>
                <a:chExt cx="169232" cy="184215"/>
              </a:xfrm>
            </p:grpSpPr>
            <p:sp>
              <p:nvSpPr>
                <p:cNvPr id="135" name="Rechthoek 134">
                  <a:extLst>
                    <a:ext uri="{FF2B5EF4-FFF2-40B4-BE49-F238E27FC236}">
                      <a16:creationId xmlns:a16="http://schemas.microsoft.com/office/drawing/2014/main" id="{268D2472-27C1-49B2-8251-A0C6D175C1F1}"/>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136" name="Rechthoek 135">
                  <a:extLst>
                    <a:ext uri="{FF2B5EF4-FFF2-40B4-BE49-F238E27FC236}">
                      <a16:creationId xmlns:a16="http://schemas.microsoft.com/office/drawing/2014/main" id="{887E6C83-00B9-4617-8913-29138F5061B7}"/>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137" name="Rechthoek 136">
                  <a:extLst>
                    <a:ext uri="{FF2B5EF4-FFF2-40B4-BE49-F238E27FC236}">
                      <a16:creationId xmlns:a16="http://schemas.microsoft.com/office/drawing/2014/main" id="{3E774B55-7142-42FF-A6E7-5D943F99E96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grpSp>
          <p:grpSp>
            <p:nvGrpSpPr>
              <p:cNvPr id="113" name="Groep 112">
                <a:extLst>
                  <a:ext uri="{FF2B5EF4-FFF2-40B4-BE49-F238E27FC236}">
                    <a16:creationId xmlns:a16="http://schemas.microsoft.com/office/drawing/2014/main" id="{5C9C1B5B-1E61-4BF2-8C72-C16A8E010740}"/>
                  </a:ext>
                </a:extLst>
              </p:cNvPr>
              <p:cNvGrpSpPr/>
              <p:nvPr userDrawn="1"/>
            </p:nvGrpSpPr>
            <p:grpSpPr>
              <a:xfrm>
                <a:off x="12831198" y="4748585"/>
                <a:ext cx="184916" cy="120210"/>
                <a:chOff x="8815516" y="1076284"/>
                <a:chExt cx="503174" cy="327105"/>
              </a:xfrm>
            </p:grpSpPr>
            <p:sp>
              <p:nvSpPr>
                <p:cNvPr id="114" name="Rechthoek 113">
                  <a:extLst>
                    <a:ext uri="{FF2B5EF4-FFF2-40B4-BE49-F238E27FC236}">
                      <a16:creationId xmlns:a16="http://schemas.microsoft.com/office/drawing/2014/main" id="{C9B84E01-38BB-46C1-B625-11E7EEC852CA}"/>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115" name="Groep 114">
                  <a:extLst>
                    <a:ext uri="{FF2B5EF4-FFF2-40B4-BE49-F238E27FC236}">
                      <a16:creationId xmlns:a16="http://schemas.microsoft.com/office/drawing/2014/main" id="{8590933D-EB33-4894-AB7D-9C7CB738AB9B}"/>
                    </a:ext>
                  </a:extLst>
                </p:cNvPr>
                <p:cNvGrpSpPr/>
                <p:nvPr userDrawn="1"/>
              </p:nvGrpSpPr>
              <p:grpSpPr>
                <a:xfrm>
                  <a:off x="8815517" y="1076284"/>
                  <a:ext cx="503173" cy="327105"/>
                  <a:chOff x="1351248" y="-683635"/>
                  <a:chExt cx="503173" cy="327105"/>
                </a:xfrm>
              </p:grpSpPr>
              <p:grpSp>
                <p:nvGrpSpPr>
                  <p:cNvPr id="116" name="Groep 115">
                    <a:extLst>
                      <a:ext uri="{FF2B5EF4-FFF2-40B4-BE49-F238E27FC236}">
                        <a16:creationId xmlns:a16="http://schemas.microsoft.com/office/drawing/2014/main" id="{80670382-A1AA-4B46-9350-D25A4ACDB479}"/>
                      </a:ext>
                    </a:extLst>
                  </p:cNvPr>
                  <p:cNvGrpSpPr/>
                  <p:nvPr userDrawn="1"/>
                </p:nvGrpSpPr>
                <p:grpSpPr>
                  <a:xfrm>
                    <a:off x="1351248" y="-683635"/>
                    <a:ext cx="375186" cy="293652"/>
                    <a:chOff x="1094874" y="-884923"/>
                    <a:chExt cx="884668" cy="692417"/>
                  </a:xfrm>
                </p:grpSpPr>
                <p:sp>
                  <p:nvSpPr>
                    <p:cNvPr id="121" name="Rechthoek 120">
                      <a:extLst>
                        <a:ext uri="{FF2B5EF4-FFF2-40B4-BE49-F238E27FC236}">
                          <a16:creationId xmlns:a16="http://schemas.microsoft.com/office/drawing/2014/main" id="{3025728E-2CEA-4382-8347-5A36E93DD146}"/>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122" name="Groep 121">
                      <a:extLst>
                        <a:ext uri="{FF2B5EF4-FFF2-40B4-BE49-F238E27FC236}">
                          <a16:creationId xmlns:a16="http://schemas.microsoft.com/office/drawing/2014/main" id="{646E0C40-3752-43B1-8E26-D36BBF4E56CA}"/>
                        </a:ext>
                      </a:extLst>
                    </p:cNvPr>
                    <p:cNvGrpSpPr/>
                    <p:nvPr userDrawn="1"/>
                  </p:nvGrpSpPr>
                  <p:grpSpPr>
                    <a:xfrm>
                      <a:off x="1094874" y="-878306"/>
                      <a:ext cx="867364" cy="685800"/>
                      <a:chOff x="1094874" y="-878306"/>
                      <a:chExt cx="867364" cy="613611"/>
                    </a:xfrm>
                  </p:grpSpPr>
                  <p:cxnSp>
                    <p:nvCxnSpPr>
                      <p:cNvPr id="128" name="Rechte verbindingslijn 127">
                        <a:extLst>
                          <a:ext uri="{FF2B5EF4-FFF2-40B4-BE49-F238E27FC236}">
                            <a16:creationId xmlns:a16="http://schemas.microsoft.com/office/drawing/2014/main" id="{F37616B4-7414-41E8-92FB-7BC57E05DB80}"/>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128">
                        <a:extLst>
                          <a:ext uri="{FF2B5EF4-FFF2-40B4-BE49-F238E27FC236}">
                            <a16:creationId xmlns:a16="http://schemas.microsoft.com/office/drawing/2014/main" id="{FDBB523A-157C-4881-AF8B-5746D6372C1D}"/>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0" name="Groep 129">
                        <a:extLst>
                          <a:ext uri="{FF2B5EF4-FFF2-40B4-BE49-F238E27FC236}">
                            <a16:creationId xmlns:a16="http://schemas.microsoft.com/office/drawing/2014/main" id="{34B6646E-FB21-417D-BE8C-C36E995E6FC5}"/>
                          </a:ext>
                        </a:extLst>
                      </p:cNvPr>
                      <p:cNvGrpSpPr/>
                      <p:nvPr userDrawn="1"/>
                    </p:nvGrpSpPr>
                    <p:grpSpPr>
                      <a:xfrm>
                        <a:off x="1270535" y="-878306"/>
                        <a:ext cx="526983" cy="613611"/>
                        <a:chOff x="1270535" y="-745959"/>
                        <a:chExt cx="526983" cy="481264"/>
                      </a:xfrm>
                    </p:grpSpPr>
                    <p:cxnSp>
                      <p:nvCxnSpPr>
                        <p:cNvPr id="131" name="Rechte verbindingslijn 130">
                          <a:extLst>
                            <a:ext uri="{FF2B5EF4-FFF2-40B4-BE49-F238E27FC236}">
                              <a16:creationId xmlns:a16="http://schemas.microsoft.com/office/drawing/2014/main" id="{983AF75F-1929-4F5A-99E0-BFABF6FBA658}"/>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2" name="Rechte verbindingslijn 131">
                          <a:extLst>
                            <a:ext uri="{FF2B5EF4-FFF2-40B4-BE49-F238E27FC236}">
                              <a16:creationId xmlns:a16="http://schemas.microsoft.com/office/drawing/2014/main" id="{57D0A238-F249-4020-9BCF-BC8BFB035317}"/>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CD15E116-4AE7-4D12-8892-CE468919BF33}"/>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F01A9A8C-ADF4-4435-A6E6-34455903D86A}"/>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3" name="Rechte verbindingslijn 122">
                      <a:extLst>
                        <a:ext uri="{FF2B5EF4-FFF2-40B4-BE49-F238E27FC236}">
                          <a16:creationId xmlns:a16="http://schemas.microsoft.com/office/drawing/2014/main" id="{FE0560BC-EA9F-418D-9ECF-BDF360242B6B}"/>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4" name="Groep 123">
                      <a:extLst>
                        <a:ext uri="{FF2B5EF4-FFF2-40B4-BE49-F238E27FC236}">
                          <a16:creationId xmlns:a16="http://schemas.microsoft.com/office/drawing/2014/main" id="{9653F7C3-0A4F-4767-9091-88D852C23603}"/>
                        </a:ext>
                      </a:extLst>
                    </p:cNvPr>
                    <p:cNvGrpSpPr/>
                    <p:nvPr userDrawn="1"/>
                  </p:nvGrpSpPr>
                  <p:grpSpPr>
                    <a:xfrm>
                      <a:off x="1094874" y="-607596"/>
                      <a:ext cx="878306" cy="276726"/>
                      <a:chOff x="1106905" y="-607596"/>
                      <a:chExt cx="878307" cy="276726"/>
                    </a:xfrm>
                  </p:grpSpPr>
                  <p:cxnSp>
                    <p:nvCxnSpPr>
                      <p:cNvPr id="125" name="Rechte verbindingslijn 124">
                        <a:extLst>
                          <a:ext uri="{FF2B5EF4-FFF2-40B4-BE49-F238E27FC236}">
                            <a16:creationId xmlns:a16="http://schemas.microsoft.com/office/drawing/2014/main" id="{CE6ABAF4-E3DD-454A-8DF7-81EBEC1F875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25B0FEB7-E215-42F7-9BD2-1E7870E3E5A1}"/>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7" name="Rechte verbindingslijn 126">
                        <a:extLst>
                          <a:ext uri="{FF2B5EF4-FFF2-40B4-BE49-F238E27FC236}">
                            <a16:creationId xmlns:a16="http://schemas.microsoft.com/office/drawing/2014/main" id="{78151A24-E5EF-490E-B4A9-66802AB200C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7" name="Groep 116">
                    <a:extLst>
                      <a:ext uri="{FF2B5EF4-FFF2-40B4-BE49-F238E27FC236}">
                        <a16:creationId xmlns:a16="http://schemas.microsoft.com/office/drawing/2014/main" id="{EF76349C-3F05-4659-AF54-8C8D216D1386}"/>
                      </a:ext>
                    </a:extLst>
                  </p:cNvPr>
                  <p:cNvGrpSpPr/>
                  <p:nvPr userDrawn="1"/>
                </p:nvGrpSpPr>
                <p:grpSpPr>
                  <a:xfrm rot="2700000">
                    <a:off x="1605871" y="-605080"/>
                    <a:ext cx="90079" cy="407021"/>
                    <a:chOff x="3130062" y="-817193"/>
                    <a:chExt cx="131884" cy="595920"/>
                  </a:xfrm>
                  <a:solidFill>
                    <a:srgbClr val="3399FF"/>
                  </a:solidFill>
                </p:grpSpPr>
                <p:sp>
                  <p:nvSpPr>
                    <p:cNvPr id="118" name="Rechthoek 117">
                      <a:extLst>
                        <a:ext uri="{FF2B5EF4-FFF2-40B4-BE49-F238E27FC236}">
                          <a16:creationId xmlns:a16="http://schemas.microsoft.com/office/drawing/2014/main" id="{995964A0-4C57-4D3B-9A70-E48D54293A7B}"/>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19" name="Rechthoek: afgeronde bovenhoeken 118">
                      <a:extLst>
                        <a:ext uri="{FF2B5EF4-FFF2-40B4-BE49-F238E27FC236}">
                          <a16:creationId xmlns:a16="http://schemas.microsoft.com/office/drawing/2014/main" id="{A77CDF6C-827E-4E68-AA74-26174235466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20" name="Gelijkbenige driehoek 119">
                      <a:extLst>
                        <a:ext uri="{FF2B5EF4-FFF2-40B4-BE49-F238E27FC236}">
                          <a16:creationId xmlns:a16="http://schemas.microsoft.com/office/drawing/2014/main" id="{68CD787E-A881-4439-A049-78274DAC56E5}"/>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grpSp>
      </p:grpSp>
      <p:grpSp>
        <p:nvGrpSpPr>
          <p:cNvPr id="141" name="Instructie">
            <a:extLst>
              <a:ext uri="{FF2B5EF4-FFF2-40B4-BE49-F238E27FC236}">
                <a16:creationId xmlns:a16="http://schemas.microsoft.com/office/drawing/2014/main" id="{8956ACCE-1B94-4C4E-9621-35D9581BCE44}"/>
              </a:ext>
            </a:extLst>
          </p:cNvPr>
          <p:cNvGrpSpPr/>
          <p:nvPr userDrawn="1"/>
        </p:nvGrpSpPr>
        <p:grpSpPr>
          <a:xfrm>
            <a:off x="12391602" y="2"/>
            <a:ext cx="3183677" cy="2499789"/>
            <a:chOff x="12391601" y="0"/>
            <a:chExt cx="3183677" cy="2499789"/>
          </a:xfrm>
        </p:grpSpPr>
        <p:sp>
          <p:nvSpPr>
            <p:cNvPr id="142" name="Rechthoek 141">
              <a:extLst>
                <a:ext uri="{FF2B5EF4-FFF2-40B4-BE49-F238E27FC236}">
                  <a16:creationId xmlns:a16="http://schemas.microsoft.com/office/drawing/2014/main" id="{605E8FAB-9C56-4547-B1FD-19063089BC0E}"/>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43" name="Ovaal 142">
              <a:extLst>
                <a:ext uri="{FF2B5EF4-FFF2-40B4-BE49-F238E27FC236}">
                  <a16:creationId xmlns:a16="http://schemas.microsoft.com/office/drawing/2014/main" id="{D89E2BA8-0724-4099-A077-278A116A100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4" name="Rechte verbindingslijn 143">
              <a:extLst>
                <a:ext uri="{FF2B5EF4-FFF2-40B4-BE49-F238E27FC236}">
                  <a16:creationId xmlns:a16="http://schemas.microsoft.com/office/drawing/2014/main" id="{98FD3CFA-A053-4F41-BB82-F685B92C6EF4}"/>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45" name="Rechte verbindingslijn 144">
              <a:extLst>
                <a:ext uri="{FF2B5EF4-FFF2-40B4-BE49-F238E27FC236}">
                  <a16:creationId xmlns:a16="http://schemas.microsoft.com/office/drawing/2014/main" id="{ED668D21-7594-4AFD-8412-D7A5872CC3C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46" name="Rechthoek 145">
              <a:extLst>
                <a:ext uri="{FF2B5EF4-FFF2-40B4-BE49-F238E27FC236}">
                  <a16:creationId xmlns:a16="http://schemas.microsoft.com/office/drawing/2014/main" id="{EBFEC36A-063B-4FC3-8220-2A2BFE33D86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47" name="Ovaal 146">
              <a:extLst>
                <a:ext uri="{FF2B5EF4-FFF2-40B4-BE49-F238E27FC236}">
                  <a16:creationId xmlns:a16="http://schemas.microsoft.com/office/drawing/2014/main" id="{59752D84-20A7-4452-A01B-B98AE1AC6A1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8" name="Rechthoek 147">
              <a:extLst>
                <a:ext uri="{FF2B5EF4-FFF2-40B4-BE49-F238E27FC236}">
                  <a16:creationId xmlns:a16="http://schemas.microsoft.com/office/drawing/2014/main" id="{1377E063-3182-4D26-AEF2-D5B7EF22F1B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9" name="Groep 148">
              <a:extLst>
                <a:ext uri="{FF2B5EF4-FFF2-40B4-BE49-F238E27FC236}">
                  <a16:creationId xmlns:a16="http://schemas.microsoft.com/office/drawing/2014/main" id="{BB89C1D8-CC05-4815-8409-B4B05BD21D3A}"/>
                </a:ext>
              </a:extLst>
            </p:cNvPr>
            <p:cNvGrpSpPr/>
            <p:nvPr userDrawn="1"/>
          </p:nvGrpSpPr>
          <p:grpSpPr>
            <a:xfrm>
              <a:off x="12757282" y="2184550"/>
              <a:ext cx="825500" cy="209550"/>
              <a:chOff x="13504624" y="2482850"/>
              <a:chExt cx="825500" cy="209550"/>
            </a:xfrm>
          </p:grpSpPr>
          <p:sp>
            <p:nvSpPr>
              <p:cNvPr id="155" name="Rechthoek 154">
                <a:extLst>
                  <a:ext uri="{FF2B5EF4-FFF2-40B4-BE49-F238E27FC236}">
                    <a16:creationId xmlns:a16="http://schemas.microsoft.com/office/drawing/2014/main" id="{E1BB336F-C4AC-41FB-8183-A4F1E150DF5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56" name="Rechte verbindingslijn 155">
                <a:extLst>
                  <a:ext uri="{FF2B5EF4-FFF2-40B4-BE49-F238E27FC236}">
                    <a16:creationId xmlns:a16="http://schemas.microsoft.com/office/drawing/2014/main" id="{9454AA9D-7433-4729-BE41-2E93DB73FFB7}"/>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7" name="Gelijkbenige driehoek 156">
                <a:extLst>
                  <a:ext uri="{FF2B5EF4-FFF2-40B4-BE49-F238E27FC236}">
                    <a16:creationId xmlns:a16="http://schemas.microsoft.com/office/drawing/2014/main" id="{BDF07484-B1ED-4966-955C-14977E47069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50" name="Rechte verbindingslijn 149">
              <a:extLst>
                <a:ext uri="{FF2B5EF4-FFF2-40B4-BE49-F238E27FC236}">
                  <a16:creationId xmlns:a16="http://schemas.microsoft.com/office/drawing/2014/main" id="{97FA8868-A24F-4AAD-B0DC-C48FE650EFDB}"/>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51" name="Groep 150">
              <a:extLst>
                <a:ext uri="{FF2B5EF4-FFF2-40B4-BE49-F238E27FC236}">
                  <a16:creationId xmlns:a16="http://schemas.microsoft.com/office/drawing/2014/main" id="{19DBE4BD-6A6B-473A-AF79-CBF857EE43C0}"/>
                </a:ext>
              </a:extLst>
            </p:cNvPr>
            <p:cNvGrpSpPr/>
            <p:nvPr userDrawn="1"/>
          </p:nvGrpSpPr>
          <p:grpSpPr>
            <a:xfrm>
              <a:off x="12751697" y="1147804"/>
              <a:ext cx="289372" cy="314992"/>
              <a:chOff x="7322769" y="-310267"/>
              <a:chExt cx="289372" cy="314992"/>
            </a:xfrm>
          </p:grpSpPr>
          <p:sp>
            <p:nvSpPr>
              <p:cNvPr id="152" name="Rechthoek 151">
                <a:extLst>
                  <a:ext uri="{FF2B5EF4-FFF2-40B4-BE49-F238E27FC236}">
                    <a16:creationId xmlns:a16="http://schemas.microsoft.com/office/drawing/2014/main" id="{21422EE9-9966-4204-9FBC-787109172B3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53" name="Rechthoek 152">
                <a:extLst>
                  <a:ext uri="{FF2B5EF4-FFF2-40B4-BE49-F238E27FC236}">
                    <a16:creationId xmlns:a16="http://schemas.microsoft.com/office/drawing/2014/main" id="{7E93F936-57D3-480F-9F5B-1D1FD404E4F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54" name="Rechthoek 153">
                <a:extLst>
                  <a:ext uri="{FF2B5EF4-FFF2-40B4-BE49-F238E27FC236}">
                    <a16:creationId xmlns:a16="http://schemas.microsoft.com/office/drawing/2014/main" id="{20B4A955-E3DA-446D-9B63-E2A32B79D71D}"/>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nvGrpSpPr>
          <p:cNvPr id="316" name="Instructie">
            <a:extLst>
              <a:ext uri="{FF2B5EF4-FFF2-40B4-BE49-F238E27FC236}">
                <a16:creationId xmlns:a16="http://schemas.microsoft.com/office/drawing/2014/main" id="{3010A3CC-B7B6-4B80-B2BD-DB010FDBA6EF}"/>
              </a:ext>
            </a:extLst>
          </p:cNvPr>
          <p:cNvGrpSpPr/>
          <p:nvPr userDrawn="1"/>
        </p:nvGrpSpPr>
        <p:grpSpPr>
          <a:xfrm>
            <a:off x="-3437546" y="1436"/>
            <a:ext cx="3201327" cy="6041867"/>
            <a:chOff x="-3437547" y="1434"/>
            <a:chExt cx="3201327" cy="6041867"/>
          </a:xfrm>
        </p:grpSpPr>
        <p:cxnSp>
          <p:nvCxnSpPr>
            <p:cNvPr id="317" name="Rechte verbindingslijn 316">
              <a:extLst>
                <a:ext uri="{FF2B5EF4-FFF2-40B4-BE49-F238E27FC236}">
                  <a16:creationId xmlns:a16="http://schemas.microsoft.com/office/drawing/2014/main" id="{75FF2CD6-4E38-473C-B674-8C9DA96730ED}"/>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8" name="Ovaal 317">
              <a:extLst>
                <a:ext uri="{FF2B5EF4-FFF2-40B4-BE49-F238E27FC236}">
                  <a16:creationId xmlns:a16="http://schemas.microsoft.com/office/drawing/2014/main" id="{2E05482E-440A-4EDE-A2FB-365DCC9C9E96}"/>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9" name="Rechthoek 318">
              <a:extLst>
                <a:ext uri="{FF2B5EF4-FFF2-40B4-BE49-F238E27FC236}">
                  <a16:creationId xmlns:a16="http://schemas.microsoft.com/office/drawing/2014/main" id="{43A816CC-54C9-4B8A-9ACB-494519E890EF}"/>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0" name="Ovaal 319">
              <a:extLst>
                <a:ext uri="{FF2B5EF4-FFF2-40B4-BE49-F238E27FC236}">
                  <a16:creationId xmlns:a16="http://schemas.microsoft.com/office/drawing/2014/main" id="{A1FF1582-7030-4A7E-B9EE-E881FCE00ABC}"/>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21" name="Rechthoek 320">
              <a:extLst>
                <a:ext uri="{FF2B5EF4-FFF2-40B4-BE49-F238E27FC236}">
                  <a16:creationId xmlns:a16="http://schemas.microsoft.com/office/drawing/2014/main" id="{26126E7F-D7C0-401E-AD94-5393C3BD40A6}"/>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2" name="Ovaal 321">
              <a:extLst>
                <a:ext uri="{FF2B5EF4-FFF2-40B4-BE49-F238E27FC236}">
                  <a16:creationId xmlns:a16="http://schemas.microsoft.com/office/drawing/2014/main" id="{0E9C8282-E155-49B1-9A92-EAE8D704AD6B}"/>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23" name="Rechthoek 322">
              <a:extLst>
                <a:ext uri="{FF2B5EF4-FFF2-40B4-BE49-F238E27FC236}">
                  <a16:creationId xmlns:a16="http://schemas.microsoft.com/office/drawing/2014/main" id="{FF73E9DB-39CE-43EC-B840-81DEAFC7207E}"/>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24" name="Ovaal 323">
              <a:extLst>
                <a:ext uri="{FF2B5EF4-FFF2-40B4-BE49-F238E27FC236}">
                  <a16:creationId xmlns:a16="http://schemas.microsoft.com/office/drawing/2014/main" id="{F1B03572-9FDA-469B-B101-B2730256DAB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5" name="Rechthoek 324">
              <a:extLst>
                <a:ext uri="{FF2B5EF4-FFF2-40B4-BE49-F238E27FC236}">
                  <a16:creationId xmlns:a16="http://schemas.microsoft.com/office/drawing/2014/main" id="{3C0D8723-EF3E-4FD1-B9F7-78AA464812AA}"/>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326" name="Rechthoek 325">
              <a:extLst>
                <a:ext uri="{FF2B5EF4-FFF2-40B4-BE49-F238E27FC236}">
                  <a16:creationId xmlns:a16="http://schemas.microsoft.com/office/drawing/2014/main" id="{A06D57EA-06C7-40D2-AD2E-7F9403839B40}"/>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7" name="Ovaal 326">
              <a:extLst>
                <a:ext uri="{FF2B5EF4-FFF2-40B4-BE49-F238E27FC236}">
                  <a16:creationId xmlns:a16="http://schemas.microsoft.com/office/drawing/2014/main" id="{F20C5B54-FD87-4B64-8543-8557E68EBE14}"/>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8" name="Rechte verbindingslijn 327">
              <a:extLst>
                <a:ext uri="{FF2B5EF4-FFF2-40B4-BE49-F238E27FC236}">
                  <a16:creationId xmlns:a16="http://schemas.microsoft.com/office/drawing/2014/main" id="{9BD0A976-FFCA-4C0F-A8D6-48F187123D9D}"/>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9" name="Groep 328">
              <a:extLst>
                <a:ext uri="{FF2B5EF4-FFF2-40B4-BE49-F238E27FC236}">
                  <a16:creationId xmlns:a16="http://schemas.microsoft.com/office/drawing/2014/main" id="{A22DA597-09F1-406C-86A5-1DE1958D3437}"/>
                </a:ext>
              </a:extLst>
            </p:cNvPr>
            <p:cNvGrpSpPr/>
            <p:nvPr userDrawn="1"/>
          </p:nvGrpSpPr>
          <p:grpSpPr>
            <a:xfrm>
              <a:off x="-3437547" y="1295337"/>
              <a:ext cx="2933825" cy="558875"/>
              <a:chOff x="-3419346" y="368233"/>
              <a:chExt cx="3904920" cy="743862"/>
            </a:xfrm>
          </p:grpSpPr>
          <p:sp>
            <p:nvSpPr>
              <p:cNvPr id="346" name="Rechthoek 345">
                <a:extLst>
                  <a:ext uri="{FF2B5EF4-FFF2-40B4-BE49-F238E27FC236}">
                    <a16:creationId xmlns:a16="http://schemas.microsoft.com/office/drawing/2014/main" id="{F33556BD-A572-4EAA-905B-D27297A5DC2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7" name="Rechte verbindingslijn 346">
                <a:extLst>
                  <a:ext uri="{FF2B5EF4-FFF2-40B4-BE49-F238E27FC236}">
                    <a16:creationId xmlns:a16="http://schemas.microsoft.com/office/drawing/2014/main" id="{D83BA96D-D231-4E16-9868-21314108FAC3}"/>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8" name="Rechte verbindingslijn 347">
                <a:extLst>
                  <a:ext uri="{FF2B5EF4-FFF2-40B4-BE49-F238E27FC236}">
                    <a16:creationId xmlns:a16="http://schemas.microsoft.com/office/drawing/2014/main" id="{17C621A5-4CB1-4CD6-8AA6-8FA9E60213B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9" name="Rechthoek 348">
                <a:extLst>
                  <a:ext uri="{FF2B5EF4-FFF2-40B4-BE49-F238E27FC236}">
                    <a16:creationId xmlns:a16="http://schemas.microsoft.com/office/drawing/2014/main" id="{A5BD966A-5E2D-4267-A0B5-BF990A6633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50" name="Groep 349">
                <a:extLst>
                  <a:ext uri="{FF2B5EF4-FFF2-40B4-BE49-F238E27FC236}">
                    <a16:creationId xmlns:a16="http://schemas.microsoft.com/office/drawing/2014/main" id="{7C1BFD87-4A85-4E6C-AA2A-11985BABFAF9}"/>
                  </a:ext>
                </a:extLst>
              </p:cNvPr>
              <p:cNvGrpSpPr/>
              <p:nvPr userDrawn="1"/>
            </p:nvGrpSpPr>
            <p:grpSpPr>
              <a:xfrm>
                <a:off x="-3002834" y="720303"/>
                <a:ext cx="182598" cy="143759"/>
                <a:chOff x="-3310843" y="700986"/>
                <a:chExt cx="182598" cy="143759"/>
              </a:xfrm>
            </p:grpSpPr>
            <p:grpSp>
              <p:nvGrpSpPr>
                <p:cNvPr id="389" name="Groep 388">
                  <a:extLst>
                    <a:ext uri="{FF2B5EF4-FFF2-40B4-BE49-F238E27FC236}">
                      <a16:creationId xmlns:a16="http://schemas.microsoft.com/office/drawing/2014/main" id="{072CA49D-334A-4ABD-A1AC-E17807EADAC9}"/>
                    </a:ext>
                  </a:extLst>
                </p:cNvPr>
                <p:cNvGrpSpPr/>
                <p:nvPr userDrawn="1"/>
              </p:nvGrpSpPr>
              <p:grpSpPr>
                <a:xfrm>
                  <a:off x="-3310843" y="700986"/>
                  <a:ext cx="182598" cy="143759"/>
                  <a:chOff x="-3310843" y="700986"/>
                  <a:chExt cx="182598" cy="143759"/>
                </a:xfrm>
              </p:grpSpPr>
              <p:cxnSp>
                <p:nvCxnSpPr>
                  <p:cNvPr id="393" name="Rechte verbindingslijn 392">
                    <a:extLst>
                      <a:ext uri="{FF2B5EF4-FFF2-40B4-BE49-F238E27FC236}">
                        <a16:creationId xmlns:a16="http://schemas.microsoft.com/office/drawing/2014/main" id="{F6A590D6-A2D8-498D-A62D-87AAB084856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716B24B5-98C4-4DE2-B5BC-8171A8FAA496}"/>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5" name="Rechte verbindingslijn 394">
                    <a:extLst>
                      <a:ext uri="{FF2B5EF4-FFF2-40B4-BE49-F238E27FC236}">
                        <a16:creationId xmlns:a16="http://schemas.microsoft.com/office/drawing/2014/main" id="{B54E32F3-9CD7-4139-8F00-969822DCD3B0}"/>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6" name="Rechte verbindingslijn 395">
                    <a:extLst>
                      <a:ext uri="{FF2B5EF4-FFF2-40B4-BE49-F238E27FC236}">
                        <a16:creationId xmlns:a16="http://schemas.microsoft.com/office/drawing/2014/main" id="{A55D25B1-8869-43E1-97BF-3D37CF474E0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7" name="Rechte verbindingslijn 396">
                    <a:extLst>
                      <a:ext uri="{FF2B5EF4-FFF2-40B4-BE49-F238E27FC236}">
                        <a16:creationId xmlns:a16="http://schemas.microsoft.com/office/drawing/2014/main" id="{D9907389-BE10-41D6-96B1-66869569E0C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90" name="Groep 389">
                  <a:extLst>
                    <a:ext uri="{FF2B5EF4-FFF2-40B4-BE49-F238E27FC236}">
                      <a16:creationId xmlns:a16="http://schemas.microsoft.com/office/drawing/2014/main" id="{A32F2143-4216-4B7F-B346-9C79C94C0A2B}"/>
                    </a:ext>
                  </a:extLst>
                </p:cNvPr>
                <p:cNvGrpSpPr/>
                <p:nvPr userDrawn="1"/>
              </p:nvGrpSpPr>
              <p:grpSpPr>
                <a:xfrm flipH="1">
                  <a:off x="-3310774" y="735854"/>
                  <a:ext cx="88801" cy="72568"/>
                  <a:chOff x="-2091059" y="1395403"/>
                  <a:chExt cx="157316" cy="128558"/>
                </a:xfrm>
              </p:grpSpPr>
              <p:sp>
                <p:nvSpPr>
                  <p:cNvPr id="391" name="Rechthoek 390">
                    <a:extLst>
                      <a:ext uri="{FF2B5EF4-FFF2-40B4-BE49-F238E27FC236}">
                        <a16:creationId xmlns:a16="http://schemas.microsoft.com/office/drawing/2014/main" id="{C12DD89B-3EAD-47F5-8159-D601AD20B38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2" name="Pijl: punthaak 391">
                    <a:extLst>
                      <a:ext uri="{FF2B5EF4-FFF2-40B4-BE49-F238E27FC236}">
                        <a16:creationId xmlns:a16="http://schemas.microsoft.com/office/drawing/2014/main" id="{EA05B45A-34F3-4936-9844-CB8940610E8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51" name="Groep 350">
                <a:extLst>
                  <a:ext uri="{FF2B5EF4-FFF2-40B4-BE49-F238E27FC236}">
                    <a16:creationId xmlns:a16="http://schemas.microsoft.com/office/drawing/2014/main" id="{068AA8B8-C0B7-40D2-B14E-F3728966E7C0}"/>
                  </a:ext>
                </a:extLst>
              </p:cNvPr>
              <p:cNvGrpSpPr/>
              <p:nvPr userDrawn="1"/>
            </p:nvGrpSpPr>
            <p:grpSpPr>
              <a:xfrm>
                <a:off x="-3326107" y="720303"/>
                <a:ext cx="182598" cy="143759"/>
                <a:chOff x="-3634116" y="700986"/>
                <a:chExt cx="182598" cy="143759"/>
              </a:xfrm>
            </p:grpSpPr>
            <p:grpSp>
              <p:nvGrpSpPr>
                <p:cNvPr id="380" name="Groep 379">
                  <a:extLst>
                    <a:ext uri="{FF2B5EF4-FFF2-40B4-BE49-F238E27FC236}">
                      <a16:creationId xmlns:a16="http://schemas.microsoft.com/office/drawing/2014/main" id="{9E7FA22F-2802-4620-8C18-80669795840C}"/>
                    </a:ext>
                  </a:extLst>
                </p:cNvPr>
                <p:cNvGrpSpPr/>
                <p:nvPr userDrawn="1"/>
              </p:nvGrpSpPr>
              <p:grpSpPr>
                <a:xfrm>
                  <a:off x="-3634116" y="700986"/>
                  <a:ext cx="182598" cy="143759"/>
                  <a:chOff x="-3634116" y="700986"/>
                  <a:chExt cx="182598" cy="143759"/>
                </a:xfrm>
              </p:grpSpPr>
              <p:cxnSp>
                <p:nvCxnSpPr>
                  <p:cNvPr id="384" name="Rechte verbindingslijn 383">
                    <a:extLst>
                      <a:ext uri="{FF2B5EF4-FFF2-40B4-BE49-F238E27FC236}">
                        <a16:creationId xmlns:a16="http://schemas.microsoft.com/office/drawing/2014/main" id="{C53A5BF2-D7D6-40B8-8E92-FE9ED4930F62}"/>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DDDD0B66-5359-48E0-B2D0-23B4BB88617A}"/>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6" name="Rechte verbindingslijn 385">
                    <a:extLst>
                      <a:ext uri="{FF2B5EF4-FFF2-40B4-BE49-F238E27FC236}">
                        <a16:creationId xmlns:a16="http://schemas.microsoft.com/office/drawing/2014/main" id="{26667792-8DAB-4304-8F1C-C4CB49775001}"/>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7" name="Rechte verbindingslijn 386">
                    <a:extLst>
                      <a:ext uri="{FF2B5EF4-FFF2-40B4-BE49-F238E27FC236}">
                        <a16:creationId xmlns:a16="http://schemas.microsoft.com/office/drawing/2014/main" id="{20751DD5-03CF-4BA3-8005-554FA2DD2C1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8" name="Rechte verbindingslijn 387">
                    <a:extLst>
                      <a:ext uri="{FF2B5EF4-FFF2-40B4-BE49-F238E27FC236}">
                        <a16:creationId xmlns:a16="http://schemas.microsoft.com/office/drawing/2014/main" id="{44216857-45AB-4D1A-B268-6113E124C84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81" name="Groep 380">
                  <a:extLst>
                    <a:ext uri="{FF2B5EF4-FFF2-40B4-BE49-F238E27FC236}">
                      <a16:creationId xmlns:a16="http://schemas.microsoft.com/office/drawing/2014/main" id="{1B914C82-BF7F-4E3A-B8BC-4BA51D0FD915}"/>
                    </a:ext>
                  </a:extLst>
                </p:cNvPr>
                <p:cNvGrpSpPr/>
                <p:nvPr userDrawn="1"/>
              </p:nvGrpSpPr>
              <p:grpSpPr>
                <a:xfrm>
                  <a:off x="-3634047" y="735854"/>
                  <a:ext cx="88801" cy="72568"/>
                  <a:chOff x="-2091059" y="1395403"/>
                  <a:chExt cx="157316" cy="128558"/>
                </a:xfrm>
              </p:grpSpPr>
              <p:sp>
                <p:nvSpPr>
                  <p:cNvPr id="382" name="Rechthoek 381">
                    <a:extLst>
                      <a:ext uri="{FF2B5EF4-FFF2-40B4-BE49-F238E27FC236}">
                        <a16:creationId xmlns:a16="http://schemas.microsoft.com/office/drawing/2014/main" id="{6CFE0D3F-01A9-4095-A9BC-22DE4D22A0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3" name="Pijl: punthaak 382">
                    <a:extLst>
                      <a:ext uri="{FF2B5EF4-FFF2-40B4-BE49-F238E27FC236}">
                        <a16:creationId xmlns:a16="http://schemas.microsoft.com/office/drawing/2014/main" id="{74DA5B26-23AE-495E-B754-51EA3B293D8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52" name="Rechte verbindingslijn 351">
                <a:extLst>
                  <a:ext uri="{FF2B5EF4-FFF2-40B4-BE49-F238E27FC236}">
                    <a16:creationId xmlns:a16="http://schemas.microsoft.com/office/drawing/2014/main" id="{BA00214F-1002-4D45-B9A5-9E37AC060F3F}"/>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53" name="Rechte verbindingslijn 352">
                <a:extLst>
                  <a:ext uri="{FF2B5EF4-FFF2-40B4-BE49-F238E27FC236}">
                    <a16:creationId xmlns:a16="http://schemas.microsoft.com/office/drawing/2014/main" id="{ABCE834E-6552-4069-88C3-84B91C332CB5}"/>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54" name="Groep 353">
                <a:extLst>
                  <a:ext uri="{FF2B5EF4-FFF2-40B4-BE49-F238E27FC236}">
                    <a16:creationId xmlns:a16="http://schemas.microsoft.com/office/drawing/2014/main" id="{F2C0C1CF-6A93-4A78-964A-43F278CE2834}"/>
                  </a:ext>
                </a:extLst>
              </p:cNvPr>
              <p:cNvGrpSpPr/>
              <p:nvPr userDrawn="1"/>
            </p:nvGrpSpPr>
            <p:grpSpPr>
              <a:xfrm>
                <a:off x="-2425037" y="370226"/>
                <a:ext cx="357690" cy="330595"/>
                <a:chOff x="-2721817" y="347336"/>
                <a:chExt cx="432805" cy="400021"/>
              </a:xfrm>
            </p:grpSpPr>
            <p:sp>
              <p:nvSpPr>
                <p:cNvPr id="369" name="Rechthoek 368">
                  <a:extLst>
                    <a:ext uri="{FF2B5EF4-FFF2-40B4-BE49-F238E27FC236}">
                      <a16:creationId xmlns:a16="http://schemas.microsoft.com/office/drawing/2014/main" id="{1099A26C-A204-41A8-A35B-EE61D6084F7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0" name="Groep 369">
                  <a:extLst>
                    <a:ext uri="{FF2B5EF4-FFF2-40B4-BE49-F238E27FC236}">
                      <a16:creationId xmlns:a16="http://schemas.microsoft.com/office/drawing/2014/main" id="{63E3090A-2634-4FB0-BF25-3C962B2CD0B7}"/>
                    </a:ext>
                  </a:extLst>
                </p:cNvPr>
                <p:cNvGrpSpPr/>
                <p:nvPr userDrawn="1"/>
              </p:nvGrpSpPr>
              <p:grpSpPr>
                <a:xfrm>
                  <a:off x="-2652453" y="431583"/>
                  <a:ext cx="294076" cy="231526"/>
                  <a:chOff x="-3634116" y="700986"/>
                  <a:chExt cx="182598" cy="143759"/>
                </a:xfrm>
              </p:grpSpPr>
              <p:grpSp>
                <p:nvGrpSpPr>
                  <p:cNvPr id="371" name="Groep 370">
                    <a:extLst>
                      <a:ext uri="{FF2B5EF4-FFF2-40B4-BE49-F238E27FC236}">
                        <a16:creationId xmlns:a16="http://schemas.microsoft.com/office/drawing/2014/main" id="{513C8097-8B9B-4020-B30E-6F2452C2FE0C}"/>
                      </a:ext>
                    </a:extLst>
                  </p:cNvPr>
                  <p:cNvGrpSpPr/>
                  <p:nvPr userDrawn="1"/>
                </p:nvGrpSpPr>
                <p:grpSpPr>
                  <a:xfrm>
                    <a:off x="-3634116" y="700986"/>
                    <a:ext cx="182598" cy="143759"/>
                    <a:chOff x="-3634116" y="700986"/>
                    <a:chExt cx="182598" cy="143759"/>
                  </a:xfrm>
                </p:grpSpPr>
                <p:cxnSp>
                  <p:nvCxnSpPr>
                    <p:cNvPr id="375" name="Rechte verbindingslijn 374">
                      <a:extLst>
                        <a:ext uri="{FF2B5EF4-FFF2-40B4-BE49-F238E27FC236}">
                          <a16:creationId xmlns:a16="http://schemas.microsoft.com/office/drawing/2014/main" id="{7DC15605-CE5F-459D-BD08-27B7FB25AF0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6" name="Rechte verbindingslijn 375">
                      <a:extLst>
                        <a:ext uri="{FF2B5EF4-FFF2-40B4-BE49-F238E27FC236}">
                          <a16:creationId xmlns:a16="http://schemas.microsoft.com/office/drawing/2014/main" id="{7C8740B3-9E9C-4B6C-8DF1-DD67073A08F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7" name="Rechte verbindingslijn 376">
                      <a:extLst>
                        <a:ext uri="{FF2B5EF4-FFF2-40B4-BE49-F238E27FC236}">
                          <a16:creationId xmlns:a16="http://schemas.microsoft.com/office/drawing/2014/main" id="{A19A4AED-8169-4324-968F-ECF7795A3A01}"/>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8" name="Rechte verbindingslijn 377">
                      <a:extLst>
                        <a:ext uri="{FF2B5EF4-FFF2-40B4-BE49-F238E27FC236}">
                          <a16:creationId xmlns:a16="http://schemas.microsoft.com/office/drawing/2014/main" id="{0A40B635-6B25-4F81-A0B0-979AF174335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9" name="Rechte verbindingslijn 378">
                      <a:extLst>
                        <a:ext uri="{FF2B5EF4-FFF2-40B4-BE49-F238E27FC236}">
                          <a16:creationId xmlns:a16="http://schemas.microsoft.com/office/drawing/2014/main" id="{26122291-D968-4EC1-9D23-AC7A9636B9D7}"/>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72" name="Groep 371">
                    <a:extLst>
                      <a:ext uri="{FF2B5EF4-FFF2-40B4-BE49-F238E27FC236}">
                        <a16:creationId xmlns:a16="http://schemas.microsoft.com/office/drawing/2014/main" id="{4A7336B3-DDE4-44B6-8602-7D753B9CB6E8}"/>
                      </a:ext>
                    </a:extLst>
                  </p:cNvPr>
                  <p:cNvGrpSpPr/>
                  <p:nvPr userDrawn="1"/>
                </p:nvGrpSpPr>
                <p:grpSpPr>
                  <a:xfrm>
                    <a:off x="-3634047" y="735854"/>
                    <a:ext cx="88801" cy="72568"/>
                    <a:chOff x="-2091059" y="1395403"/>
                    <a:chExt cx="157316" cy="128558"/>
                  </a:xfrm>
                </p:grpSpPr>
                <p:sp>
                  <p:nvSpPr>
                    <p:cNvPr id="373" name="Rechthoek 372">
                      <a:extLst>
                        <a:ext uri="{FF2B5EF4-FFF2-40B4-BE49-F238E27FC236}">
                          <a16:creationId xmlns:a16="http://schemas.microsoft.com/office/drawing/2014/main" id="{298D231A-9A59-4EDA-A6D0-8AEAA89ECE0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4" name="Pijl: punthaak 373">
                      <a:extLst>
                        <a:ext uri="{FF2B5EF4-FFF2-40B4-BE49-F238E27FC236}">
                          <a16:creationId xmlns:a16="http://schemas.microsoft.com/office/drawing/2014/main" id="{9EED97A4-DF11-4ECA-8820-D54F9252512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5" name="Groep 354">
                <a:extLst>
                  <a:ext uri="{FF2B5EF4-FFF2-40B4-BE49-F238E27FC236}">
                    <a16:creationId xmlns:a16="http://schemas.microsoft.com/office/drawing/2014/main" id="{A2E1157B-25E7-4D1A-97E9-37BD26CC30C2}"/>
                  </a:ext>
                </a:extLst>
              </p:cNvPr>
              <p:cNvGrpSpPr/>
              <p:nvPr userDrawn="1"/>
            </p:nvGrpSpPr>
            <p:grpSpPr>
              <a:xfrm>
                <a:off x="-2425037" y="781500"/>
                <a:ext cx="357690" cy="330595"/>
                <a:chOff x="-2721817" y="782525"/>
                <a:chExt cx="432805" cy="400021"/>
              </a:xfrm>
            </p:grpSpPr>
            <p:sp>
              <p:nvSpPr>
                <p:cNvPr id="358" name="Rechthoek 357">
                  <a:extLst>
                    <a:ext uri="{FF2B5EF4-FFF2-40B4-BE49-F238E27FC236}">
                      <a16:creationId xmlns:a16="http://schemas.microsoft.com/office/drawing/2014/main" id="{1A8A9248-E8DB-45B0-AD2D-70E310278E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9" name="Groep 358">
                  <a:extLst>
                    <a:ext uri="{FF2B5EF4-FFF2-40B4-BE49-F238E27FC236}">
                      <a16:creationId xmlns:a16="http://schemas.microsoft.com/office/drawing/2014/main" id="{2F0967AE-4F80-4156-BF4A-33A8A3611ACE}"/>
                    </a:ext>
                  </a:extLst>
                </p:cNvPr>
                <p:cNvGrpSpPr/>
                <p:nvPr userDrawn="1"/>
              </p:nvGrpSpPr>
              <p:grpSpPr>
                <a:xfrm>
                  <a:off x="-2652453" y="866772"/>
                  <a:ext cx="294076" cy="231526"/>
                  <a:chOff x="-3310843" y="700986"/>
                  <a:chExt cx="182598" cy="143759"/>
                </a:xfrm>
              </p:grpSpPr>
              <p:grpSp>
                <p:nvGrpSpPr>
                  <p:cNvPr id="360" name="Groep 359">
                    <a:extLst>
                      <a:ext uri="{FF2B5EF4-FFF2-40B4-BE49-F238E27FC236}">
                        <a16:creationId xmlns:a16="http://schemas.microsoft.com/office/drawing/2014/main" id="{77B3F645-1FF3-43EC-B339-499CDC0C080E}"/>
                      </a:ext>
                    </a:extLst>
                  </p:cNvPr>
                  <p:cNvGrpSpPr/>
                  <p:nvPr userDrawn="1"/>
                </p:nvGrpSpPr>
                <p:grpSpPr>
                  <a:xfrm>
                    <a:off x="-3310843" y="700986"/>
                    <a:ext cx="182598" cy="143759"/>
                    <a:chOff x="-3310843" y="700986"/>
                    <a:chExt cx="182598" cy="143759"/>
                  </a:xfrm>
                </p:grpSpPr>
                <p:cxnSp>
                  <p:nvCxnSpPr>
                    <p:cNvPr id="364" name="Rechte verbindingslijn 363">
                      <a:extLst>
                        <a:ext uri="{FF2B5EF4-FFF2-40B4-BE49-F238E27FC236}">
                          <a16:creationId xmlns:a16="http://schemas.microsoft.com/office/drawing/2014/main" id="{24157FE2-E6A8-4611-977A-09D5FFDCE99C}"/>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5" name="Rechte verbindingslijn 364">
                      <a:extLst>
                        <a:ext uri="{FF2B5EF4-FFF2-40B4-BE49-F238E27FC236}">
                          <a16:creationId xmlns:a16="http://schemas.microsoft.com/office/drawing/2014/main" id="{91CABBAA-A157-4D1C-B33A-72EA0257511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6" name="Rechte verbindingslijn 365">
                      <a:extLst>
                        <a:ext uri="{FF2B5EF4-FFF2-40B4-BE49-F238E27FC236}">
                          <a16:creationId xmlns:a16="http://schemas.microsoft.com/office/drawing/2014/main" id="{4E45C82A-36BE-4B1C-8F8F-60E578C97D94}"/>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7" name="Rechte verbindingslijn 366">
                      <a:extLst>
                        <a:ext uri="{FF2B5EF4-FFF2-40B4-BE49-F238E27FC236}">
                          <a16:creationId xmlns:a16="http://schemas.microsoft.com/office/drawing/2014/main" id="{3DB7E9A3-41F2-4082-A763-B52B1286313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8" name="Rechte verbindingslijn 367">
                      <a:extLst>
                        <a:ext uri="{FF2B5EF4-FFF2-40B4-BE49-F238E27FC236}">
                          <a16:creationId xmlns:a16="http://schemas.microsoft.com/office/drawing/2014/main" id="{B89FFBB0-D09F-4B7F-BC77-E5050F4D054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61" name="Groep 360">
                    <a:extLst>
                      <a:ext uri="{FF2B5EF4-FFF2-40B4-BE49-F238E27FC236}">
                        <a16:creationId xmlns:a16="http://schemas.microsoft.com/office/drawing/2014/main" id="{7FE5F342-B893-4E55-BA20-F0BFD29E2F43}"/>
                      </a:ext>
                    </a:extLst>
                  </p:cNvPr>
                  <p:cNvGrpSpPr/>
                  <p:nvPr userDrawn="1"/>
                </p:nvGrpSpPr>
                <p:grpSpPr>
                  <a:xfrm flipH="1">
                    <a:off x="-3310774" y="735854"/>
                    <a:ext cx="88801" cy="72568"/>
                    <a:chOff x="-2091059" y="1395403"/>
                    <a:chExt cx="157316" cy="128558"/>
                  </a:xfrm>
                </p:grpSpPr>
                <p:sp>
                  <p:nvSpPr>
                    <p:cNvPr id="362" name="Rechthoek 361">
                      <a:extLst>
                        <a:ext uri="{FF2B5EF4-FFF2-40B4-BE49-F238E27FC236}">
                          <a16:creationId xmlns:a16="http://schemas.microsoft.com/office/drawing/2014/main" id="{E62FED07-2B91-4ACF-A9CE-5271B7FACD6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3" name="Pijl: punthaak 362">
                      <a:extLst>
                        <a:ext uri="{FF2B5EF4-FFF2-40B4-BE49-F238E27FC236}">
                          <a16:creationId xmlns:a16="http://schemas.microsoft.com/office/drawing/2014/main" id="{06081880-6BEB-4A66-AA21-85043D66EB5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6" name="Rechthoek 355">
                <a:extLst>
                  <a:ext uri="{FF2B5EF4-FFF2-40B4-BE49-F238E27FC236}">
                    <a16:creationId xmlns:a16="http://schemas.microsoft.com/office/drawing/2014/main" id="{66752CC0-F146-4E09-B309-8FC5D3662EE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7" name="Rechthoek 356">
                <a:extLst>
                  <a:ext uri="{FF2B5EF4-FFF2-40B4-BE49-F238E27FC236}">
                    <a16:creationId xmlns:a16="http://schemas.microsoft.com/office/drawing/2014/main" id="{38D3580D-5AEB-4D3B-9267-A09A202E694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30" name="Rechte verbindingslijn 329">
              <a:extLst>
                <a:ext uri="{FF2B5EF4-FFF2-40B4-BE49-F238E27FC236}">
                  <a16:creationId xmlns:a16="http://schemas.microsoft.com/office/drawing/2014/main" id="{040A39BF-6E15-4E74-871A-337236124809}"/>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31" name="Rechthoek 330">
              <a:extLst>
                <a:ext uri="{FF2B5EF4-FFF2-40B4-BE49-F238E27FC236}">
                  <a16:creationId xmlns:a16="http://schemas.microsoft.com/office/drawing/2014/main" id="{1E3C7959-F670-4873-80A3-3821F627E86D}"/>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2" name="Ovaal 331">
              <a:extLst>
                <a:ext uri="{FF2B5EF4-FFF2-40B4-BE49-F238E27FC236}">
                  <a16:creationId xmlns:a16="http://schemas.microsoft.com/office/drawing/2014/main" id="{2C49A7E4-FA33-4FDF-9BCB-3FAF63482C0C}"/>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33" name="Rechthoek 332">
              <a:extLst>
                <a:ext uri="{FF2B5EF4-FFF2-40B4-BE49-F238E27FC236}">
                  <a16:creationId xmlns:a16="http://schemas.microsoft.com/office/drawing/2014/main" id="{47E7C30E-FC61-42D8-BD56-F3B5246397D5}"/>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34" name="Ovaal 333">
              <a:extLst>
                <a:ext uri="{FF2B5EF4-FFF2-40B4-BE49-F238E27FC236}">
                  <a16:creationId xmlns:a16="http://schemas.microsoft.com/office/drawing/2014/main" id="{89F64F9C-7462-4EA5-B45E-6519245C1068}"/>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5" name="Rechthoek 334">
              <a:extLst>
                <a:ext uri="{FF2B5EF4-FFF2-40B4-BE49-F238E27FC236}">
                  <a16:creationId xmlns:a16="http://schemas.microsoft.com/office/drawing/2014/main" id="{C557BD62-33D3-4F32-80C6-486DF41E1FF7}"/>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6" name="Ovaal 335">
              <a:extLst>
                <a:ext uri="{FF2B5EF4-FFF2-40B4-BE49-F238E27FC236}">
                  <a16:creationId xmlns:a16="http://schemas.microsoft.com/office/drawing/2014/main" id="{48AE62D7-F720-45C9-A625-B464A78C723B}"/>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7" name="Rechthoek 336">
              <a:extLst>
                <a:ext uri="{FF2B5EF4-FFF2-40B4-BE49-F238E27FC236}">
                  <a16:creationId xmlns:a16="http://schemas.microsoft.com/office/drawing/2014/main" id="{4FF97FFA-BC1F-4342-B8DA-CA02F53674C3}"/>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8" name="Ovaal 337">
              <a:extLst>
                <a:ext uri="{FF2B5EF4-FFF2-40B4-BE49-F238E27FC236}">
                  <a16:creationId xmlns:a16="http://schemas.microsoft.com/office/drawing/2014/main" id="{7E051CC2-1F33-4705-BB88-59EC687832D7}"/>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9" name="Rechthoek 338">
              <a:extLst>
                <a:ext uri="{FF2B5EF4-FFF2-40B4-BE49-F238E27FC236}">
                  <a16:creationId xmlns:a16="http://schemas.microsoft.com/office/drawing/2014/main" id="{921306E3-3DCF-407B-A8D7-126F3CAFEC42}"/>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40" name="Rechthoek 339">
              <a:extLst>
                <a:ext uri="{FF2B5EF4-FFF2-40B4-BE49-F238E27FC236}">
                  <a16:creationId xmlns:a16="http://schemas.microsoft.com/office/drawing/2014/main" id="{99507576-D01B-44BF-9FFF-361F906437EC}"/>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41" name="Rechte verbindingslijn 340">
              <a:extLst>
                <a:ext uri="{FF2B5EF4-FFF2-40B4-BE49-F238E27FC236}">
                  <a16:creationId xmlns:a16="http://schemas.microsoft.com/office/drawing/2014/main" id="{2FA3C41D-5C86-437D-987F-B8D8D7614D8F}"/>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42" name="Ovaal 341">
              <a:extLst>
                <a:ext uri="{FF2B5EF4-FFF2-40B4-BE49-F238E27FC236}">
                  <a16:creationId xmlns:a16="http://schemas.microsoft.com/office/drawing/2014/main" id="{095E1608-AD9E-40F0-B62B-09AA75C0C395}"/>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43" name="Rechthoek 342">
              <a:extLst>
                <a:ext uri="{FF2B5EF4-FFF2-40B4-BE49-F238E27FC236}">
                  <a16:creationId xmlns:a16="http://schemas.microsoft.com/office/drawing/2014/main" id="{2DBA4166-5E02-4EC6-AA88-351D73F682A0}"/>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344" name="Ovaal 343">
              <a:extLst>
                <a:ext uri="{FF2B5EF4-FFF2-40B4-BE49-F238E27FC236}">
                  <a16:creationId xmlns:a16="http://schemas.microsoft.com/office/drawing/2014/main" id="{78C34700-B609-4D1B-9FC0-A172ED69AC80}"/>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5" name="Rechthoek 344">
              <a:extLst>
                <a:ext uri="{FF2B5EF4-FFF2-40B4-BE49-F238E27FC236}">
                  <a16:creationId xmlns:a16="http://schemas.microsoft.com/office/drawing/2014/main" id="{865C8E08-DFFB-4DBE-B03B-A4F0396A4CAC}"/>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10430029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KST / GRAFIEK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AEBFF4F-6501-43ED-BE32-0C016FC9BE5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GRAFIEK 2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8" y="1459111"/>
            <a:ext cx="5015239" cy="1878840"/>
          </a:xfrm>
          <a:solidFill>
            <a:schemeClr val="bg1">
              <a:lumMod val="95000"/>
            </a:schemeClr>
          </a:solidFill>
        </p:spPr>
        <p:txBody>
          <a:bodyPr tIns="504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9" name="Rechthoek 28">
              <a:extLst>
                <a:ext uri="{FF2B5EF4-FFF2-40B4-BE49-F238E27FC236}">
                  <a16:creationId xmlns:a16="http://schemas.microsoft.com/office/drawing/2014/main" id="{95CDFAA9-BDB5-4D8F-938D-9F60774CE5B7}"/>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0" name="Rechthoek 29">
              <a:extLst>
                <a:ext uri="{FF2B5EF4-FFF2-40B4-BE49-F238E27FC236}">
                  <a16:creationId xmlns:a16="http://schemas.microsoft.com/office/drawing/2014/main" id="{D7E82FEE-89D5-4142-8839-67BDEF20414F}"/>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6636508" y="3698999"/>
            <a:ext cx="5015239" cy="1878840"/>
          </a:xfrm>
          <a:solidFill>
            <a:schemeClr val="bg1">
              <a:lumMod val="95000"/>
            </a:schemeClr>
          </a:solidFill>
        </p:spPr>
        <p:txBody>
          <a:bodyPr tIns="504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331" name="Instructie">
            <a:extLst>
              <a:ext uri="{FF2B5EF4-FFF2-40B4-BE49-F238E27FC236}">
                <a16:creationId xmlns:a16="http://schemas.microsoft.com/office/drawing/2014/main" id="{6D7E66DE-6C48-42A6-9F81-DC67C808EC69}"/>
              </a:ext>
            </a:extLst>
          </p:cNvPr>
          <p:cNvGrpSpPr/>
          <p:nvPr userDrawn="1"/>
        </p:nvGrpSpPr>
        <p:grpSpPr>
          <a:xfrm>
            <a:off x="-3437546" y="1436"/>
            <a:ext cx="3201327" cy="6041867"/>
            <a:chOff x="-3437547" y="1434"/>
            <a:chExt cx="3201327" cy="6041867"/>
          </a:xfrm>
        </p:grpSpPr>
        <p:cxnSp>
          <p:nvCxnSpPr>
            <p:cNvPr id="332" name="Rechte verbindingslijn 331">
              <a:extLst>
                <a:ext uri="{FF2B5EF4-FFF2-40B4-BE49-F238E27FC236}">
                  <a16:creationId xmlns:a16="http://schemas.microsoft.com/office/drawing/2014/main" id="{3DA2682F-3D0F-4CA4-920D-2ADF99C906DE}"/>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33" name="Ovaal 332">
              <a:extLst>
                <a:ext uri="{FF2B5EF4-FFF2-40B4-BE49-F238E27FC236}">
                  <a16:creationId xmlns:a16="http://schemas.microsoft.com/office/drawing/2014/main" id="{6A564E50-1B5E-4A41-9520-647B0E1C378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34" name="Rechthoek 333">
              <a:extLst>
                <a:ext uri="{FF2B5EF4-FFF2-40B4-BE49-F238E27FC236}">
                  <a16:creationId xmlns:a16="http://schemas.microsoft.com/office/drawing/2014/main" id="{5D6145B1-0044-4007-90AE-4F84F6F9483C}"/>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5" name="Ovaal 334">
              <a:extLst>
                <a:ext uri="{FF2B5EF4-FFF2-40B4-BE49-F238E27FC236}">
                  <a16:creationId xmlns:a16="http://schemas.microsoft.com/office/drawing/2014/main" id="{1EFD867F-E8FC-461A-8D98-1B9B280F2F9E}"/>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36" name="Rechthoek 335">
              <a:extLst>
                <a:ext uri="{FF2B5EF4-FFF2-40B4-BE49-F238E27FC236}">
                  <a16:creationId xmlns:a16="http://schemas.microsoft.com/office/drawing/2014/main" id="{BD376027-23AE-4850-9031-6FB44EF1A92F}"/>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7" name="Ovaal 336">
              <a:extLst>
                <a:ext uri="{FF2B5EF4-FFF2-40B4-BE49-F238E27FC236}">
                  <a16:creationId xmlns:a16="http://schemas.microsoft.com/office/drawing/2014/main" id="{329F773E-6568-4D98-8C94-4D76225239FE}"/>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38" name="Rechthoek 337">
              <a:extLst>
                <a:ext uri="{FF2B5EF4-FFF2-40B4-BE49-F238E27FC236}">
                  <a16:creationId xmlns:a16="http://schemas.microsoft.com/office/drawing/2014/main" id="{2806D305-F3D4-4EE5-8189-F615B63ADA05}"/>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39" name="Ovaal 338">
              <a:extLst>
                <a:ext uri="{FF2B5EF4-FFF2-40B4-BE49-F238E27FC236}">
                  <a16:creationId xmlns:a16="http://schemas.microsoft.com/office/drawing/2014/main" id="{35DBE988-EBDA-4753-BE5A-0E0472189A54}"/>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40" name="Rechthoek 339">
              <a:extLst>
                <a:ext uri="{FF2B5EF4-FFF2-40B4-BE49-F238E27FC236}">
                  <a16:creationId xmlns:a16="http://schemas.microsoft.com/office/drawing/2014/main" id="{8D745FA2-1431-45BB-9FF4-D1A83CF7AD24}"/>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341" name="Rechthoek 340">
              <a:extLst>
                <a:ext uri="{FF2B5EF4-FFF2-40B4-BE49-F238E27FC236}">
                  <a16:creationId xmlns:a16="http://schemas.microsoft.com/office/drawing/2014/main" id="{FD430301-FC57-415E-B18B-C8224E72FCC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42" name="Ovaal 341">
              <a:extLst>
                <a:ext uri="{FF2B5EF4-FFF2-40B4-BE49-F238E27FC236}">
                  <a16:creationId xmlns:a16="http://schemas.microsoft.com/office/drawing/2014/main" id="{F368EAF6-EE48-47DE-A004-0CA4F1417457}"/>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43" name="Rechte verbindingslijn 342">
              <a:extLst>
                <a:ext uri="{FF2B5EF4-FFF2-40B4-BE49-F238E27FC236}">
                  <a16:creationId xmlns:a16="http://schemas.microsoft.com/office/drawing/2014/main" id="{D64337B1-F754-415E-82D2-D1316466BD74}"/>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44" name="Groep 343">
              <a:extLst>
                <a:ext uri="{FF2B5EF4-FFF2-40B4-BE49-F238E27FC236}">
                  <a16:creationId xmlns:a16="http://schemas.microsoft.com/office/drawing/2014/main" id="{C7B1CA79-54CC-4A65-BAE2-A2BE520B4F2C}"/>
                </a:ext>
              </a:extLst>
            </p:cNvPr>
            <p:cNvGrpSpPr/>
            <p:nvPr userDrawn="1"/>
          </p:nvGrpSpPr>
          <p:grpSpPr>
            <a:xfrm>
              <a:off x="-3437547" y="1295337"/>
              <a:ext cx="2933825" cy="558875"/>
              <a:chOff x="-3419346" y="368233"/>
              <a:chExt cx="3904920" cy="743862"/>
            </a:xfrm>
          </p:grpSpPr>
          <p:sp>
            <p:nvSpPr>
              <p:cNvPr id="361" name="Rechthoek 360">
                <a:extLst>
                  <a:ext uri="{FF2B5EF4-FFF2-40B4-BE49-F238E27FC236}">
                    <a16:creationId xmlns:a16="http://schemas.microsoft.com/office/drawing/2014/main" id="{A69353A9-BFF5-41CA-8D7F-48790027126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62" name="Rechte verbindingslijn 361">
                <a:extLst>
                  <a:ext uri="{FF2B5EF4-FFF2-40B4-BE49-F238E27FC236}">
                    <a16:creationId xmlns:a16="http://schemas.microsoft.com/office/drawing/2014/main" id="{EA5C9AE6-B2F2-4268-8D34-0325D7A431A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3" name="Rechte verbindingslijn 362">
                <a:extLst>
                  <a:ext uri="{FF2B5EF4-FFF2-40B4-BE49-F238E27FC236}">
                    <a16:creationId xmlns:a16="http://schemas.microsoft.com/office/drawing/2014/main" id="{9BCC3302-F95D-43E9-9929-C3FA92B8E2AC}"/>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4" name="Rechthoek 363">
                <a:extLst>
                  <a:ext uri="{FF2B5EF4-FFF2-40B4-BE49-F238E27FC236}">
                    <a16:creationId xmlns:a16="http://schemas.microsoft.com/office/drawing/2014/main" id="{AFDC76A0-4AD7-4A08-88A9-6EE5D2E53D3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65" name="Groep 364">
                <a:extLst>
                  <a:ext uri="{FF2B5EF4-FFF2-40B4-BE49-F238E27FC236}">
                    <a16:creationId xmlns:a16="http://schemas.microsoft.com/office/drawing/2014/main" id="{24A03ABC-0329-4010-8825-F68A3167D026}"/>
                  </a:ext>
                </a:extLst>
              </p:cNvPr>
              <p:cNvGrpSpPr/>
              <p:nvPr userDrawn="1"/>
            </p:nvGrpSpPr>
            <p:grpSpPr>
              <a:xfrm>
                <a:off x="-3002834" y="720303"/>
                <a:ext cx="182598" cy="143759"/>
                <a:chOff x="-3310843" y="700986"/>
                <a:chExt cx="182598" cy="143759"/>
              </a:xfrm>
            </p:grpSpPr>
            <p:grpSp>
              <p:nvGrpSpPr>
                <p:cNvPr id="404" name="Groep 403">
                  <a:extLst>
                    <a:ext uri="{FF2B5EF4-FFF2-40B4-BE49-F238E27FC236}">
                      <a16:creationId xmlns:a16="http://schemas.microsoft.com/office/drawing/2014/main" id="{594B09C5-DC81-4E5B-B151-396EDD16CF7E}"/>
                    </a:ext>
                  </a:extLst>
                </p:cNvPr>
                <p:cNvGrpSpPr/>
                <p:nvPr userDrawn="1"/>
              </p:nvGrpSpPr>
              <p:grpSpPr>
                <a:xfrm>
                  <a:off x="-3310843" y="700986"/>
                  <a:ext cx="182598" cy="143759"/>
                  <a:chOff x="-3310843" y="700986"/>
                  <a:chExt cx="182598" cy="143759"/>
                </a:xfrm>
              </p:grpSpPr>
              <p:cxnSp>
                <p:nvCxnSpPr>
                  <p:cNvPr id="408" name="Rechte verbindingslijn 407">
                    <a:extLst>
                      <a:ext uri="{FF2B5EF4-FFF2-40B4-BE49-F238E27FC236}">
                        <a16:creationId xmlns:a16="http://schemas.microsoft.com/office/drawing/2014/main" id="{04D9AEE6-BA20-4EE4-8B04-2FA8A4EF9DF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09" name="Rechte verbindingslijn 408">
                    <a:extLst>
                      <a:ext uri="{FF2B5EF4-FFF2-40B4-BE49-F238E27FC236}">
                        <a16:creationId xmlns:a16="http://schemas.microsoft.com/office/drawing/2014/main" id="{A49F7EBA-2DB3-463D-A487-253081DB285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10" name="Rechte verbindingslijn 409">
                    <a:extLst>
                      <a:ext uri="{FF2B5EF4-FFF2-40B4-BE49-F238E27FC236}">
                        <a16:creationId xmlns:a16="http://schemas.microsoft.com/office/drawing/2014/main" id="{11C8C5CB-94FF-4FEE-9ED0-B4DBA2F6454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E60EA423-5D0F-4104-A638-ECF8E4EAB90F}"/>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308C5293-003B-4BC8-860A-5D812AA50E3D}"/>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05" name="Groep 404">
                  <a:extLst>
                    <a:ext uri="{FF2B5EF4-FFF2-40B4-BE49-F238E27FC236}">
                      <a16:creationId xmlns:a16="http://schemas.microsoft.com/office/drawing/2014/main" id="{0D67E565-900A-4C16-B33F-8E5C85270E3A}"/>
                    </a:ext>
                  </a:extLst>
                </p:cNvPr>
                <p:cNvGrpSpPr/>
                <p:nvPr userDrawn="1"/>
              </p:nvGrpSpPr>
              <p:grpSpPr>
                <a:xfrm flipH="1">
                  <a:off x="-3310774" y="735854"/>
                  <a:ext cx="88801" cy="72568"/>
                  <a:chOff x="-2091059" y="1395403"/>
                  <a:chExt cx="157316" cy="128558"/>
                </a:xfrm>
              </p:grpSpPr>
              <p:sp>
                <p:nvSpPr>
                  <p:cNvPr id="406" name="Rechthoek 405">
                    <a:extLst>
                      <a:ext uri="{FF2B5EF4-FFF2-40B4-BE49-F238E27FC236}">
                        <a16:creationId xmlns:a16="http://schemas.microsoft.com/office/drawing/2014/main" id="{A85AD5A3-66BF-44E0-8839-1E0991429C8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07" name="Pijl: punthaak 406">
                    <a:extLst>
                      <a:ext uri="{FF2B5EF4-FFF2-40B4-BE49-F238E27FC236}">
                        <a16:creationId xmlns:a16="http://schemas.microsoft.com/office/drawing/2014/main" id="{EBFC023F-EDAA-4643-91EA-6D161E4C5ED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66" name="Groep 365">
                <a:extLst>
                  <a:ext uri="{FF2B5EF4-FFF2-40B4-BE49-F238E27FC236}">
                    <a16:creationId xmlns:a16="http://schemas.microsoft.com/office/drawing/2014/main" id="{114BE9DD-D7C3-40EA-8B18-ACB1DCC43728}"/>
                  </a:ext>
                </a:extLst>
              </p:cNvPr>
              <p:cNvGrpSpPr/>
              <p:nvPr userDrawn="1"/>
            </p:nvGrpSpPr>
            <p:grpSpPr>
              <a:xfrm>
                <a:off x="-3326107" y="720303"/>
                <a:ext cx="182598" cy="143759"/>
                <a:chOff x="-3634116" y="700986"/>
                <a:chExt cx="182598" cy="143759"/>
              </a:xfrm>
            </p:grpSpPr>
            <p:grpSp>
              <p:nvGrpSpPr>
                <p:cNvPr id="395" name="Groep 394">
                  <a:extLst>
                    <a:ext uri="{FF2B5EF4-FFF2-40B4-BE49-F238E27FC236}">
                      <a16:creationId xmlns:a16="http://schemas.microsoft.com/office/drawing/2014/main" id="{399CF803-AD5A-491A-91E2-6367AEEF0C26}"/>
                    </a:ext>
                  </a:extLst>
                </p:cNvPr>
                <p:cNvGrpSpPr/>
                <p:nvPr userDrawn="1"/>
              </p:nvGrpSpPr>
              <p:grpSpPr>
                <a:xfrm>
                  <a:off x="-3634116" y="700986"/>
                  <a:ext cx="182598" cy="143759"/>
                  <a:chOff x="-3634116" y="700986"/>
                  <a:chExt cx="182598" cy="143759"/>
                </a:xfrm>
              </p:grpSpPr>
              <p:cxnSp>
                <p:nvCxnSpPr>
                  <p:cNvPr id="399" name="Rechte verbindingslijn 398">
                    <a:extLst>
                      <a:ext uri="{FF2B5EF4-FFF2-40B4-BE49-F238E27FC236}">
                        <a16:creationId xmlns:a16="http://schemas.microsoft.com/office/drawing/2014/main" id="{147A4464-1D78-4F16-A881-B18ABB27FF1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00" name="Rechte verbindingslijn 399">
                    <a:extLst>
                      <a:ext uri="{FF2B5EF4-FFF2-40B4-BE49-F238E27FC236}">
                        <a16:creationId xmlns:a16="http://schemas.microsoft.com/office/drawing/2014/main" id="{17494F5A-CEA4-4099-BA65-64F44AE3005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01" name="Rechte verbindingslijn 400">
                    <a:extLst>
                      <a:ext uri="{FF2B5EF4-FFF2-40B4-BE49-F238E27FC236}">
                        <a16:creationId xmlns:a16="http://schemas.microsoft.com/office/drawing/2014/main" id="{A3AE517A-6433-4A45-B2FF-9069D1FFDACC}"/>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C097D53E-5FC8-420A-8DE3-5AF2714B3AC1}"/>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A99F0992-22F1-4C4E-A12A-1199CBC3AD7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96" name="Groep 395">
                  <a:extLst>
                    <a:ext uri="{FF2B5EF4-FFF2-40B4-BE49-F238E27FC236}">
                      <a16:creationId xmlns:a16="http://schemas.microsoft.com/office/drawing/2014/main" id="{E94CB91C-62E0-4A75-91B0-B0AD272BC28F}"/>
                    </a:ext>
                  </a:extLst>
                </p:cNvPr>
                <p:cNvGrpSpPr/>
                <p:nvPr userDrawn="1"/>
              </p:nvGrpSpPr>
              <p:grpSpPr>
                <a:xfrm>
                  <a:off x="-3634047" y="735854"/>
                  <a:ext cx="88801" cy="72568"/>
                  <a:chOff x="-2091059" y="1395403"/>
                  <a:chExt cx="157316" cy="128558"/>
                </a:xfrm>
              </p:grpSpPr>
              <p:sp>
                <p:nvSpPr>
                  <p:cNvPr id="397" name="Rechthoek 396">
                    <a:extLst>
                      <a:ext uri="{FF2B5EF4-FFF2-40B4-BE49-F238E27FC236}">
                        <a16:creationId xmlns:a16="http://schemas.microsoft.com/office/drawing/2014/main" id="{F6DB2883-9078-45A1-BAD3-5BD2AAEAE19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8" name="Pijl: punthaak 397">
                    <a:extLst>
                      <a:ext uri="{FF2B5EF4-FFF2-40B4-BE49-F238E27FC236}">
                        <a16:creationId xmlns:a16="http://schemas.microsoft.com/office/drawing/2014/main" id="{F489C05C-4E45-40FF-A1DB-27699543D1A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67" name="Rechte verbindingslijn 366">
                <a:extLst>
                  <a:ext uri="{FF2B5EF4-FFF2-40B4-BE49-F238E27FC236}">
                    <a16:creationId xmlns:a16="http://schemas.microsoft.com/office/drawing/2014/main" id="{AE02A648-384D-41CB-85F2-89B75AF1606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68" name="Rechte verbindingslijn 367">
                <a:extLst>
                  <a:ext uri="{FF2B5EF4-FFF2-40B4-BE49-F238E27FC236}">
                    <a16:creationId xmlns:a16="http://schemas.microsoft.com/office/drawing/2014/main" id="{2B37A1E0-1C52-40F8-BF00-85DE675AAA48}"/>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69" name="Groep 368">
                <a:extLst>
                  <a:ext uri="{FF2B5EF4-FFF2-40B4-BE49-F238E27FC236}">
                    <a16:creationId xmlns:a16="http://schemas.microsoft.com/office/drawing/2014/main" id="{938BCC0C-B982-4493-83D8-E49A3CDE9401}"/>
                  </a:ext>
                </a:extLst>
              </p:cNvPr>
              <p:cNvGrpSpPr/>
              <p:nvPr userDrawn="1"/>
            </p:nvGrpSpPr>
            <p:grpSpPr>
              <a:xfrm>
                <a:off x="-2425037" y="370226"/>
                <a:ext cx="357690" cy="330595"/>
                <a:chOff x="-2721817" y="347336"/>
                <a:chExt cx="432805" cy="400021"/>
              </a:xfrm>
            </p:grpSpPr>
            <p:sp>
              <p:nvSpPr>
                <p:cNvPr id="384" name="Rechthoek 383">
                  <a:extLst>
                    <a:ext uri="{FF2B5EF4-FFF2-40B4-BE49-F238E27FC236}">
                      <a16:creationId xmlns:a16="http://schemas.microsoft.com/office/drawing/2014/main" id="{50286AA2-D58F-4DB1-BA52-9FAED882F1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C22AD013-AAFE-4449-8267-8ADEC138D737}"/>
                    </a:ext>
                  </a:extLst>
                </p:cNvPr>
                <p:cNvGrpSpPr/>
                <p:nvPr userDrawn="1"/>
              </p:nvGrpSpPr>
              <p:grpSpPr>
                <a:xfrm>
                  <a:off x="-2652453" y="431583"/>
                  <a:ext cx="294076" cy="231526"/>
                  <a:chOff x="-3634116" y="700986"/>
                  <a:chExt cx="182598" cy="143759"/>
                </a:xfrm>
              </p:grpSpPr>
              <p:grpSp>
                <p:nvGrpSpPr>
                  <p:cNvPr id="386" name="Groep 385">
                    <a:extLst>
                      <a:ext uri="{FF2B5EF4-FFF2-40B4-BE49-F238E27FC236}">
                        <a16:creationId xmlns:a16="http://schemas.microsoft.com/office/drawing/2014/main" id="{5C70B9C8-ECBA-4990-BC43-EB6E030B9ADE}"/>
                      </a:ext>
                    </a:extLst>
                  </p:cNvPr>
                  <p:cNvGrpSpPr/>
                  <p:nvPr userDrawn="1"/>
                </p:nvGrpSpPr>
                <p:grpSpPr>
                  <a:xfrm>
                    <a:off x="-3634116" y="700986"/>
                    <a:ext cx="182598" cy="143759"/>
                    <a:chOff x="-3634116" y="700986"/>
                    <a:chExt cx="182598" cy="143759"/>
                  </a:xfrm>
                </p:grpSpPr>
                <p:cxnSp>
                  <p:nvCxnSpPr>
                    <p:cNvPr id="390" name="Rechte verbindingslijn 389">
                      <a:extLst>
                        <a:ext uri="{FF2B5EF4-FFF2-40B4-BE49-F238E27FC236}">
                          <a16:creationId xmlns:a16="http://schemas.microsoft.com/office/drawing/2014/main" id="{0B9882EB-99D8-4C51-B60C-108A5CB3C4F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72DE5483-5FF7-4BEE-A776-D7D83AF3D72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87D79D47-8FBB-4D02-A552-1B1CA91CD0D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2E11CA1A-A034-4D30-867D-BDEE9D4202FA}"/>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7AE4E7F0-AA77-44EC-A129-D85F0F920B2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EE25E1AF-32F1-4513-BE51-6345166B48DB}"/>
                      </a:ext>
                    </a:extLst>
                  </p:cNvPr>
                  <p:cNvGrpSpPr/>
                  <p:nvPr userDrawn="1"/>
                </p:nvGrpSpPr>
                <p:grpSpPr>
                  <a:xfrm>
                    <a:off x="-3634047" y="735854"/>
                    <a:ext cx="88801" cy="72568"/>
                    <a:chOff x="-2091059" y="1395403"/>
                    <a:chExt cx="157316" cy="128558"/>
                  </a:xfrm>
                </p:grpSpPr>
                <p:sp>
                  <p:nvSpPr>
                    <p:cNvPr id="388" name="Rechthoek 387">
                      <a:extLst>
                        <a:ext uri="{FF2B5EF4-FFF2-40B4-BE49-F238E27FC236}">
                          <a16:creationId xmlns:a16="http://schemas.microsoft.com/office/drawing/2014/main" id="{C172B22E-A7CA-42EE-9644-2A9A503BCED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9" name="Pijl: punthaak 388">
                      <a:extLst>
                        <a:ext uri="{FF2B5EF4-FFF2-40B4-BE49-F238E27FC236}">
                          <a16:creationId xmlns:a16="http://schemas.microsoft.com/office/drawing/2014/main" id="{DA25C5E6-379D-4D16-9CF9-1EE52DF098A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70" name="Groep 369">
                <a:extLst>
                  <a:ext uri="{FF2B5EF4-FFF2-40B4-BE49-F238E27FC236}">
                    <a16:creationId xmlns:a16="http://schemas.microsoft.com/office/drawing/2014/main" id="{99AA79A3-9437-4975-952E-F5126CC98BE1}"/>
                  </a:ext>
                </a:extLst>
              </p:cNvPr>
              <p:cNvGrpSpPr/>
              <p:nvPr userDrawn="1"/>
            </p:nvGrpSpPr>
            <p:grpSpPr>
              <a:xfrm>
                <a:off x="-2425037" y="781500"/>
                <a:ext cx="357690" cy="330595"/>
                <a:chOff x="-2721817" y="782525"/>
                <a:chExt cx="432805" cy="400021"/>
              </a:xfrm>
            </p:grpSpPr>
            <p:sp>
              <p:nvSpPr>
                <p:cNvPr id="373" name="Rechthoek 372">
                  <a:extLst>
                    <a:ext uri="{FF2B5EF4-FFF2-40B4-BE49-F238E27FC236}">
                      <a16:creationId xmlns:a16="http://schemas.microsoft.com/office/drawing/2014/main" id="{375ED682-3AB6-4F06-BFCB-4AB63E7A67E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4" name="Groep 373">
                  <a:extLst>
                    <a:ext uri="{FF2B5EF4-FFF2-40B4-BE49-F238E27FC236}">
                      <a16:creationId xmlns:a16="http://schemas.microsoft.com/office/drawing/2014/main" id="{B7B5D0CA-3824-4104-B349-2BCD4AFA3CBB}"/>
                    </a:ext>
                  </a:extLst>
                </p:cNvPr>
                <p:cNvGrpSpPr/>
                <p:nvPr userDrawn="1"/>
              </p:nvGrpSpPr>
              <p:grpSpPr>
                <a:xfrm>
                  <a:off x="-2652453" y="866772"/>
                  <a:ext cx="294076" cy="231526"/>
                  <a:chOff x="-3310843" y="700986"/>
                  <a:chExt cx="182598" cy="143759"/>
                </a:xfrm>
              </p:grpSpPr>
              <p:grpSp>
                <p:nvGrpSpPr>
                  <p:cNvPr id="375" name="Groep 374">
                    <a:extLst>
                      <a:ext uri="{FF2B5EF4-FFF2-40B4-BE49-F238E27FC236}">
                        <a16:creationId xmlns:a16="http://schemas.microsoft.com/office/drawing/2014/main" id="{E58111B9-490F-4219-8D4A-82973DD0A7F7}"/>
                      </a:ext>
                    </a:extLst>
                  </p:cNvPr>
                  <p:cNvGrpSpPr/>
                  <p:nvPr userDrawn="1"/>
                </p:nvGrpSpPr>
                <p:grpSpPr>
                  <a:xfrm>
                    <a:off x="-3310843" y="700986"/>
                    <a:ext cx="182598" cy="143759"/>
                    <a:chOff x="-3310843" y="700986"/>
                    <a:chExt cx="182598" cy="143759"/>
                  </a:xfrm>
                </p:grpSpPr>
                <p:cxnSp>
                  <p:nvCxnSpPr>
                    <p:cNvPr id="379" name="Rechte verbindingslijn 378">
                      <a:extLst>
                        <a:ext uri="{FF2B5EF4-FFF2-40B4-BE49-F238E27FC236}">
                          <a16:creationId xmlns:a16="http://schemas.microsoft.com/office/drawing/2014/main" id="{EABC8F82-3487-4AA8-B97C-843C1BB9E51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3D727D3A-7AFD-4AF0-9943-C9E3FE49BB5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81" name="Rechte verbindingslijn 380">
                      <a:extLst>
                        <a:ext uri="{FF2B5EF4-FFF2-40B4-BE49-F238E27FC236}">
                          <a16:creationId xmlns:a16="http://schemas.microsoft.com/office/drawing/2014/main" id="{2F7C8B33-C34E-4D7F-A02D-C46DDEA5DD3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4D84F2EA-2DC9-4163-838C-325FA0D561DD}"/>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D0ADC9CD-10C2-41A9-8A76-B7FAAA53839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76" name="Groep 375">
                    <a:extLst>
                      <a:ext uri="{FF2B5EF4-FFF2-40B4-BE49-F238E27FC236}">
                        <a16:creationId xmlns:a16="http://schemas.microsoft.com/office/drawing/2014/main" id="{0CB051DD-8A8F-433A-AD79-D23958A923C5}"/>
                      </a:ext>
                    </a:extLst>
                  </p:cNvPr>
                  <p:cNvGrpSpPr/>
                  <p:nvPr userDrawn="1"/>
                </p:nvGrpSpPr>
                <p:grpSpPr>
                  <a:xfrm flipH="1">
                    <a:off x="-3310774" y="735854"/>
                    <a:ext cx="88801" cy="72568"/>
                    <a:chOff x="-2091059" y="1395403"/>
                    <a:chExt cx="157316" cy="128558"/>
                  </a:xfrm>
                </p:grpSpPr>
                <p:sp>
                  <p:nvSpPr>
                    <p:cNvPr id="377" name="Rechthoek 376">
                      <a:extLst>
                        <a:ext uri="{FF2B5EF4-FFF2-40B4-BE49-F238E27FC236}">
                          <a16:creationId xmlns:a16="http://schemas.microsoft.com/office/drawing/2014/main" id="{039330E6-3B69-47BE-84F6-0F49906595D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8" name="Pijl: punthaak 377">
                      <a:extLst>
                        <a:ext uri="{FF2B5EF4-FFF2-40B4-BE49-F238E27FC236}">
                          <a16:creationId xmlns:a16="http://schemas.microsoft.com/office/drawing/2014/main" id="{826F44D2-E9D9-49A2-ACEA-158624A808C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71" name="Rechthoek 370">
                <a:extLst>
                  <a:ext uri="{FF2B5EF4-FFF2-40B4-BE49-F238E27FC236}">
                    <a16:creationId xmlns:a16="http://schemas.microsoft.com/office/drawing/2014/main" id="{B03FB0AC-FA25-4C0C-BE72-AB949516548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72" name="Rechthoek 371">
                <a:extLst>
                  <a:ext uri="{FF2B5EF4-FFF2-40B4-BE49-F238E27FC236}">
                    <a16:creationId xmlns:a16="http://schemas.microsoft.com/office/drawing/2014/main" id="{DD2CD3EC-A962-4BB2-8359-8E561DCA248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45" name="Rechte verbindingslijn 344">
              <a:extLst>
                <a:ext uri="{FF2B5EF4-FFF2-40B4-BE49-F238E27FC236}">
                  <a16:creationId xmlns:a16="http://schemas.microsoft.com/office/drawing/2014/main" id="{2DB0390E-6BD5-4FCB-A11A-5208B0D380B4}"/>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46" name="Rechthoek 345">
              <a:extLst>
                <a:ext uri="{FF2B5EF4-FFF2-40B4-BE49-F238E27FC236}">
                  <a16:creationId xmlns:a16="http://schemas.microsoft.com/office/drawing/2014/main" id="{8401E599-6629-418F-9269-7B6287B1F7D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7" name="Ovaal 346">
              <a:extLst>
                <a:ext uri="{FF2B5EF4-FFF2-40B4-BE49-F238E27FC236}">
                  <a16:creationId xmlns:a16="http://schemas.microsoft.com/office/drawing/2014/main" id="{8F49A5C1-F7AF-45DA-B859-B5C708FDA72F}"/>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8" name="Rechthoek 347">
              <a:extLst>
                <a:ext uri="{FF2B5EF4-FFF2-40B4-BE49-F238E27FC236}">
                  <a16:creationId xmlns:a16="http://schemas.microsoft.com/office/drawing/2014/main" id="{E3CAE000-752F-4A28-AF2E-46E8DDB222D0}"/>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49" name="Ovaal 348">
              <a:extLst>
                <a:ext uri="{FF2B5EF4-FFF2-40B4-BE49-F238E27FC236}">
                  <a16:creationId xmlns:a16="http://schemas.microsoft.com/office/drawing/2014/main" id="{6851E319-3ADF-4ED9-A4D2-77EDBB17E481}"/>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0" name="Rechthoek 349">
              <a:extLst>
                <a:ext uri="{FF2B5EF4-FFF2-40B4-BE49-F238E27FC236}">
                  <a16:creationId xmlns:a16="http://schemas.microsoft.com/office/drawing/2014/main" id="{0C345076-C272-4D4D-B945-BEA0925B4C04}"/>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51" name="Ovaal 350">
              <a:extLst>
                <a:ext uri="{FF2B5EF4-FFF2-40B4-BE49-F238E27FC236}">
                  <a16:creationId xmlns:a16="http://schemas.microsoft.com/office/drawing/2014/main" id="{24504875-F52E-4618-A326-DDAC6C0A5DC4}"/>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52" name="Rechthoek 351">
              <a:extLst>
                <a:ext uri="{FF2B5EF4-FFF2-40B4-BE49-F238E27FC236}">
                  <a16:creationId xmlns:a16="http://schemas.microsoft.com/office/drawing/2014/main" id="{6CFE81D4-C761-4915-9791-F8291A412683}"/>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53" name="Ovaal 352">
              <a:extLst>
                <a:ext uri="{FF2B5EF4-FFF2-40B4-BE49-F238E27FC236}">
                  <a16:creationId xmlns:a16="http://schemas.microsoft.com/office/drawing/2014/main" id="{FB6DED21-2D45-4BA7-A6C1-2D6FE74E4926}"/>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54" name="Rechthoek 353">
              <a:extLst>
                <a:ext uri="{FF2B5EF4-FFF2-40B4-BE49-F238E27FC236}">
                  <a16:creationId xmlns:a16="http://schemas.microsoft.com/office/drawing/2014/main" id="{B1BC0082-DCCA-4B07-B5E9-7303F0021207}"/>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55" name="Rechthoek 354">
              <a:extLst>
                <a:ext uri="{FF2B5EF4-FFF2-40B4-BE49-F238E27FC236}">
                  <a16:creationId xmlns:a16="http://schemas.microsoft.com/office/drawing/2014/main" id="{F8D85C51-A58C-4B2F-80EB-A5437561EE44}"/>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56" name="Rechte verbindingslijn 355">
              <a:extLst>
                <a:ext uri="{FF2B5EF4-FFF2-40B4-BE49-F238E27FC236}">
                  <a16:creationId xmlns:a16="http://schemas.microsoft.com/office/drawing/2014/main" id="{CB0D861B-B0C9-4540-A210-34CBF16CE4F5}"/>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57" name="Ovaal 356">
              <a:extLst>
                <a:ext uri="{FF2B5EF4-FFF2-40B4-BE49-F238E27FC236}">
                  <a16:creationId xmlns:a16="http://schemas.microsoft.com/office/drawing/2014/main" id="{01B3C5E0-5C0F-4F83-9280-525139D247DA}"/>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58" name="Rechthoek 357">
              <a:extLst>
                <a:ext uri="{FF2B5EF4-FFF2-40B4-BE49-F238E27FC236}">
                  <a16:creationId xmlns:a16="http://schemas.microsoft.com/office/drawing/2014/main" id="{22E73C43-B746-48D5-9B33-4960EDB78AD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359" name="Ovaal 358">
              <a:extLst>
                <a:ext uri="{FF2B5EF4-FFF2-40B4-BE49-F238E27FC236}">
                  <a16:creationId xmlns:a16="http://schemas.microsoft.com/office/drawing/2014/main" id="{2FA829D8-F2AD-4FDC-BB9D-5ABA7E6CDFBD}"/>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0" name="Rechthoek 359">
              <a:extLst>
                <a:ext uri="{FF2B5EF4-FFF2-40B4-BE49-F238E27FC236}">
                  <a16:creationId xmlns:a16="http://schemas.microsoft.com/office/drawing/2014/main" id="{3AC63470-DE9E-40FA-9CE0-85990C6A71B0}"/>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413" name="Instructie">
            <a:extLst>
              <a:ext uri="{FF2B5EF4-FFF2-40B4-BE49-F238E27FC236}">
                <a16:creationId xmlns:a16="http://schemas.microsoft.com/office/drawing/2014/main" id="{9B4D08FE-3B9F-4C54-96C9-209DD32C9829}"/>
              </a:ext>
            </a:extLst>
          </p:cNvPr>
          <p:cNvGrpSpPr/>
          <p:nvPr userDrawn="1"/>
        </p:nvGrpSpPr>
        <p:grpSpPr>
          <a:xfrm>
            <a:off x="12389714" y="5221437"/>
            <a:ext cx="3183677" cy="1636565"/>
            <a:chOff x="12389714" y="4327164"/>
            <a:chExt cx="3183677" cy="1636565"/>
          </a:xfrm>
        </p:grpSpPr>
        <p:cxnSp>
          <p:nvCxnSpPr>
            <p:cNvPr id="414" name="Rechte verbindingslijn 413">
              <a:extLst>
                <a:ext uri="{FF2B5EF4-FFF2-40B4-BE49-F238E27FC236}">
                  <a16:creationId xmlns:a16="http://schemas.microsoft.com/office/drawing/2014/main" id="{4B921F6F-0358-4DCA-91E0-E7FC99BE1911}"/>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415" name="Rechthoek 414">
              <a:extLst>
                <a:ext uri="{FF2B5EF4-FFF2-40B4-BE49-F238E27FC236}">
                  <a16:creationId xmlns:a16="http://schemas.microsoft.com/office/drawing/2014/main" id="{C366EED5-E9A5-4836-9C27-2BB486471B58}"/>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416" name="Ovaal 415">
              <a:extLst>
                <a:ext uri="{FF2B5EF4-FFF2-40B4-BE49-F238E27FC236}">
                  <a16:creationId xmlns:a16="http://schemas.microsoft.com/office/drawing/2014/main" id="{2972B8C8-846C-4BF6-835F-A3CD25E8D086}"/>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17" name="Rechte verbindingslijn 416">
              <a:extLst>
                <a:ext uri="{FF2B5EF4-FFF2-40B4-BE49-F238E27FC236}">
                  <a16:creationId xmlns:a16="http://schemas.microsoft.com/office/drawing/2014/main" id="{774CA5D0-74DF-4019-8720-B6E41473200B}"/>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418" name="Rechthoek 417">
              <a:extLst>
                <a:ext uri="{FF2B5EF4-FFF2-40B4-BE49-F238E27FC236}">
                  <a16:creationId xmlns:a16="http://schemas.microsoft.com/office/drawing/2014/main" id="{735A1CF7-89A2-476A-BC09-163E08C0262C}"/>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419" name="Groep 418">
              <a:extLst>
                <a:ext uri="{FF2B5EF4-FFF2-40B4-BE49-F238E27FC236}">
                  <a16:creationId xmlns:a16="http://schemas.microsoft.com/office/drawing/2014/main" id="{B56ECA9B-E982-4D44-AC96-7C265F850E3A}"/>
                </a:ext>
              </a:extLst>
            </p:cNvPr>
            <p:cNvGrpSpPr/>
            <p:nvPr userDrawn="1"/>
          </p:nvGrpSpPr>
          <p:grpSpPr>
            <a:xfrm>
              <a:off x="12755394" y="5222855"/>
              <a:ext cx="1714530" cy="639425"/>
              <a:chOff x="12757283" y="4365594"/>
              <a:chExt cx="1714530" cy="639425"/>
            </a:xfrm>
          </p:grpSpPr>
          <p:sp>
            <p:nvSpPr>
              <p:cNvPr id="420" name="Rechthoek 419">
                <a:extLst>
                  <a:ext uri="{FF2B5EF4-FFF2-40B4-BE49-F238E27FC236}">
                    <a16:creationId xmlns:a16="http://schemas.microsoft.com/office/drawing/2014/main" id="{CB809EF6-9787-44BE-ADD0-AAC346E18A6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421" name="Rechthoek 420">
                <a:extLst>
                  <a:ext uri="{FF2B5EF4-FFF2-40B4-BE49-F238E27FC236}">
                    <a16:creationId xmlns:a16="http://schemas.microsoft.com/office/drawing/2014/main" id="{B6393077-16EB-4782-9C77-3EE691B8044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22" name="Tekstvak 421">
                <a:extLst>
                  <a:ext uri="{FF2B5EF4-FFF2-40B4-BE49-F238E27FC236}">
                    <a16:creationId xmlns:a16="http://schemas.microsoft.com/office/drawing/2014/main" id="{9A999F29-BC59-441E-984E-221C496DF413}"/>
                  </a:ext>
                </a:extLst>
              </p:cNvPr>
              <p:cNvSpPr txBox="1"/>
              <p:nvPr userDrawn="1"/>
            </p:nvSpPr>
            <p:spPr>
              <a:xfrm>
                <a:off x="12997648" y="4404704"/>
                <a:ext cx="1248154"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423" name="Tekstvak 422">
                <a:extLst>
                  <a:ext uri="{FF2B5EF4-FFF2-40B4-BE49-F238E27FC236}">
                    <a16:creationId xmlns:a16="http://schemas.microsoft.com/office/drawing/2014/main" id="{EA26D55F-4BB1-40D6-AB23-FC9F53287C3F}"/>
                  </a:ext>
                </a:extLst>
              </p:cNvPr>
              <p:cNvSpPr txBox="1"/>
              <p:nvPr userDrawn="1"/>
            </p:nvSpPr>
            <p:spPr>
              <a:xfrm>
                <a:off x="12984219" y="4725830"/>
                <a:ext cx="1274711"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424" name="Picture 3">
                <a:extLst>
                  <a:ext uri="{FF2B5EF4-FFF2-40B4-BE49-F238E27FC236}">
                    <a16:creationId xmlns:a16="http://schemas.microsoft.com/office/drawing/2014/main" id="{0C2AE933-31D8-46F1-886A-47D3D14699F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25" name="Groep 424">
                <a:extLst>
                  <a:ext uri="{FF2B5EF4-FFF2-40B4-BE49-F238E27FC236}">
                    <a16:creationId xmlns:a16="http://schemas.microsoft.com/office/drawing/2014/main" id="{1EE2066A-8F45-4F01-AA61-2EBBA8A7DC41}"/>
                  </a:ext>
                </a:extLst>
              </p:cNvPr>
              <p:cNvGrpSpPr/>
              <p:nvPr userDrawn="1"/>
            </p:nvGrpSpPr>
            <p:grpSpPr>
              <a:xfrm>
                <a:off x="12831198" y="4432250"/>
                <a:ext cx="139861" cy="152244"/>
                <a:chOff x="12574450" y="6053892"/>
                <a:chExt cx="169232" cy="184215"/>
              </a:xfrm>
            </p:grpSpPr>
            <p:sp>
              <p:nvSpPr>
                <p:cNvPr id="448" name="Rechthoek 447">
                  <a:extLst>
                    <a:ext uri="{FF2B5EF4-FFF2-40B4-BE49-F238E27FC236}">
                      <a16:creationId xmlns:a16="http://schemas.microsoft.com/office/drawing/2014/main" id="{EA8BA761-85BA-436C-A059-31152614421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449" name="Rechthoek 448">
                  <a:extLst>
                    <a:ext uri="{FF2B5EF4-FFF2-40B4-BE49-F238E27FC236}">
                      <a16:creationId xmlns:a16="http://schemas.microsoft.com/office/drawing/2014/main" id="{BD4DAAD5-6760-404D-AAFF-798B35A98849}"/>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450" name="Rechthoek 449">
                  <a:extLst>
                    <a:ext uri="{FF2B5EF4-FFF2-40B4-BE49-F238E27FC236}">
                      <a16:creationId xmlns:a16="http://schemas.microsoft.com/office/drawing/2014/main" id="{E2F9CBF8-C926-4B40-A968-A9D2111544E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grpSp>
          <p:grpSp>
            <p:nvGrpSpPr>
              <p:cNvPr id="426" name="Groep 425">
                <a:extLst>
                  <a:ext uri="{FF2B5EF4-FFF2-40B4-BE49-F238E27FC236}">
                    <a16:creationId xmlns:a16="http://schemas.microsoft.com/office/drawing/2014/main" id="{CAC672DC-93C6-42AC-913B-1D7F7D3B043F}"/>
                  </a:ext>
                </a:extLst>
              </p:cNvPr>
              <p:cNvGrpSpPr/>
              <p:nvPr userDrawn="1"/>
            </p:nvGrpSpPr>
            <p:grpSpPr>
              <a:xfrm>
                <a:off x="12831198" y="4748585"/>
                <a:ext cx="184916" cy="120210"/>
                <a:chOff x="8815516" y="1076284"/>
                <a:chExt cx="503174" cy="327105"/>
              </a:xfrm>
            </p:grpSpPr>
            <p:sp>
              <p:nvSpPr>
                <p:cNvPr id="427" name="Rechthoek 426">
                  <a:extLst>
                    <a:ext uri="{FF2B5EF4-FFF2-40B4-BE49-F238E27FC236}">
                      <a16:creationId xmlns:a16="http://schemas.microsoft.com/office/drawing/2014/main" id="{4CEED166-EC7D-463D-A510-577AA161DF3B}"/>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428" name="Groep 427">
                  <a:extLst>
                    <a:ext uri="{FF2B5EF4-FFF2-40B4-BE49-F238E27FC236}">
                      <a16:creationId xmlns:a16="http://schemas.microsoft.com/office/drawing/2014/main" id="{38641603-4295-4417-BD35-F2DB26F24122}"/>
                    </a:ext>
                  </a:extLst>
                </p:cNvPr>
                <p:cNvGrpSpPr/>
                <p:nvPr userDrawn="1"/>
              </p:nvGrpSpPr>
              <p:grpSpPr>
                <a:xfrm>
                  <a:off x="8815517" y="1076284"/>
                  <a:ext cx="503173" cy="327105"/>
                  <a:chOff x="1351248" y="-683635"/>
                  <a:chExt cx="503173" cy="327105"/>
                </a:xfrm>
              </p:grpSpPr>
              <p:grpSp>
                <p:nvGrpSpPr>
                  <p:cNvPr id="429" name="Groep 428">
                    <a:extLst>
                      <a:ext uri="{FF2B5EF4-FFF2-40B4-BE49-F238E27FC236}">
                        <a16:creationId xmlns:a16="http://schemas.microsoft.com/office/drawing/2014/main" id="{F7A85E49-C1D0-4E0C-9F04-353441206484}"/>
                      </a:ext>
                    </a:extLst>
                  </p:cNvPr>
                  <p:cNvGrpSpPr/>
                  <p:nvPr userDrawn="1"/>
                </p:nvGrpSpPr>
                <p:grpSpPr>
                  <a:xfrm>
                    <a:off x="1351248" y="-683635"/>
                    <a:ext cx="375186" cy="293652"/>
                    <a:chOff x="1094874" y="-884923"/>
                    <a:chExt cx="884668" cy="692417"/>
                  </a:xfrm>
                </p:grpSpPr>
                <p:sp>
                  <p:nvSpPr>
                    <p:cNvPr id="434" name="Rechthoek 433">
                      <a:extLst>
                        <a:ext uri="{FF2B5EF4-FFF2-40B4-BE49-F238E27FC236}">
                          <a16:creationId xmlns:a16="http://schemas.microsoft.com/office/drawing/2014/main" id="{7130CC2E-7A9A-4602-91A5-2AB217E4D04C}"/>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435" name="Groep 434">
                      <a:extLst>
                        <a:ext uri="{FF2B5EF4-FFF2-40B4-BE49-F238E27FC236}">
                          <a16:creationId xmlns:a16="http://schemas.microsoft.com/office/drawing/2014/main" id="{985962D7-B463-4F68-8BD1-FC80BA855DEE}"/>
                        </a:ext>
                      </a:extLst>
                    </p:cNvPr>
                    <p:cNvGrpSpPr/>
                    <p:nvPr userDrawn="1"/>
                  </p:nvGrpSpPr>
                  <p:grpSpPr>
                    <a:xfrm>
                      <a:off x="1094874" y="-878306"/>
                      <a:ext cx="867364" cy="685800"/>
                      <a:chOff x="1094874" y="-878306"/>
                      <a:chExt cx="867364" cy="613611"/>
                    </a:xfrm>
                  </p:grpSpPr>
                  <p:cxnSp>
                    <p:nvCxnSpPr>
                      <p:cNvPr id="441" name="Rechte verbindingslijn 440">
                        <a:extLst>
                          <a:ext uri="{FF2B5EF4-FFF2-40B4-BE49-F238E27FC236}">
                            <a16:creationId xmlns:a16="http://schemas.microsoft.com/office/drawing/2014/main" id="{1564854A-018B-4AE9-9E12-67AC8A9ADAF7}"/>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2" name="Rechte verbindingslijn 441">
                        <a:extLst>
                          <a:ext uri="{FF2B5EF4-FFF2-40B4-BE49-F238E27FC236}">
                            <a16:creationId xmlns:a16="http://schemas.microsoft.com/office/drawing/2014/main" id="{CBF4BBCD-DF4F-4CA2-BF9B-FC24B69CF1F8}"/>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3" name="Groep 442">
                        <a:extLst>
                          <a:ext uri="{FF2B5EF4-FFF2-40B4-BE49-F238E27FC236}">
                            <a16:creationId xmlns:a16="http://schemas.microsoft.com/office/drawing/2014/main" id="{3F37742E-B114-4E60-9F40-407545347395}"/>
                          </a:ext>
                        </a:extLst>
                      </p:cNvPr>
                      <p:cNvGrpSpPr/>
                      <p:nvPr userDrawn="1"/>
                    </p:nvGrpSpPr>
                    <p:grpSpPr>
                      <a:xfrm>
                        <a:off x="1270535" y="-878306"/>
                        <a:ext cx="526983" cy="613611"/>
                        <a:chOff x="1270535" y="-745959"/>
                        <a:chExt cx="526983" cy="481264"/>
                      </a:xfrm>
                    </p:grpSpPr>
                    <p:cxnSp>
                      <p:nvCxnSpPr>
                        <p:cNvPr id="444" name="Rechte verbindingslijn 443">
                          <a:extLst>
                            <a:ext uri="{FF2B5EF4-FFF2-40B4-BE49-F238E27FC236}">
                              <a16:creationId xmlns:a16="http://schemas.microsoft.com/office/drawing/2014/main" id="{D0C0EB10-A86C-4EE2-B317-66A93552DCE6}"/>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5" name="Rechte verbindingslijn 444">
                          <a:extLst>
                            <a:ext uri="{FF2B5EF4-FFF2-40B4-BE49-F238E27FC236}">
                              <a16:creationId xmlns:a16="http://schemas.microsoft.com/office/drawing/2014/main" id="{7ABD2918-2533-47CA-8231-4850611F30DD}"/>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6" name="Rechte verbindingslijn 445">
                          <a:extLst>
                            <a:ext uri="{FF2B5EF4-FFF2-40B4-BE49-F238E27FC236}">
                              <a16:creationId xmlns:a16="http://schemas.microsoft.com/office/drawing/2014/main" id="{E19760F4-2802-44D5-87A1-7131593D069E}"/>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7" name="Rechte verbindingslijn 446">
                          <a:extLst>
                            <a:ext uri="{FF2B5EF4-FFF2-40B4-BE49-F238E27FC236}">
                              <a16:creationId xmlns:a16="http://schemas.microsoft.com/office/drawing/2014/main" id="{8F88EA5B-7A8A-47F6-A09F-D50AB33CA16F}"/>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36" name="Rechte verbindingslijn 435">
                      <a:extLst>
                        <a:ext uri="{FF2B5EF4-FFF2-40B4-BE49-F238E27FC236}">
                          <a16:creationId xmlns:a16="http://schemas.microsoft.com/office/drawing/2014/main" id="{B4254931-C035-4023-9155-3F0D34E8A87A}"/>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37" name="Groep 436">
                      <a:extLst>
                        <a:ext uri="{FF2B5EF4-FFF2-40B4-BE49-F238E27FC236}">
                          <a16:creationId xmlns:a16="http://schemas.microsoft.com/office/drawing/2014/main" id="{C2C6F39E-9DAD-49CA-AB4D-904D46EB2CA2}"/>
                        </a:ext>
                      </a:extLst>
                    </p:cNvPr>
                    <p:cNvGrpSpPr/>
                    <p:nvPr userDrawn="1"/>
                  </p:nvGrpSpPr>
                  <p:grpSpPr>
                    <a:xfrm>
                      <a:off x="1094874" y="-607596"/>
                      <a:ext cx="878306" cy="276726"/>
                      <a:chOff x="1106905" y="-607596"/>
                      <a:chExt cx="878307" cy="276726"/>
                    </a:xfrm>
                  </p:grpSpPr>
                  <p:cxnSp>
                    <p:nvCxnSpPr>
                      <p:cNvPr id="438" name="Rechte verbindingslijn 437">
                        <a:extLst>
                          <a:ext uri="{FF2B5EF4-FFF2-40B4-BE49-F238E27FC236}">
                            <a16:creationId xmlns:a16="http://schemas.microsoft.com/office/drawing/2014/main" id="{597988A4-698D-48B4-9B35-D811D0995B42}"/>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39" name="Rechte verbindingslijn 438">
                        <a:extLst>
                          <a:ext uri="{FF2B5EF4-FFF2-40B4-BE49-F238E27FC236}">
                            <a16:creationId xmlns:a16="http://schemas.microsoft.com/office/drawing/2014/main" id="{1257D7DA-D52D-42AB-AD3C-E815373ECD8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0" name="Rechte verbindingslijn 439">
                        <a:extLst>
                          <a:ext uri="{FF2B5EF4-FFF2-40B4-BE49-F238E27FC236}">
                            <a16:creationId xmlns:a16="http://schemas.microsoft.com/office/drawing/2014/main" id="{6127D13F-5741-4431-9709-86BAC0CD1DA8}"/>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30" name="Groep 429">
                    <a:extLst>
                      <a:ext uri="{FF2B5EF4-FFF2-40B4-BE49-F238E27FC236}">
                        <a16:creationId xmlns:a16="http://schemas.microsoft.com/office/drawing/2014/main" id="{876B69FB-0CDA-4086-8C45-CB19F5286262}"/>
                      </a:ext>
                    </a:extLst>
                  </p:cNvPr>
                  <p:cNvGrpSpPr/>
                  <p:nvPr userDrawn="1"/>
                </p:nvGrpSpPr>
                <p:grpSpPr>
                  <a:xfrm rot="2700000">
                    <a:off x="1605871" y="-605080"/>
                    <a:ext cx="90079" cy="407021"/>
                    <a:chOff x="3130062" y="-817193"/>
                    <a:chExt cx="131884" cy="595920"/>
                  </a:xfrm>
                  <a:solidFill>
                    <a:srgbClr val="3399FF"/>
                  </a:solidFill>
                </p:grpSpPr>
                <p:sp>
                  <p:nvSpPr>
                    <p:cNvPr id="431" name="Rechthoek 430">
                      <a:extLst>
                        <a:ext uri="{FF2B5EF4-FFF2-40B4-BE49-F238E27FC236}">
                          <a16:creationId xmlns:a16="http://schemas.microsoft.com/office/drawing/2014/main" id="{F9E8C5B3-1D8C-48F7-B42B-02B479558124}"/>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432" name="Rechthoek: afgeronde bovenhoeken 431">
                      <a:extLst>
                        <a:ext uri="{FF2B5EF4-FFF2-40B4-BE49-F238E27FC236}">
                          <a16:creationId xmlns:a16="http://schemas.microsoft.com/office/drawing/2014/main" id="{B4C2AD3F-AED4-488F-A248-1C8D646F8BE0}"/>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433" name="Gelijkbenige driehoek 432">
                      <a:extLst>
                        <a:ext uri="{FF2B5EF4-FFF2-40B4-BE49-F238E27FC236}">
                          <a16:creationId xmlns:a16="http://schemas.microsoft.com/office/drawing/2014/main" id="{E77F4152-4F2E-40E6-AD49-D1C169ABE1F6}"/>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grpSp>
      </p:grpSp>
      <p:grpSp>
        <p:nvGrpSpPr>
          <p:cNvPr id="451" name="Instructie">
            <a:extLst>
              <a:ext uri="{FF2B5EF4-FFF2-40B4-BE49-F238E27FC236}">
                <a16:creationId xmlns:a16="http://schemas.microsoft.com/office/drawing/2014/main" id="{BC046C7C-31B8-4FEE-A41E-023753FA2270}"/>
              </a:ext>
            </a:extLst>
          </p:cNvPr>
          <p:cNvGrpSpPr/>
          <p:nvPr userDrawn="1"/>
        </p:nvGrpSpPr>
        <p:grpSpPr>
          <a:xfrm>
            <a:off x="12391602" y="2"/>
            <a:ext cx="3183677" cy="2499789"/>
            <a:chOff x="12391601" y="0"/>
            <a:chExt cx="3183677" cy="2499789"/>
          </a:xfrm>
        </p:grpSpPr>
        <p:sp>
          <p:nvSpPr>
            <p:cNvPr id="452" name="Rechthoek 451">
              <a:extLst>
                <a:ext uri="{FF2B5EF4-FFF2-40B4-BE49-F238E27FC236}">
                  <a16:creationId xmlns:a16="http://schemas.microsoft.com/office/drawing/2014/main" id="{88A8DADE-A810-4550-93AF-36D79BC56B2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453" name="Ovaal 452">
              <a:extLst>
                <a:ext uri="{FF2B5EF4-FFF2-40B4-BE49-F238E27FC236}">
                  <a16:creationId xmlns:a16="http://schemas.microsoft.com/office/drawing/2014/main" id="{B27BE511-1FB7-4C24-8DE6-4914260A3427}"/>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54" name="Rechte verbindingslijn 453">
              <a:extLst>
                <a:ext uri="{FF2B5EF4-FFF2-40B4-BE49-F238E27FC236}">
                  <a16:creationId xmlns:a16="http://schemas.microsoft.com/office/drawing/2014/main" id="{3F0F176E-B8B4-4D57-89EE-A3AB7AFC41C9}"/>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55" name="Rechte verbindingslijn 454">
              <a:extLst>
                <a:ext uri="{FF2B5EF4-FFF2-40B4-BE49-F238E27FC236}">
                  <a16:creationId xmlns:a16="http://schemas.microsoft.com/office/drawing/2014/main" id="{191079B8-F2A5-4A42-ACF1-A58D43A9F95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56" name="Rechthoek 455">
              <a:extLst>
                <a:ext uri="{FF2B5EF4-FFF2-40B4-BE49-F238E27FC236}">
                  <a16:creationId xmlns:a16="http://schemas.microsoft.com/office/drawing/2014/main" id="{81EF7655-386B-4303-BB38-B453138B714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57" name="Ovaal 456">
              <a:extLst>
                <a:ext uri="{FF2B5EF4-FFF2-40B4-BE49-F238E27FC236}">
                  <a16:creationId xmlns:a16="http://schemas.microsoft.com/office/drawing/2014/main" id="{ABCBA678-FEA7-4A43-A4AF-065E86B90E3F}"/>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58" name="Rechthoek 457">
              <a:extLst>
                <a:ext uri="{FF2B5EF4-FFF2-40B4-BE49-F238E27FC236}">
                  <a16:creationId xmlns:a16="http://schemas.microsoft.com/office/drawing/2014/main" id="{D32C15D3-3993-45E3-B75E-6250AB0CFC4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59" name="Groep 458">
              <a:extLst>
                <a:ext uri="{FF2B5EF4-FFF2-40B4-BE49-F238E27FC236}">
                  <a16:creationId xmlns:a16="http://schemas.microsoft.com/office/drawing/2014/main" id="{314A65FB-B8B4-451D-BDF6-0C96844627AF}"/>
                </a:ext>
              </a:extLst>
            </p:cNvPr>
            <p:cNvGrpSpPr/>
            <p:nvPr userDrawn="1"/>
          </p:nvGrpSpPr>
          <p:grpSpPr>
            <a:xfrm>
              <a:off x="12757282" y="2184550"/>
              <a:ext cx="825500" cy="209550"/>
              <a:chOff x="13504624" y="2482850"/>
              <a:chExt cx="825500" cy="209550"/>
            </a:xfrm>
          </p:grpSpPr>
          <p:sp>
            <p:nvSpPr>
              <p:cNvPr id="465" name="Rechthoek 464">
                <a:extLst>
                  <a:ext uri="{FF2B5EF4-FFF2-40B4-BE49-F238E27FC236}">
                    <a16:creationId xmlns:a16="http://schemas.microsoft.com/office/drawing/2014/main" id="{15FEBF33-08AB-46E8-A8D0-DB42B9B9D65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466" name="Rechte verbindingslijn 465">
                <a:extLst>
                  <a:ext uri="{FF2B5EF4-FFF2-40B4-BE49-F238E27FC236}">
                    <a16:creationId xmlns:a16="http://schemas.microsoft.com/office/drawing/2014/main" id="{46989E4A-34C5-4761-8A15-C29103EA52C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67" name="Gelijkbenige driehoek 466">
                <a:extLst>
                  <a:ext uri="{FF2B5EF4-FFF2-40B4-BE49-F238E27FC236}">
                    <a16:creationId xmlns:a16="http://schemas.microsoft.com/office/drawing/2014/main" id="{29FA1127-EED4-4CBE-AB6D-7D480680ADE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460" name="Rechte verbindingslijn 459">
              <a:extLst>
                <a:ext uri="{FF2B5EF4-FFF2-40B4-BE49-F238E27FC236}">
                  <a16:creationId xmlns:a16="http://schemas.microsoft.com/office/drawing/2014/main" id="{173879B3-3666-4C72-B73F-020661EAC019}"/>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461" name="Groep 460">
              <a:extLst>
                <a:ext uri="{FF2B5EF4-FFF2-40B4-BE49-F238E27FC236}">
                  <a16:creationId xmlns:a16="http://schemas.microsoft.com/office/drawing/2014/main" id="{8A7A1436-7957-402D-ACAE-0604B5DBE950}"/>
                </a:ext>
              </a:extLst>
            </p:cNvPr>
            <p:cNvGrpSpPr/>
            <p:nvPr userDrawn="1"/>
          </p:nvGrpSpPr>
          <p:grpSpPr>
            <a:xfrm>
              <a:off x="12751697" y="1147804"/>
              <a:ext cx="289372" cy="314992"/>
              <a:chOff x="7322769" y="-310267"/>
              <a:chExt cx="289372" cy="314992"/>
            </a:xfrm>
          </p:grpSpPr>
          <p:sp>
            <p:nvSpPr>
              <p:cNvPr id="462" name="Rechthoek 461">
                <a:extLst>
                  <a:ext uri="{FF2B5EF4-FFF2-40B4-BE49-F238E27FC236}">
                    <a16:creationId xmlns:a16="http://schemas.microsoft.com/office/drawing/2014/main" id="{774F00CE-9B97-4939-BBDC-BAEDEED5ED74}"/>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463" name="Rechthoek 462">
                <a:extLst>
                  <a:ext uri="{FF2B5EF4-FFF2-40B4-BE49-F238E27FC236}">
                    <a16:creationId xmlns:a16="http://schemas.microsoft.com/office/drawing/2014/main" id="{BA671A83-F98F-4E30-B11C-E763BC6BD9DD}"/>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464" name="Rechthoek 463">
                <a:extLst>
                  <a:ext uri="{FF2B5EF4-FFF2-40B4-BE49-F238E27FC236}">
                    <a16:creationId xmlns:a16="http://schemas.microsoft.com/office/drawing/2014/main" id="{0AB2CF06-AA30-459B-A75A-39CDFC167E78}"/>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1941293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KST / GRAFIEK 4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3934476"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51AC97E8-488A-4588-9508-E571E0952287}"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GRAFIEK 4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8783619" y="1459111"/>
            <a:ext cx="2868127"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5015238"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8783618" y="3698999"/>
            <a:ext cx="2868128"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6" name="Tijdelijke aanduiding voor grafiek 17">
            <a:extLst>
              <a:ext uri="{FF2B5EF4-FFF2-40B4-BE49-F238E27FC236}">
                <a16:creationId xmlns:a16="http://schemas.microsoft.com/office/drawing/2014/main" id="{6424E38A-BE64-4611-8EA6-56DEDA6F1288}"/>
              </a:ext>
            </a:extLst>
          </p:cNvPr>
          <p:cNvSpPr>
            <a:spLocks noGrp="1"/>
          </p:cNvSpPr>
          <p:nvPr>
            <p:ph type="chart" sz="quarter" idx="18" hasCustomPrompt="1"/>
          </p:nvPr>
        </p:nvSpPr>
        <p:spPr>
          <a:xfrm>
            <a:off x="5555364" y="1459111"/>
            <a:ext cx="2868127"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7" name="Tijdelijke aanduiding voor grafiek 17">
            <a:extLst>
              <a:ext uri="{FF2B5EF4-FFF2-40B4-BE49-F238E27FC236}">
                <a16:creationId xmlns:a16="http://schemas.microsoft.com/office/drawing/2014/main" id="{B1695F49-FFC5-4D3F-8068-C37855441895}"/>
              </a:ext>
            </a:extLst>
          </p:cNvPr>
          <p:cNvSpPr>
            <a:spLocks noGrp="1"/>
          </p:cNvSpPr>
          <p:nvPr>
            <p:ph type="chart" sz="quarter" idx="19" hasCustomPrompt="1"/>
          </p:nvPr>
        </p:nvSpPr>
        <p:spPr>
          <a:xfrm>
            <a:off x="5555365" y="3698999"/>
            <a:ext cx="2868128"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336" name="Instructie">
            <a:extLst>
              <a:ext uri="{FF2B5EF4-FFF2-40B4-BE49-F238E27FC236}">
                <a16:creationId xmlns:a16="http://schemas.microsoft.com/office/drawing/2014/main" id="{16A96383-DC68-4172-9156-75D946CEAE01}"/>
              </a:ext>
            </a:extLst>
          </p:cNvPr>
          <p:cNvGrpSpPr/>
          <p:nvPr userDrawn="1"/>
        </p:nvGrpSpPr>
        <p:grpSpPr>
          <a:xfrm>
            <a:off x="-3437546" y="1436"/>
            <a:ext cx="3201327" cy="6041867"/>
            <a:chOff x="-3437547" y="1434"/>
            <a:chExt cx="3201327" cy="6041867"/>
          </a:xfrm>
        </p:grpSpPr>
        <p:cxnSp>
          <p:nvCxnSpPr>
            <p:cNvPr id="337" name="Rechte verbindingslijn 336">
              <a:extLst>
                <a:ext uri="{FF2B5EF4-FFF2-40B4-BE49-F238E27FC236}">
                  <a16:creationId xmlns:a16="http://schemas.microsoft.com/office/drawing/2014/main" id="{D914C368-F0B0-49EA-81E0-5AA28D2CE78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38" name="Ovaal 337">
              <a:extLst>
                <a:ext uri="{FF2B5EF4-FFF2-40B4-BE49-F238E27FC236}">
                  <a16:creationId xmlns:a16="http://schemas.microsoft.com/office/drawing/2014/main" id="{294A51A8-FCB9-4D58-AFD9-4C60B20A4712}"/>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39" name="Rechthoek 338">
              <a:extLst>
                <a:ext uri="{FF2B5EF4-FFF2-40B4-BE49-F238E27FC236}">
                  <a16:creationId xmlns:a16="http://schemas.microsoft.com/office/drawing/2014/main" id="{61DCC149-1401-40E4-B933-907473D83C54}"/>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0" name="Ovaal 339">
              <a:extLst>
                <a:ext uri="{FF2B5EF4-FFF2-40B4-BE49-F238E27FC236}">
                  <a16:creationId xmlns:a16="http://schemas.microsoft.com/office/drawing/2014/main" id="{A1670098-663D-48C6-AE64-003CAFD78911}"/>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41" name="Rechthoek 340">
              <a:extLst>
                <a:ext uri="{FF2B5EF4-FFF2-40B4-BE49-F238E27FC236}">
                  <a16:creationId xmlns:a16="http://schemas.microsoft.com/office/drawing/2014/main" id="{BF6ADE96-9F31-43E4-9AD2-F373286DFAC7}"/>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2" name="Ovaal 341">
              <a:extLst>
                <a:ext uri="{FF2B5EF4-FFF2-40B4-BE49-F238E27FC236}">
                  <a16:creationId xmlns:a16="http://schemas.microsoft.com/office/drawing/2014/main" id="{25D66413-085D-4437-94C7-4BE0A49A1700}"/>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43" name="Rechthoek 342">
              <a:extLst>
                <a:ext uri="{FF2B5EF4-FFF2-40B4-BE49-F238E27FC236}">
                  <a16:creationId xmlns:a16="http://schemas.microsoft.com/office/drawing/2014/main" id="{65ECA6F3-2D3E-41B6-8DF0-729F1C6458C2}"/>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44" name="Ovaal 343">
              <a:extLst>
                <a:ext uri="{FF2B5EF4-FFF2-40B4-BE49-F238E27FC236}">
                  <a16:creationId xmlns:a16="http://schemas.microsoft.com/office/drawing/2014/main" id="{216592D6-E297-4E18-A84E-C7ED2FCB7EA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45" name="Rechthoek 344">
              <a:extLst>
                <a:ext uri="{FF2B5EF4-FFF2-40B4-BE49-F238E27FC236}">
                  <a16:creationId xmlns:a16="http://schemas.microsoft.com/office/drawing/2014/main" id="{D4B41125-8E97-48C4-80E3-C23173CF5151}"/>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346" name="Rechthoek 345">
              <a:extLst>
                <a:ext uri="{FF2B5EF4-FFF2-40B4-BE49-F238E27FC236}">
                  <a16:creationId xmlns:a16="http://schemas.microsoft.com/office/drawing/2014/main" id="{6BD4A618-3B69-49E5-935B-C7349FB3D80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47" name="Ovaal 346">
              <a:extLst>
                <a:ext uri="{FF2B5EF4-FFF2-40B4-BE49-F238E27FC236}">
                  <a16:creationId xmlns:a16="http://schemas.microsoft.com/office/drawing/2014/main" id="{5582D676-081C-4126-B7BA-EE2245E3F696}"/>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48" name="Rechte verbindingslijn 347">
              <a:extLst>
                <a:ext uri="{FF2B5EF4-FFF2-40B4-BE49-F238E27FC236}">
                  <a16:creationId xmlns:a16="http://schemas.microsoft.com/office/drawing/2014/main" id="{FC0F5ABF-7F2C-434B-B409-E0114E3F604F}"/>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49" name="Groep 348">
              <a:extLst>
                <a:ext uri="{FF2B5EF4-FFF2-40B4-BE49-F238E27FC236}">
                  <a16:creationId xmlns:a16="http://schemas.microsoft.com/office/drawing/2014/main" id="{E9BCC753-7402-406F-B3DE-D10BFD5CD9CF}"/>
                </a:ext>
              </a:extLst>
            </p:cNvPr>
            <p:cNvGrpSpPr/>
            <p:nvPr userDrawn="1"/>
          </p:nvGrpSpPr>
          <p:grpSpPr>
            <a:xfrm>
              <a:off x="-3437547" y="1295337"/>
              <a:ext cx="2933825" cy="558875"/>
              <a:chOff x="-3419346" y="368233"/>
              <a:chExt cx="3904920" cy="743862"/>
            </a:xfrm>
          </p:grpSpPr>
          <p:sp>
            <p:nvSpPr>
              <p:cNvPr id="366" name="Rechthoek 365">
                <a:extLst>
                  <a:ext uri="{FF2B5EF4-FFF2-40B4-BE49-F238E27FC236}">
                    <a16:creationId xmlns:a16="http://schemas.microsoft.com/office/drawing/2014/main" id="{0E7539B0-375A-44FA-B2A1-4821444D41F5}"/>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67" name="Rechte verbindingslijn 366">
                <a:extLst>
                  <a:ext uri="{FF2B5EF4-FFF2-40B4-BE49-F238E27FC236}">
                    <a16:creationId xmlns:a16="http://schemas.microsoft.com/office/drawing/2014/main" id="{DA071609-D1C9-4EA6-8F8D-6768826CABE1}"/>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8" name="Rechte verbindingslijn 367">
                <a:extLst>
                  <a:ext uri="{FF2B5EF4-FFF2-40B4-BE49-F238E27FC236}">
                    <a16:creationId xmlns:a16="http://schemas.microsoft.com/office/drawing/2014/main" id="{573BD12E-8C37-4E5C-AAF3-86C31347180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9" name="Rechthoek 368">
                <a:extLst>
                  <a:ext uri="{FF2B5EF4-FFF2-40B4-BE49-F238E27FC236}">
                    <a16:creationId xmlns:a16="http://schemas.microsoft.com/office/drawing/2014/main" id="{D6F2DEF3-3969-4318-9D83-A66B76E30D07}"/>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70" name="Groep 369">
                <a:extLst>
                  <a:ext uri="{FF2B5EF4-FFF2-40B4-BE49-F238E27FC236}">
                    <a16:creationId xmlns:a16="http://schemas.microsoft.com/office/drawing/2014/main" id="{34A7A97E-60AB-4446-8EF2-9BB9D66CF672}"/>
                  </a:ext>
                </a:extLst>
              </p:cNvPr>
              <p:cNvGrpSpPr/>
              <p:nvPr userDrawn="1"/>
            </p:nvGrpSpPr>
            <p:grpSpPr>
              <a:xfrm>
                <a:off x="-3002834" y="720303"/>
                <a:ext cx="182598" cy="143759"/>
                <a:chOff x="-3310843" y="700986"/>
                <a:chExt cx="182598" cy="143759"/>
              </a:xfrm>
            </p:grpSpPr>
            <p:grpSp>
              <p:nvGrpSpPr>
                <p:cNvPr id="409" name="Groep 408">
                  <a:extLst>
                    <a:ext uri="{FF2B5EF4-FFF2-40B4-BE49-F238E27FC236}">
                      <a16:creationId xmlns:a16="http://schemas.microsoft.com/office/drawing/2014/main" id="{B7A53B7D-9488-4BAA-9456-41377E8BAFC2}"/>
                    </a:ext>
                  </a:extLst>
                </p:cNvPr>
                <p:cNvGrpSpPr/>
                <p:nvPr userDrawn="1"/>
              </p:nvGrpSpPr>
              <p:grpSpPr>
                <a:xfrm>
                  <a:off x="-3310843" y="700986"/>
                  <a:ext cx="182598" cy="143759"/>
                  <a:chOff x="-3310843" y="700986"/>
                  <a:chExt cx="182598" cy="143759"/>
                </a:xfrm>
              </p:grpSpPr>
              <p:cxnSp>
                <p:nvCxnSpPr>
                  <p:cNvPr id="413" name="Rechte verbindingslijn 412">
                    <a:extLst>
                      <a:ext uri="{FF2B5EF4-FFF2-40B4-BE49-F238E27FC236}">
                        <a16:creationId xmlns:a16="http://schemas.microsoft.com/office/drawing/2014/main" id="{B68F2C77-09A6-4AF5-8EE3-4F28AF2288D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79854795-8185-440B-BED5-3380455F8C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15" name="Rechte verbindingslijn 414">
                    <a:extLst>
                      <a:ext uri="{FF2B5EF4-FFF2-40B4-BE49-F238E27FC236}">
                        <a16:creationId xmlns:a16="http://schemas.microsoft.com/office/drawing/2014/main" id="{E16B3AD6-B7E1-4B5A-81E9-56AD4FF7B630}"/>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16" name="Rechte verbindingslijn 415">
                    <a:extLst>
                      <a:ext uri="{FF2B5EF4-FFF2-40B4-BE49-F238E27FC236}">
                        <a16:creationId xmlns:a16="http://schemas.microsoft.com/office/drawing/2014/main" id="{80068488-20BF-4588-BEC6-12EABA70AA9A}"/>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17" name="Rechte verbindingslijn 416">
                    <a:extLst>
                      <a:ext uri="{FF2B5EF4-FFF2-40B4-BE49-F238E27FC236}">
                        <a16:creationId xmlns:a16="http://schemas.microsoft.com/office/drawing/2014/main" id="{A8833265-ADD9-4123-9712-6B5EB8CAC490}"/>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0" name="Groep 409">
                  <a:extLst>
                    <a:ext uri="{FF2B5EF4-FFF2-40B4-BE49-F238E27FC236}">
                      <a16:creationId xmlns:a16="http://schemas.microsoft.com/office/drawing/2014/main" id="{D51E6BEB-00B5-4905-A761-18BAE36B6D5B}"/>
                    </a:ext>
                  </a:extLst>
                </p:cNvPr>
                <p:cNvGrpSpPr/>
                <p:nvPr userDrawn="1"/>
              </p:nvGrpSpPr>
              <p:grpSpPr>
                <a:xfrm flipH="1">
                  <a:off x="-3310774" y="735854"/>
                  <a:ext cx="88801" cy="72568"/>
                  <a:chOff x="-2091059" y="1395403"/>
                  <a:chExt cx="157316" cy="128558"/>
                </a:xfrm>
              </p:grpSpPr>
              <p:sp>
                <p:nvSpPr>
                  <p:cNvPr id="411" name="Rechthoek 410">
                    <a:extLst>
                      <a:ext uri="{FF2B5EF4-FFF2-40B4-BE49-F238E27FC236}">
                        <a16:creationId xmlns:a16="http://schemas.microsoft.com/office/drawing/2014/main" id="{58E164DE-6302-4AA5-BE32-B3C742F4E98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12" name="Pijl: punthaak 411">
                    <a:extLst>
                      <a:ext uri="{FF2B5EF4-FFF2-40B4-BE49-F238E27FC236}">
                        <a16:creationId xmlns:a16="http://schemas.microsoft.com/office/drawing/2014/main" id="{D20187E4-19F8-405A-8BCA-F5EF6B185A6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71" name="Groep 370">
                <a:extLst>
                  <a:ext uri="{FF2B5EF4-FFF2-40B4-BE49-F238E27FC236}">
                    <a16:creationId xmlns:a16="http://schemas.microsoft.com/office/drawing/2014/main" id="{B768B237-2F57-4956-BCC0-F0479EE0FF81}"/>
                  </a:ext>
                </a:extLst>
              </p:cNvPr>
              <p:cNvGrpSpPr/>
              <p:nvPr userDrawn="1"/>
            </p:nvGrpSpPr>
            <p:grpSpPr>
              <a:xfrm>
                <a:off x="-3326107" y="720303"/>
                <a:ext cx="182598" cy="143759"/>
                <a:chOff x="-3634116" y="700986"/>
                <a:chExt cx="182598" cy="143759"/>
              </a:xfrm>
            </p:grpSpPr>
            <p:grpSp>
              <p:nvGrpSpPr>
                <p:cNvPr id="400" name="Groep 399">
                  <a:extLst>
                    <a:ext uri="{FF2B5EF4-FFF2-40B4-BE49-F238E27FC236}">
                      <a16:creationId xmlns:a16="http://schemas.microsoft.com/office/drawing/2014/main" id="{1FFC6CCB-F049-4D83-9B18-5D03ADD486EA}"/>
                    </a:ext>
                  </a:extLst>
                </p:cNvPr>
                <p:cNvGrpSpPr/>
                <p:nvPr userDrawn="1"/>
              </p:nvGrpSpPr>
              <p:grpSpPr>
                <a:xfrm>
                  <a:off x="-3634116" y="700986"/>
                  <a:ext cx="182598" cy="143759"/>
                  <a:chOff x="-3634116" y="700986"/>
                  <a:chExt cx="182598" cy="143759"/>
                </a:xfrm>
              </p:grpSpPr>
              <p:cxnSp>
                <p:nvCxnSpPr>
                  <p:cNvPr id="404" name="Rechte verbindingslijn 403">
                    <a:extLst>
                      <a:ext uri="{FF2B5EF4-FFF2-40B4-BE49-F238E27FC236}">
                        <a16:creationId xmlns:a16="http://schemas.microsoft.com/office/drawing/2014/main" id="{7C56F563-1C9F-46BF-ACB0-0F066879D23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C2C94E0B-98F3-40B1-93EF-F71D4E467B7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06" name="Rechte verbindingslijn 405">
                    <a:extLst>
                      <a:ext uri="{FF2B5EF4-FFF2-40B4-BE49-F238E27FC236}">
                        <a16:creationId xmlns:a16="http://schemas.microsoft.com/office/drawing/2014/main" id="{F5C8262B-5764-49B0-BDCF-7F0E7B4C8FA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07" name="Rechte verbindingslijn 406">
                    <a:extLst>
                      <a:ext uri="{FF2B5EF4-FFF2-40B4-BE49-F238E27FC236}">
                        <a16:creationId xmlns:a16="http://schemas.microsoft.com/office/drawing/2014/main" id="{E2FC3CE4-E29E-4879-BF27-8503729D180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08" name="Rechte verbindingslijn 407">
                    <a:extLst>
                      <a:ext uri="{FF2B5EF4-FFF2-40B4-BE49-F238E27FC236}">
                        <a16:creationId xmlns:a16="http://schemas.microsoft.com/office/drawing/2014/main" id="{89EA9446-8832-4267-B56B-62603D2FD1B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1" name="Groep 400">
                  <a:extLst>
                    <a:ext uri="{FF2B5EF4-FFF2-40B4-BE49-F238E27FC236}">
                      <a16:creationId xmlns:a16="http://schemas.microsoft.com/office/drawing/2014/main" id="{0F64CAB7-DEA1-48BF-85D8-563D8F601F16}"/>
                    </a:ext>
                  </a:extLst>
                </p:cNvPr>
                <p:cNvGrpSpPr/>
                <p:nvPr userDrawn="1"/>
              </p:nvGrpSpPr>
              <p:grpSpPr>
                <a:xfrm>
                  <a:off x="-3634047" y="735854"/>
                  <a:ext cx="88801" cy="72568"/>
                  <a:chOff x="-2091059" y="1395403"/>
                  <a:chExt cx="157316" cy="128558"/>
                </a:xfrm>
              </p:grpSpPr>
              <p:sp>
                <p:nvSpPr>
                  <p:cNvPr id="402" name="Rechthoek 401">
                    <a:extLst>
                      <a:ext uri="{FF2B5EF4-FFF2-40B4-BE49-F238E27FC236}">
                        <a16:creationId xmlns:a16="http://schemas.microsoft.com/office/drawing/2014/main" id="{10D89501-6520-42D1-8F88-1706762C7A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03" name="Pijl: punthaak 402">
                    <a:extLst>
                      <a:ext uri="{FF2B5EF4-FFF2-40B4-BE49-F238E27FC236}">
                        <a16:creationId xmlns:a16="http://schemas.microsoft.com/office/drawing/2014/main" id="{900F6582-3643-4F45-9C8A-AA2328BE471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72" name="Rechte verbindingslijn 371">
                <a:extLst>
                  <a:ext uri="{FF2B5EF4-FFF2-40B4-BE49-F238E27FC236}">
                    <a16:creationId xmlns:a16="http://schemas.microsoft.com/office/drawing/2014/main" id="{0F7DF97A-D52C-4A51-B424-3D4A6CD0A53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73" name="Rechte verbindingslijn 372">
                <a:extLst>
                  <a:ext uri="{FF2B5EF4-FFF2-40B4-BE49-F238E27FC236}">
                    <a16:creationId xmlns:a16="http://schemas.microsoft.com/office/drawing/2014/main" id="{51555DE2-4F46-47C1-AA6C-D4E09AF40751}"/>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74" name="Groep 373">
                <a:extLst>
                  <a:ext uri="{FF2B5EF4-FFF2-40B4-BE49-F238E27FC236}">
                    <a16:creationId xmlns:a16="http://schemas.microsoft.com/office/drawing/2014/main" id="{A58094CB-7A76-4D73-AC4E-F788A15B3842}"/>
                  </a:ext>
                </a:extLst>
              </p:cNvPr>
              <p:cNvGrpSpPr/>
              <p:nvPr userDrawn="1"/>
            </p:nvGrpSpPr>
            <p:grpSpPr>
              <a:xfrm>
                <a:off x="-2425037" y="370226"/>
                <a:ext cx="357690" cy="330595"/>
                <a:chOff x="-2721817" y="347336"/>
                <a:chExt cx="432805" cy="400021"/>
              </a:xfrm>
            </p:grpSpPr>
            <p:sp>
              <p:nvSpPr>
                <p:cNvPr id="389" name="Rechthoek 388">
                  <a:extLst>
                    <a:ext uri="{FF2B5EF4-FFF2-40B4-BE49-F238E27FC236}">
                      <a16:creationId xmlns:a16="http://schemas.microsoft.com/office/drawing/2014/main" id="{E247AC15-AAF9-480C-82A4-3A0F23351F74}"/>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90" name="Groep 389">
                  <a:extLst>
                    <a:ext uri="{FF2B5EF4-FFF2-40B4-BE49-F238E27FC236}">
                      <a16:creationId xmlns:a16="http://schemas.microsoft.com/office/drawing/2014/main" id="{228EA585-F247-45FC-95A5-92E6A7FA561C}"/>
                    </a:ext>
                  </a:extLst>
                </p:cNvPr>
                <p:cNvGrpSpPr/>
                <p:nvPr userDrawn="1"/>
              </p:nvGrpSpPr>
              <p:grpSpPr>
                <a:xfrm>
                  <a:off x="-2652453" y="431583"/>
                  <a:ext cx="294076" cy="231526"/>
                  <a:chOff x="-3634116" y="700986"/>
                  <a:chExt cx="182598" cy="143759"/>
                </a:xfrm>
              </p:grpSpPr>
              <p:grpSp>
                <p:nvGrpSpPr>
                  <p:cNvPr id="391" name="Groep 390">
                    <a:extLst>
                      <a:ext uri="{FF2B5EF4-FFF2-40B4-BE49-F238E27FC236}">
                        <a16:creationId xmlns:a16="http://schemas.microsoft.com/office/drawing/2014/main" id="{4E705065-FAB4-4AB7-8BFA-77B69E988CE4}"/>
                      </a:ext>
                    </a:extLst>
                  </p:cNvPr>
                  <p:cNvGrpSpPr/>
                  <p:nvPr userDrawn="1"/>
                </p:nvGrpSpPr>
                <p:grpSpPr>
                  <a:xfrm>
                    <a:off x="-3634116" y="700986"/>
                    <a:ext cx="182598" cy="143759"/>
                    <a:chOff x="-3634116" y="700986"/>
                    <a:chExt cx="182598" cy="143759"/>
                  </a:xfrm>
                </p:grpSpPr>
                <p:cxnSp>
                  <p:nvCxnSpPr>
                    <p:cNvPr id="395" name="Rechte verbindingslijn 394">
                      <a:extLst>
                        <a:ext uri="{FF2B5EF4-FFF2-40B4-BE49-F238E27FC236}">
                          <a16:creationId xmlns:a16="http://schemas.microsoft.com/office/drawing/2014/main" id="{428098CF-F1FB-4BDF-9455-FCA151B43DC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96" name="Rechte verbindingslijn 395">
                      <a:extLst>
                        <a:ext uri="{FF2B5EF4-FFF2-40B4-BE49-F238E27FC236}">
                          <a16:creationId xmlns:a16="http://schemas.microsoft.com/office/drawing/2014/main" id="{998A8B9E-2DCB-4D76-BB71-F3468B63B73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97" name="Rechte verbindingslijn 396">
                      <a:extLst>
                        <a:ext uri="{FF2B5EF4-FFF2-40B4-BE49-F238E27FC236}">
                          <a16:creationId xmlns:a16="http://schemas.microsoft.com/office/drawing/2014/main" id="{BCEA6EAB-FAFC-45E7-9102-E62B95EC440E}"/>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98" name="Rechte verbindingslijn 397">
                      <a:extLst>
                        <a:ext uri="{FF2B5EF4-FFF2-40B4-BE49-F238E27FC236}">
                          <a16:creationId xmlns:a16="http://schemas.microsoft.com/office/drawing/2014/main" id="{22B1DC6D-F887-4A73-AFAE-B434A3C8F0C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99" name="Rechte verbindingslijn 398">
                      <a:extLst>
                        <a:ext uri="{FF2B5EF4-FFF2-40B4-BE49-F238E27FC236}">
                          <a16:creationId xmlns:a16="http://schemas.microsoft.com/office/drawing/2014/main" id="{5B7CFCCA-649C-4DEC-B648-3EFC12E40D0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2" name="Groep 391">
                    <a:extLst>
                      <a:ext uri="{FF2B5EF4-FFF2-40B4-BE49-F238E27FC236}">
                        <a16:creationId xmlns:a16="http://schemas.microsoft.com/office/drawing/2014/main" id="{2BD86F3A-3B2C-47A4-BBD6-C315D7217A8A}"/>
                      </a:ext>
                    </a:extLst>
                  </p:cNvPr>
                  <p:cNvGrpSpPr/>
                  <p:nvPr userDrawn="1"/>
                </p:nvGrpSpPr>
                <p:grpSpPr>
                  <a:xfrm>
                    <a:off x="-3634047" y="735854"/>
                    <a:ext cx="88801" cy="72568"/>
                    <a:chOff x="-2091059" y="1395403"/>
                    <a:chExt cx="157316" cy="128558"/>
                  </a:xfrm>
                </p:grpSpPr>
                <p:sp>
                  <p:nvSpPr>
                    <p:cNvPr id="393" name="Rechthoek 392">
                      <a:extLst>
                        <a:ext uri="{FF2B5EF4-FFF2-40B4-BE49-F238E27FC236}">
                          <a16:creationId xmlns:a16="http://schemas.microsoft.com/office/drawing/2014/main" id="{C85640E6-1A89-41BE-89D1-34CDD6568D9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4" name="Pijl: punthaak 393">
                      <a:extLst>
                        <a:ext uri="{FF2B5EF4-FFF2-40B4-BE49-F238E27FC236}">
                          <a16:creationId xmlns:a16="http://schemas.microsoft.com/office/drawing/2014/main" id="{E5853564-B4F6-47C5-B1A9-7FBC9D0D143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75" name="Groep 374">
                <a:extLst>
                  <a:ext uri="{FF2B5EF4-FFF2-40B4-BE49-F238E27FC236}">
                    <a16:creationId xmlns:a16="http://schemas.microsoft.com/office/drawing/2014/main" id="{4CC3B4B2-AFF3-4E6B-B491-D66CDE22BCCE}"/>
                  </a:ext>
                </a:extLst>
              </p:cNvPr>
              <p:cNvGrpSpPr/>
              <p:nvPr userDrawn="1"/>
            </p:nvGrpSpPr>
            <p:grpSpPr>
              <a:xfrm>
                <a:off x="-2425037" y="781500"/>
                <a:ext cx="357690" cy="330595"/>
                <a:chOff x="-2721817" y="782525"/>
                <a:chExt cx="432805" cy="400021"/>
              </a:xfrm>
            </p:grpSpPr>
            <p:sp>
              <p:nvSpPr>
                <p:cNvPr id="378" name="Rechthoek 377">
                  <a:extLst>
                    <a:ext uri="{FF2B5EF4-FFF2-40B4-BE49-F238E27FC236}">
                      <a16:creationId xmlns:a16="http://schemas.microsoft.com/office/drawing/2014/main" id="{E6009A5E-4EF8-492E-99A0-6D374798883D}"/>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9" name="Groep 378">
                  <a:extLst>
                    <a:ext uri="{FF2B5EF4-FFF2-40B4-BE49-F238E27FC236}">
                      <a16:creationId xmlns:a16="http://schemas.microsoft.com/office/drawing/2014/main" id="{94B1FEA9-84B9-47A5-BC46-7695EA4CA597}"/>
                    </a:ext>
                  </a:extLst>
                </p:cNvPr>
                <p:cNvGrpSpPr/>
                <p:nvPr userDrawn="1"/>
              </p:nvGrpSpPr>
              <p:grpSpPr>
                <a:xfrm>
                  <a:off x="-2652453" y="866772"/>
                  <a:ext cx="294076" cy="231526"/>
                  <a:chOff x="-3310843" y="700986"/>
                  <a:chExt cx="182598" cy="143759"/>
                </a:xfrm>
              </p:grpSpPr>
              <p:grpSp>
                <p:nvGrpSpPr>
                  <p:cNvPr id="380" name="Groep 379">
                    <a:extLst>
                      <a:ext uri="{FF2B5EF4-FFF2-40B4-BE49-F238E27FC236}">
                        <a16:creationId xmlns:a16="http://schemas.microsoft.com/office/drawing/2014/main" id="{1700946E-1ADE-47A1-BF3C-FECC159B97D9}"/>
                      </a:ext>
                    </a:extLst>
                  </p:cNvPr>
                  <p:cNvGrpSpPr/>
                  <p:nvPr userDrawn="1"/>
                </p:nvGrpSpPr>
                <p:grpSpPr>
                  <a:xfrm>
                    <a:off x="-3310843" y="700986"/>
                    <a:ext cx="182598" cy="143759"/>
                    <a:chOff x="-3310843" y="700986"/>
                    <a:chExt cx="182598" cy="143759"/>
                  </a:xfrm>
                </p:grpSpPr>
                <p:cxnSp>
                  <p:nvCxnSpPr>
                    <p:cNvPr id="384" name="Rechte verbindingslijn 383">
                      <a:extLst>
                        <a:ext uri="{FF2B5EF4-FFF2-40B4-BE49-F238E27FC236}">
                          <a16:creationId xmlns:a16="http://schemas.microsoft.com/office/drawing/2014/main" id="{5A926A82-776A-4792-B4E4-47E61FEFA0F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91CFD1B5-FD3A-49B7-A6FC-BB60512A59B4}"/>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86" name="Rechte verbindingslijn 385">
                      <a:extLst>
                        <a:ext uri="{FF2B5EF4-FFF2-40B4-BE49-F238E27FC236}">
                          <a16:creationId xmlns:a16="http://schemas.microsoft.com/office/drawing/2014/main" id="{40B90EED-E3BF-43CE-A4EE-F0807E7A88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87" name="Rechte verbindingslijn 386">
                      <a:extLst>
                        <a:ext uri="{FF2B5EF4-FFF2-40B4-BE49-F238E27FC236}">
                          <a16:creationId xmlns:a16="http://schemas.microsoft.com/office/drawing/2014/main" id="{FB63F635-4B3D-4B18-95DB-4B04F7660D71}"/>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88" name="Rechte verbindingslijn 387">
                      <a:extLst>
                        <a:ext uri="{FF2B5EF4-FFF2-40B4-BE49-F238E27FC236}">
                          <a16:creationId xmlns:a16="http://schemas.microsoft.com/office/drawing/2014/main" id="{894CCA3C-F622-449E-8F0F-FE43F172A925}"/>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1" name="Groep 380">
                    <a:extLst>
                      <a:ext uri="{FF2B5EF4-FFF2-40B4-BE49-F238E27FC236}">
                        <a16:creationId xmlns:a16="http://schemas.microsoft.com/office/drawing/2014/main" id="{F3F9344C-08F6-4264-B5F4-98D6A6618188}"/>
                      </a:ext>
                    </a:extLst>
                  </p:cNvPr>
                  <p:cNvGrpSpPr/>
                  <p:nvPr userDrawn="1"/>
                </p:nvGrpSpPr>
                <p:grpSpPr>
                  <a:xfrm flipH="1">
                    <a:off x="-3310774" y="735854"/>
                    <a:ext cx="88801" cy="72568"/>
                    <a:chOff x="-2091059" y="1395403"/>
                    <a:chExt cx="157316" cy="128558"/>
                  </a:xfrm>
                </p:grpSpPr>
                <p:sp>
                  <p:nvSpPr>
                    <p:cNvPr id="382" name="Rechthoek 381">
                      <a:extLst>
                        <a:ext uri="{FF2B5EF4-FFF2-40B4-BE49-F238E27FC236}">
                          <a16:creationId xmlns:a16="http://schemas.microsoft.com/office/drawing/2014/main" id="{3A9ABC65-99E3-4FB2-B60F-31491F1F848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3" name="Pijl: punthaak 382">
                      <a:extLst>
                        <a:ext uri="{FF2B5EF4-FFF2-40B4-BE49-F238E27FC236}">
                          <a16:creationId xmlns:a16="http://schemas.microsoft.com/office/drawing/2014/main" id="{23763DD8-0474-41CD-8840-26BDC7BEC28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76" name="Rechthoek 375">
                <a:extLst>
                  <a:ext uri="{FF2B5EF4-FFF2-40B4-BE49-F238E27FC236}">
                    <a16:creationId xmlns:a16="http://schemas.microsoft.com/office/drawing/2014/main" id="{ED4D8E48-222D-48AC-A857-C919C514F40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77" name="Rechthoek 376">
                <a:extLst>
                  <a:ext uri="{FF2B5EF4-FFF2-40B4-BE49-F238E27FC236}">
                    <a16:creationId xmlns:a16="http://schemas.microsoft.com/office/drawing/2014/main" id="{65FA8342-ABE9-4BFF-A5ED-98714AEA485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50" name="Rechte verbindingslijn 349">
              <a:extLst>
                <a:ext uri="{FF2B5EF4-FFF2-40B4-BE49-F238E27FC236}">
                  <a16:creationId xmlns:a16="http://schemas.microsoft.com/office/drawing/2014/main" id="{0494C068-BFC1-485C-95A0-F6CD67F80184}"/>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51" name="Rechthoek 350">
              <a:extLst>
                <a:ext uri="{FF2B5EF4-FFF2-40B4-BE49-F238E27FC236}">
                  <a16:creationId xmlns:a16="http://schemas.microsoft.com/office/drawing/2014/main" id="{DE2A93DF-55BB-46DB-98DC-A34F6E9F9DAF}"/>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52" name="Ovaal 351">
              <a:extLst>
                <a:ext uri="{FF2B5EF4-FFF2-40B4-BE49-F238E27FC236}">
                  <a16:creationId xmlns:a16="http://schemas.microsoft.com/office/drawing/2014/main" id="{E45EC9A1-44AF-4B03-8304-420060E80451}"/>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3" name="Rechthoek 352">
              <a:extLst>
                <a:ext uri="{FF2B5EF4-FFF2-40B4-BE49-F238E27FC236}">
                  <a16:creationId xmlns:a16="http://schemas.microsoft.com/office/drawing/2014/main" id="{C73F0B30-DAA6-45D3-8149-8E78F0CB4DF0}"/>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54" name="Ovaal 353">
              <a:extLst>
                <a:ext uri="{FF2B5EF4-FFF2-40B4-BE49-F238E27FC236}">
                  <a16:creationId xmlns:a16="http://schemas.microsoft.com/office/drawing/2014/main" id="{16EB5B03-3D3D-4908-B59C-CC646FB5EF80}"/>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5" name="Rechthoek 354">
              <a:extLst>
                <a:ext uri="{FF2B5EF4-FFF2-40B4-BE49-F238E27FC236}">
                  <a16:creationId xmlns:a16="http://schemas.microsoft.com/office/drawing/2014/main" id="{81F7F0CB-E0BA-42A7-9446-C03D84566978}"/>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56" name="Ovaal 355">
              <a:extLst>
                <a:ext uri="{FF2B5EF4-FFF2-40B4-BE49-F238E27FC236}">
                  <a16:creationId xmlns:a16="http://schemas.microsoft.com/office/drawing/2014/main" id="{0D915088-137B-4DD2-AE0A-7BEC96E1DFFE}"/>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57" name="Rechthoek 356">
              <a:extLst>
                <a:ext uri="{FF2B5EF4-FFF2-40B4-BE49-F238E27FC236}">
                  <a16:creationId xmlns:a16="http://schemas.microsoft.com/office/drawing/2014/main" id="{7CE63F90-C9B7-42ED-A82F-A765488AE441}"/>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58" name="Ovaal 357">
              <a:extLst>
                <a:ext uri="{FF2B5EF4-FFF2-40B4-BE49-F238E27FC236}">
                  <a16:creationId xmlns:a16="http://schemas.microsoft.com/office/drawing/2014/main" id="{2E79C13D-ADAE-4928-9BFA-846B11078C06}"/>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59" name="Rechthoek 358">
              <a:extLst>
                <a:ext uri="{FF2B5EF4-FFF2-40B4-BE49-F238E27FC236}">
                  <a16:creationId xmlns:a16="http://schemas.microsoft.com/office/drawing/2014/main" id="{DE7D0D9F-9A05-426E-AF5C-F464F427E0CC}"/>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60" name="Rechthoek 359">
              <a:extLst>
                <a:ext uri="{FF2B5EF4-FFF2-40B4-BE49-F238E27FC236}">
                  <a16:creationId xmlns:a16="http://schemas.microsoft.com/office/drawing/2014/main" id="{395C42CF-B96D-4E41-80D5-36A2C39B4BBA}"/>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61" name="Rechte verbindingslijn 360">
              <a:extLst>
                <a:ext uri="{FF2B5EF4-FFF2-40B4-BE49-F238E27FC236}">
                  <a16:creationId xmlns:a16="http://schemas.microsoft.com/office/drawing/2014/main" id="{FE85859E-1BF0-4A2E-B9FE-9532FAC555AA}"/>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62" name="Ovaal 361">
              <a:extLst>
                <a:ext uri="{FF2B5EF4-FFF2-40B4-BE49-F238E27FC236}">
                  <a16:creationId xmlns:a16="http://schemas.microsoft.com/office/drawing/2014/main" id="{58B11E63-7C46-46E5-AF4E-0626BF19A6F3}"/>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63" name="Rechthoek 362">
              <a:extLst>
                <a:ext uri="{FF2B5EF4-FFF2-40B4-BE49-F238E27FC236}">
                  <a16:creationId xmlns:a16="http://schemas.microsoft.com/office/drawing/2014/main" id="{03BD9A4D-7017-4698-A01F-6019A002B899}"/>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364" name="Ovaal 363">
              <a:extLst>
                <a:ext uri="{FF2B5EF4-FFF2-40B4-BE49-F238E27FC236}">
                  <a16:creationId xmlns:a16="http://schemas.microsoft.com/office/drawing/2014/main" id="{0B21735C-96C8-4112-A687-A866CAAC6CA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5" name="Rechthoek 364">
              <a:extLst>
                <a:ext uri="{FF2B5EF4-FFF2-40B4-BE49-F238E27FC236}">
                  <a16:creationId xmlns:a16="http://schemas.microsoft.com/office/drawing/2014/main" id="{8EBF4C1B-9C19-40BA-AAD8-307DAB5F67B3}"/>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418" name="Instructie">
            <a:extLst>
              <a:ext uri="{FF2B5EF4-FFF2-40B4-BE49-F238E27FC236}">
                <a16:creationId xmlns:a16="http://schemas.microsoft.com/office/drawing/2014/main" id="{A8B8F7EF-3A13-48A2-95FA-AA9A10F3EB22}"/>
              </a:ext>
            </a:extLst>
          </p:cNvPr>
          <p:cNvGrpSpPr/>
          <p:nvPr userDrawn="1"/>
        </p:nvGrpSpPr>
        <p:grpSpPr>
          <a:xfrm>
            <a:off x="12389714" y="5221437"/>
            <a:ext cx="3183677" cy="1636565"/>
            <a:chOff x="12389714" y="4327164"/>
            <a:chExt cx="3183677" cy="1636565"/>
          </a:xfrm>
        </p:grpSpPr>
        <p:cxnSp>
          <p:nvCxnSpPr>
            <p:cNvPr id="419" name="Rechte verbindingslijn 418">
              <a:extLst>
                <a:ext uri="{FF2B5EF4-FFF2-40B4-BE49-F238E27FC236}">
                  <a16:creationId xmlns:a16="http://schemas.microsoft.com/office/drawing/2014/main" id="{998D5AE6-00E6-422E-A152-7A648EA4B8A5}"/>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420" name="Rechthoek 419">
              <a:extLst>
                <a:ext uri="{FF2B5EF4-FFF2-40B4-BE49-F238E27FC236}">
                  <a16:creationId xmlns:a16="http://schemas.microsoft.com/office/drawing/2014/main" id="{87339964-7A76-4979-8B96-386DB681251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421" name="Ovaal 420">
              <a:extLst>
                <a:ext uri="{FF2B5EF4-FFF2-40B4-BE49-F238E27FC236}">
                  <a16:creationId xmlns:a16="http://schemas.microsoft.com/office/drawing/2014/main" id="{1F065359-48A9-493C-BD7C-79FFC4490732}"/>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22" name="Rechte verbindingslijn 421">
              <a:extLst>
                <a:ext uri="{FF2B5EF4-FFF2-40B4-BE49-F238E27FC236}">
                  <a16:creationId xmlns:a16="http://schemas.microsoft.com/office/drawing/2014/main" id="{6036E041-104F-46E6-997B-2DF47F1F2ED8}"/>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423" name="Rechthoek 422">
              <a:extLst>
                <a:ext uri="{FF2B5EF4-FFF2-40B4-BE49-F238E27FC236}">
                  <a16:creationId xmlns:a16="http://schemas.microsoft.com/office/drawing/2014/main" id="{6D396B29-18EF-41AE-86F4-94591D967DEF}"/>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424" name="Groep 423">
              <a:extLst>
                <a:ext uri="{FF2B5EF4-FFF2-40B4-BE49-F238E27FC236}">
                  <a16:creationId xmlns:a16="http://schemas.microsoft.com/office/drawing/2014/main" id="{6B324597-DA5C-4C55-BD3D-4EF780D1865D}"/>
                </a:ext>
              </a:extLst>
            </p:cNvPr>
            <p:cNvGrpSpPr/>
            <p:nvPr userDrawn="1"/>
          </p:nvGrpSpPr>
          <p:grpSpPr>
            <a:xfrm>
              <a:off x="12755394" y="5222855"/>
              <a:ext cx="1714530" cy="639425"/>
              <a:chOff x="12757283" y="4365594"/>
              <a:chExt cx="1714530" cy="639425"/>
            </a:xfrm>
          </p:grpSpPr>
          <p:sp>
            <p:nvSpPr>
              <p:cNvPr id="425" name="Rechthoek 424">
                <a:extLst>
                  <a:ext uri="{FF2B5EF4-FFF2-40B4-BE49-F238E27FC236}">
                    <a16:creationId xmlns:a16="http://schemas.microsoft.com/office/drawing/2014/main" id="{6980CF4C-67A1-414E-B37E-2499F4A711E3}"/>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426" name="Rechthoek 425">
                <a:extLst>
                  <a:ext uri="{FF2B5EF4-FFF2-40B4-BE49-F238E27FC236}">
                    <a16:creationId xmlns:a16="http://schemas.microsoft.com/office/drawing/2014/main" id="{22A7E34C-3A28-4878-9B2D-95B7DA5D526F}"/>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27" name="Tekstvak 426">
                <a:extLst>
                  <a:ext uri="{FF2B5EF4-FFF2-40B4-BE49-F238E27FC236}">
                    <a16:creationId xmlns:a16="http://schemas.microsoft.com/office/drawing/2014/main" id="{6E3CFEC3-CABC-404E-BAA3-389B3892DE68}"/>
                  </a:ext>
                </a:extLst>
              </p:cNvPr>
              <p:cNvSpPr txBox="1"/>
              <p:nvPr userDrawn="1"/>
            </p:nvSpPr>
            <p:spPr>
              <a:xfrm>
                <a:off x="12997648" y="4404704"/>
                <a:ext cx="1248154"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428" name="Tekstvak 427">
                <a:extLst>
                  <a:ext uri="{FF2B5EF4-FFF2-40B4-BE49-F238E27FC236}">
                    <a16:creationId xmlns:a16="http://schemas.microsoft.com/office/drawing/2014/main" id="{78C9B979-4DBC-45E0-9F32-8F6DD473DC03}"/>
                  </a:ext>
                </a:extLst>
              </p:cNvPr>
              <p:cNvSpPr txBox="1"/>
              <p:nvPr userDrawn="1"/>
            </p:nvSpPr>
            <p:spPr>
              <a:xfrm>
                <a:off x="12984219" y="4725830"/>
                <a:ext cx="1274711"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429" name="Picture 3">
                <a:extLst>
                  <a:ext uri="{FF2B5EF4-FFF2-40B4-BE49-F238E27FC236}">
                    <a16:creationId xmlns:a16="http://schemas.microsoft.com/office/drawing/2014/main" id="{9CB52205-8507-430A-A801-AEA31C0E781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30" name="Groep 429">
                <a:extLst>
                  <a:ext uri="{FF2B5EF4-FFF2-40B4-BE49-F238E27FC236}">
                    <a16:creationId xmlns:a16="http://schemas.microsoft.com/office/drawing/2014/main" id="{0A16ECF3-609F-4BBD-8A3E-A8D6B8A37936}"/>
                  </a:ext>
                </a:extLst>
              </p:cNvPr>
              <p:cNvGrpSpPr/>
              <p:nvPr userDrawn="1"/>
            </p:nvGrpSpPr>
            <p:grpSpPr>
              <a:xfrm>
                <a:off x="12831198" y="4432250"/>
                <a:ext cx="139861" cy="152244"/>
                <a:chOff x="12574450" y="6053892"/>
                <a:chExt cx="169232" cy="184215"/>
              </a:xfrm>
            </p:grpSpPr>
            <p:sp>
              <p:nvSpPr>
                <p:cNvPr id="453" name="Rechthoek 452">
                  <a:extLst>
                    <a:ext uri="{FF2B5EF4-FFF2-40B4-BE49-F238E27FC236}">
                      <a16:creationId xmlns:a16="http://schemas.microsoft.com/office/drawing/2014/main" id="{5B5FEE48-1258-49D5-A854-30CD06F7A6CE}"/>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454" name="Rechthoek 453">
                  <a:extLst>
                    <a:ext uri="{FF2B5EF4-FFF2-40B4-BE49-F238E27FC236}">
                      <a16:creationId xmlns:a16="http://schemas.microsoft.com/office/drawing/2014/main" id="{8AE17A5C-B8FD-4A4F-AD02-DC572E182CA7}"/>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455" name="Rechthoek 454">
                  <a:extLst>
                    <a:ext uri="{FF2B5EF4-FFF2-40B4-BE49-F238E27FC236}">
                      <a16:creationId xmlns:a16="http://schemas.microsoft.com/office/drawing/2014/main" id="{83D84286-E9E9-4F59-BDFD-AD4646D64DF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grpSp>
          <p:grpSp>
            <p:nvGrpSpPr>
              <p:cNvPr id="431" name="Groep 430">
                <a:extLst>
                  <a:ext uri="{FF2B5EF4-FFF2-40B4-BE49-F238E27FC236}">
                    <a16:creationId xmlns:a16="http://schemas.microsoft.com/office/drawing/2014/main" id="{E1C2B487-6CE0-484C-B95E-029BB5AE4517}"/>
                  </a:ext>
                </a:extLst>
              </p:cNvPr>
              <p:cNvGrpSpPr/>
              <p:nvPr userDrawn="1"/>
            </p:nvGrpSpPr>
            <p:grpSpPr>
              <a:xfrm>
                <a:off x="12831198" y="4748585"/>
                <a:ext cx="184916" cy="120210"/>
                <a:chOff x="8815516" y="1076284"/>
                <a:chExt cx="503174" cy="327105"/>
              </a:xfrm>
            </p:grpSpPr>
            <p:sp>
              <p:nvSpPr>
                <p:cNvPr id="432" name="Rechthoek 431">
                  <a:extLst>
                    <a:ext uri="{FF2B5EF4-FFF2-40B4-BE49-F238E27FC236}">
                      <a16:creationId xmlns:a16="http://schemas.microsoft.com/office/drawing/2014/main" id="{6592CF00-E248-47C9-80AF-33868D82572E}"/>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433" name="Groep 432">
                  <a:extLst>
                    <a:ext uri="{FF2B5EF4-FFF2-40B4-BE49-F238E27FC236}">
                      <a16:creationId xmlns:a16="http://schemas.microsoft.com/office/drawing/2014/main" id="{CADD19E5-32B8-4157-B5C9-C26C4C346FAC}"/>
                    </a:ext>
                  </a:extLst>
                </p:cNvPr>
                <p:cNvGrpSpPr/>
                <p:nvPr userDrawn="1"/>
              </p:nvGrpSpPr>
              <p:grpSpPr>
                <a:xfrm>
                  <a:off x="8815517" y="1076284"/>
                  <a:ext cx="503173" cy="327105"/>
                  <a:chOff x="1351248" y="-683635"/>
                  <a:chExt cx="503173" cy="327105"/>
                </a:xfrm>
              </p:grpSpPr>
              <p:grpSp>
                <p:nvGrpSpPr>
                  <p:cNvPr id="434" name="Groep 433">
                    <a:extLst>
                      <a:ext uri="{FF2B5EF4-FFF2-40B4-BE49-F238E27FC236}">
                        <a16:creationId xmlns:a16="http://schemas.microsoft.com/office/drawing/2014/main" id="{5E284D45-2D6C-403E-B11A-E93FC40E44EB}"/>
                      </a:ext>
                    </a:extLst>
                  </p:cNvPr>
                  <p:cNvGrpSpPr/>
                  <p:nvPr userDrawn="1"/>
                </p:nvGrpSpPr>
                <p:grpSpPr>
                  <a:xfrm>
                    <a:off x="1351248" y="-683635"/>
                    <a:ext cx="375186" cy="293652"/>
                    <a:chOff x="1094874" y="-884923"/>
                    <a:chExt cx="884668" cy="692417"/>
                  </a:xfrm>
                </p:grpSpPr>
                <p:sp>
                  <p:nvSpPr>
                    <p:cNvPr id="439" name="Rechthoek 438">
                      <a:extLst>
                        <a:ext uri="{FF2B5EF4-FFF2-40B4-BE49-F238E27FC236}">
                          <a16:creationId xmlns:a16="http://schemas.microsoft.com/office/drawing/2014/main" id="{6FE17986-A80C-4F86-8C7A-F5385729E1A4}"/>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440" name="Groep 439">
                      <a:extLst>
                        <a:ext uri="{FF2B5EF4-FFF2-40B4-BE49-F238E27FC236}">
                          <a16:creationId xmlns:a16="http://schemas.microsoft.com/office/drawing/2014/main" id="{A8DA3BEE-250E-4CB2-8750-343DC724539E}"/>
                        </a:ext>
                      </a:extLst>
                    </p:cNvPr>
                    <p:cNvGrpSpPr/>
                    <p:nvPr userDrawn="1"/>
                  </p:nvGrpSpPr>
                  <p:grpSpPr>
                    <a:xfrm>
                      <a:off x="1094874" y="-878306"/>
                      <a:ext cx="867364" cy="685800"/>
                      <a:chOff x="1094874" y="-878306"/>
                      <a:chExt cx="867364" cy="613611"/>
                    </a:xfrm>
                  </p:grpSpPr>
                  <p:cxnSp>
                    <p:nvCxnSpPr>
                      <p:cNvPr id="446" name="Rechte verbindingslijn 445">
                        <a:extLst>
                          <a:ext uri="{FF2B5EF4-FFF2-40B4-BE49-F238E27FC236}">
                            <a16:creationId xmlns:a16="http://schemas.microsoft.com/office/drawing/2014/main" id="{5C2D2CF5-3DD4-41F4-ADB0-5EFDBC4CD12A}"/>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7" name="Rechte verbindingslijn 446">
                        <a:extLst>
                          <a:ext uri="{FF2B5EF4-FFF2-40B4-BE49-F238E27FC236}">
                            <a16:creationId xmlns:a16="http://schemas.microsoft.com/office/drawing/2014/main" id="{804B345D-0B52-46CB-A2A2-B4ACE9DAA760}"/>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8" name="Groep 447">
                        <a:extLst>
                          <a:ext uri="{FF2B5EF4-FFF2-40B4-BE49-F238E27FC236}">
                            <a16:creationId xmlns:a16="http://schemas.microsoft.com/office/drawing/2014/main" id="{95127E70-86E8-40FD-A3F3-D565D1E080A4}"/>
                          </a:ext>
                        </a:extLst>
                      </p:cNvPr>
                      <p:cNvGrpSpPr/>
                      <p:nvPr userDrawn="1"/>
                    </p:nvGrpSpPr>
                    <p:grpSpPr>
                      <a:xfrm>
                        <a:off x="1270535" y="-878306"/>
                        <a:ext cx="526983" cy="613611"/>
                        <a:chOff x="1270535" y="-745959"/>
                        <a:chExt cx="526983" cy="481264"/>
                      </a:xfrm>
                    </p:grpSpPr>
                    <p:cxnSp>
                      <p:nvCxnSpPr>
                        <p:cNvPr id="449" name="Rechte verbindingslijn 448">
                          <a:extLst>
                            <a:ext uri="{FF2B5EF4-FFF2-40B4-BE49-F238E27FC236}">
                              <a16:creationId xmlns:a16="http://schemas.microsoft.com/office/drawing/2014/main" id="{93D799BB-F258-406A-B51C-5B5EAD98C02C}"/>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0" name="Rechte verbindingslijn 449">
                          <a:extLst>
                            <a:ext uri="{FF2B5EF4-FFF2-40B4-BE49-F238E27FC236}">
                              <a16:creationId xmlns:a16="http://schemas.microsoft.com/office/drawing/2014/main" id="{C3A29D67-3920-4A1C-B8D7-11FF932C7A86}"/>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1" name="Rechte verbindingslijn 450">
                          <a:extLst>
                            <a:ext uri="{FF2B5EF4-FFF2-40B4-BE49-F238E27FC236}">
                              <a16:creationId xmlns:a16="http://schemas.microsoft.com/office/drawing/2014/main" id="{603DB51F-36E6-4F6A-B82F-BC07976CCB80}"/>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2" name="Rechte verbindingslijn 451">
                          <a:extLst>
                            <a:ext uri="{FF2B5EF4-FFF2-40B4-BE49-F238E27FC236}">
                              <a16:creationId xmlns:a16="http://schemas.microsoft.com/office/drawing/2014/main" id="{BBFE95C4-F734-4644-B24D-12CFBE3EC8D4}"/>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41" name="Rechte verbindingslijn 440">
                      <a:extLst>
                        <a:ext uri="{FF2B5EF4-FFF2-40B4-BE49-F238E27FC236}">
                          <a16:creationId xmlns:a16="http://schemas.microsoft.com/office/drawing/2014/main" id="{83A9B342-479F-47EA-810A-AC7A7C29CC24}"/>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2" name="Groep 441">
                      <a:extLst>
                        <a:ext uri="{FF2B5EF4-FFF2-40B4-BE49-F238E27FC236}">
                          <a16:creationId xmlns:a16="http://schemas.microsoft.com/office/drawing/2014/main" id="{213FFAD0-E8E9-4FD3-AAAF-2B9F01577A5E}"/>
                        </a:ext>
                      </a:extLst>
                    </p:cNvPr>
                    <p:cNvGrpSpPr/>
                    <p:nvPr userDrawn="1"/>
                  </p:nvGrpSpPr>
                  <p:grpSpPr>
                    <a:xfrm>
                      <a:off x="1094874" y="-607596"/>
                      <a:ext cx="878306" cy="276726"/>
                      <a:chOff x="1106905" y="-607596"/>
                      <a:chExt cx="878307" cy="276726"/>
                    </a:xfrm>
                  </p:grpSpPr>
                  <p:cxnSp>
                    <p:nvCxnSpPr>
                      <p:cNvPr id="443" name="Rechte verbindingslijn 442">
                        <a:extLst>
                          <a:ext uri="{FF2B5EF4-FFF2-40B4-BE49-F238E27FC236}">
                            <a16:creationId xmlns:a16="http://schemas.microsoft.com/office/drawing/2014/main" id="{3AC0A952-0D4A-4E53-87FD-05AD621F662F}"/>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4" name="Rechte verbindingslijn 443">
                        <a:extLst>
                          <a:ext uri="{FF2B5EF4-FFF2-40B4-BE49-F238E27FC236}">
                            <a16:creationId xmlns:a16="http://schemas.microsoft.com/office/drawing/2014/main" id="{EACB3642-4915-4896-82E3-CC2F2819772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5" name="Rechte verbindingslijn 444">
                        <a:extLst>
                          <a:ext uri="{FF2B5EF4-FFF2-40B4-BE49-F238E27FC236}">
                            <a16:creationId xmlns:a16="http://schemas.microsoft.com/office/drawing/2014/main" id="{1B65515D-9070-4B74-8C7F-0254218B156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35" name="Groep 434">
                    <a:extLst>
                      <a:ext uri="{FF2B5EF4-FFF2-40B4-BE49-F238E27FC236}">
                        <a16:creationId xmlns:a16="http://schemas.microsoft.com/office/drawing/2014/main" id="{BAAB26B8-8259-438C-A6A9-C33DC5B7AD0E}"/>
                      </a:ext>
                    </a:extLst>
                  </p:cNvPr>
                  <p:cNvGrpSpPr/>
                  <p:nvPr userDrawn="1"/>
                </p:nvGrpSpPr>
                <p:grpSpPr>
                  <a:xfrm rot="2700000">
                    <a:off x="1605871" y="-605080"/>
                    <a:ext cx="90079" cy="407021"/>
                    <a:chOff x="3130062" y="-817193"/>
                    <a:chExt cx="131884" cy="595920"/>
                  </a:xfrm>
                  <a:solidFill>
                    <a:srgbClr val="3399FF"/>
                  </a:solidFill>
                </p:grpSpPr>
                <p:sp>
                  <p:nvSpPr>
                    <p:cNvPr id="436" name="Rechthoek 435">
                      <a:extLst>
                        <a:ext uri="{FF2B5EF4-FFF2-40B4-BE49-F238E27FC236}">
                          <a16:creationId xmlns:a16="http://schemas.microsoft.com/office/drawing/2014/main" id="{476ECDFF-482D-442D-ACDD-F4FA36DC31BB}"/>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437" name="Rechthoek: afgeronde bovenhoeken 436">
                      <a:extLst>
                        <a:ext uri="{FF2B5EF4-FFF2-40B4-BE49-F238E27FC236}">
                          <a16:creationId xmlns:a16="http://schemas.microsoft.com/office/drawing/2014/main" id="{F4888F59-2B86-42C3-B5E4-1CD46EF51BD7}"/>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438" name="Gelijkbenige driehoek 437">
                      <a:extLst>
                        <a:ext uri="{FF2B5EF4-FFF2-40B4-BE49-F238E27FC236}">
                          <a16:creationId xmlns:a16="http://schemas.microsoft.com/office/drawing/2014/main" id="{7417D659-B10F-4819-B2B7-1B56F8D2E8C9}"/>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grpSp>
      </p:grpSp>
      <p:grpSp>
        <p:nvGrpSpPr>
          <p:cNvPr id="456" name="Instructie">
            <a:extLst>
              <a:ext uri="{FF2B5EF4-FFF2-40B4-BE49-F238E27FC236}">
                <a16:creationId xmlns:a16="http://schemas.microsoft.com/office/drawing/2014/main" id="{968350DB-B9DC-4E66-B3AA-7EAC93762340}"/>
              </a:ext>
            </a:extLst>
          </p:cNvPr>
          <p:cNvGrpSpPr/>
          <p:nvPr userDrawn="1"/>
        </p:nvGrpSpPr>
        <p:grpSpPr>
          <a:xfrm>
            <a:off x="12391602" y="2"/>
            <a:ext cx="3183677" cy="2499789"/>
            <a:chOff x="12391601" y="0"/>
            <a:chExt cx="3183677" cy="2499789"/>
          </a:xfrm>
        </p:grpSpPr>
        <p:sp>
          <p:nvSpPr>
            <p:cNvPr id="457" name="Rechthoek 456">
              <a:extLst>
                <a:ext uri="{FF2B5EF4-FFF2-40B4-BE49-F238E27FC236}">
                  <a16:creationId xmlns:a16="http://schemas.microsoft.com/office/drawing/2014/main" id="{26559C5E-546C-4A70-A0EF-53EA3E2DE60A}"/>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458" name="Ovaal 457">
              <a:extLst>
                <a:ext uri="{FF2B5EF4-FFF2-40B4-BE49-F238E27FC236}">
                  <a16:creationId xmlns:a16="http://schemas.microsoft.com/office/drawing/2014/main" id="{CA50E38A-FAF8-4A0B-B892-BDA9F843CB6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59" name="Rechte verbindingslijn 458">
              <a:extLst>
                <a:ext uri="{FF2B5EF4-FFF2-40B4-BE49-F238E27FC236}">
                  <a16:creationId xmlns:a16="http://schemas.microsoft.com/office/drawing/2014/main" id="{8820A337-456D-49FD-BE24-31BA4D25A128}"/>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60" name="Rechte verbindingslijn 459">
              <a:extLst>
                <a:ext uri="{FF2B5EF4-FFF2-40B4-BE49-F238E27FC236}">
                  <a16:creationId xmlns:a16="http://schemas.microsoft.com/office/drawing/2014/main" id="{BA949DC0-146E-4049-9480-FAE51A94D667}"/>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61" name="Rechthoek 460">
              <a:extLst>
                <a:ext uri="{FF2B5EF4-FFF2-40B4-BE49-F238E27FC236}">
                  <a16:creationId xmlns:a16="http://schemas.microsoft.com/office/drawing/2014/main" id="{921C6BE8-3C08-4E13-A550-268A5BD1C6D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62" name="Ovaal 461">
              <a:extLst>
                <a:ext uri="{FF2B5EF4-FFF2-40B4-BE49-F238E27FC236}">
                  <a16:creationId xmlns:a16="http://schemas.microsoft.com/office/drawing/2014/main" id="{D821E7F7-E3E9-4A5D-9ABE-5AC8879B3E10}"/>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63" name="Rechthoek 462">
              <a:extLst>
                <a:ext uri="{FF2B5EF4-FFF2-40B4-BE49-F238E27FC236}">
                  <a16:creationId xmlns:a16="http://schemas.microsoft.com/office/drawing/2014/main" id="{E83EDA2E-B8ED-46C5-9D3B-C099AE2F6AC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64" name="Groep 463">
              <a:extLst>
                <a:ext uri="{FF2B5EF4-FFF2-40B4-BE49-F238E27FC236}">
                  <a16:creationId xmlns:a16="http://schemas.microsoft.com/office/drawing/2014/main" id="{0EB3197A-73D2-419D-A0D7-7264C585922D}"/>
                </a:ext>
              </a:extLst>
            </p:cNvPr>
            <p:cNvGrpSpPr/>
            <p:nvPr userDrawn="1"/>
          </p:nvGrpSpPr>
          <p:grpSpPr>
            <a:xfrm>
              <a:off x="12757282" y="2184550"/>
              <a:ext cx="825500" cy="209550"/>
              <a:chOff x="13504624" y="2482850"/>
              <a:chExt cx="825500" cy="209550"/>
            </a:xfrm>
          </p:grpSpPr>
          <p:sp>
            <p:nvSpPr>
              <p:cNvPr id="470" name="Rechthoek 469">
                <a:extLst>
                  <a:ext uri="{FF2B5EF4-FFF2-40B4-BE49-F238E27FC236}">
                    <a16:creationId xmlns:a16="http://schemas.microsoft.com/office/drawing/2014/main" id="{FDF5FBF6-34D9-4ED1-A544-9490EA133BD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471" name="Rechte verbindingslijn 470">
                <a:extLst>
                  <a:ext uri="{FF2B5EF4-FFF2-40B4-BE49-F238E27FC236}">
                    <a16:creationId xmlns:a16="http://schemas.microsoft.com/office/drawing/2014/main" id="{4CD4DE8C-9E07-458B-9F4B-F627D226B06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72" name="Gelijkbenige driehoek 471">
                <a:extLst>
                  <a:ext uri="{FF2B5EF4-FFF2-40B4-BE49-F238E27FC236}">
                    <a16:creationId xmlns:a16="http://schemas.microsoft.com/office/drawing/2014/main" id="{1D420B5D-59C1-4D25-96C0-7484780E9E1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465" name="Rechte verbindingslijn 464">
              <a:extLst>
                <a:ext uri="{FF2B5EF4-FFF2-40B4-BE49-F238E27FC236}">
                  <a16:creationId xmlns:a16="http://schemas.microsoft.com/office/drawing/2014/main" id="{15D12A78-A17D-460A-AB35-1C85A51E6996}"/>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466" name="Groep 465">
              <a:extLst>
                <a:ext uri="{FF2B5EF4-FFF2-40B4-BE49-F238E27FC236}">
                  <a16:creationId xmlns:a16="http://schemas.microsoft.com/office/drawing/2014/main" id="{E63DD2D8-B2A9-4AB9-B09A-B697C6C754C3}"/>
                </a:ext>
              </a:extLst>
            </p:cNvPr>
            <p:cNvGrpSpPr/>
            <p:nvPr userDrawn="1"/>
          </p:nvGrpSpPr>
          <p:grpSpPr>
            <a:xfrm>
              <a:off x="12751697" y="1147804"/>
              <a:ext cx="289372" cy="314992"/>
              <a:chOff x="7322769" y="-310267"/>
              <a:chExt cx="289372" cy="314992"/>
            </a:xfrm>
          </p:grpSpPr>
          <p:sp>
            <p:nvSpPr>
              <p:cNvPr id="467" name="Rechthoek 466">
                <a:extLst>
                  <a:ext uri="{FF2B5EF4-FFF2-40B4-BE49-F238E27FC236}">
                    <a16:creationId xmlns:a16="http://schemas.microsoft.com/office/drawing/2014/main" id="{9C0F72A6-9B01-4799-AECD-D7F742AB41E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468" name="Rechthoek 467">
                <a:extLst>
                  <a:ext uri="{FF2B5EF4-FFF2-40B4-BE49-F238E27FC236}">
                    <a16:creationId xmlns:a16="http://schemas.microsoft.com/office/drawing/2014/main" id="{D6C7C30A-F674-458A-8DD6-A266138E6DB6}"/>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469" name="Rechthoek 468">
                <a:extLst>
                  <a:ext uri="{FF2B5EF4-FFF2-40B4-BE49-F238E27FC236}">
                    <a16:creationId xmlns:a16="http://schemas.microsoft.com/office/drawing/2014/main" id="{05AD1692-59A4-4A18-95DE-485351CE77A8}"/>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34398065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64DA95FF-B2AE-499F-93F8-A4175C26E506}"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GRAFIEK</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539498" y="1459111"/>
            <a:ext cx="1111224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74" name="Instructie">
            <a:extLst>
              <a:ext uri="{FF2B5EF4-FFF2-40B4-BE49-F238E27FC236}">
                <a16:creationId xmlns:a16="http://schemas.microsoft.com/office/drawing/2014/main" id="{B972CF49-E143-4536-B73E-02151D4202F8}"/>
              </a:ext>
            </a:extLst>
          </p:cNvPr>
          <p:cNvGrpSpPr/>
          <p:nvPr userDrawn="1"/>
        </p:nvGrpSpPr>
        <p:grpSpPr>
          <a:xfrm>
            <a:off x="12389714" y="5221437"/>
            <a:ext cx="3183677" cy="1636565"/>
            <a:chOff x="12389714" y="4327164"/>
            <a:chExt cx="3183677" cy="1636565"/>
          </a:xfrm>
        </p:grpSpPr>
        <p:cxnSp>
          <p:nvCxnSpPr>
            <p:cNvPr id="75" name="Rechte verbindingslijn 74">
              <a:extLst>
                <a:ext uri="{FF2B5EF4-FFF2-40B4-BE49-F238E27FC236}">
                  <a16:creationId xmlns:a16="http://schemas.microsoft.com/office/drawing/2014/main" id="{8619AEFD-8A08-4117-9131-36A9F97CC5F5}"/>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76" name="Rechthoek 75">
              <a:extLst>
                <a:ext uri="{FF2B5EF4-FFF2-40B4-BE49-F238E27FC236}">
                  <a16:creationId xmlns:a16="http://schemas.microsoft.com/office/drawing/2014/main" id="{A6236CE0-E1AC-4BA7-8B28-53277866B859}"/>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77" name="Ovaal 76">
              <a:extLst>
                <a:ext uri="{FF2B5EF4-FFF2-40B4-BE49-F238E27FC236}">
                  <a16:creationId xmlns:a16="http://schemas.microsoft.com/office/drawing/2014/main" id="{A821C9E1-8337-4AB1-A151-207BFF0FEBB3}"/>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78" name="Rechte verbindingslijn 77">
              <a:extLst>
                <a:ext uri="{FF2B5EF4-FFF2-40B4-BE49-F238E27FC236}">
                  <a16:creationId xmlns:a16="http://schemas.microsoft.com/office/drawing/2014/main" id="{1DA1E750-3948-484A-B193-DA0A2A460AF7}"/>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79" name="Rechthoek 78">
              <a:extLst>
                <a:ext uri="{FF2B5EF4-FFF2-40B4-BE49-F238E27FC236}">
                  <a16:creationId xmlns:a16="http://schemas.microsoft.com/office/drawing/2014/main" id="{F1BC702D-8B8F-4BB9-975A-820866492DDB}"/>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80" name="Groep 79">
              <a:extLst>
                <a:ext uri="{FF2B5EF4-FFF2-40B4-BE49-F238E27FC236}">
                  <a16:creationId xmlns:a16="http://schemas.microsoft.com/office/drawing/2014/main" id="{19713D3E-95E2-4480-829B-C7E8C21517AE}"/>
                </a:ext>
              </a:extLst>
            </p:cNvPr>
            <p:cNvGrpSpPr/>
            <p:nvPr userDrawn="1"/>
          </p:nvGrpSpPr>
          <p:grpSpPr>
            <a:xfrm>
              <a:off x="12755394" y="5222855"/>
              <a:ext cx="1714530" cy="639425"/>
              <a:chOff x="12757283" y="4365594"/>
              <a:chExt cx="1714530" cy="639425"/>
            </a:xfrm>
          </p:grpSpPr>
          <p:sp>
            <p:nvSpPr>
              <p:cNvPr id="81" name="Rechthoek 80">
                <a:extLst>
                  <a:ext uri="{FF2B5EF4-FFF2-40B4-BE49-F238E27FC236}">
                    <a16:creationId xmlns:a16="http://schemas.microsoft.com/office/drawing/2014/main" id="{46AE71E4-1BC3-428B-ABD2-11B63625E01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2" name="Rechthoek 81">
                <a:extLst>
                  <a:ext uri="{FF2B5EF4-FFF2-40B4-BE49-F238E27FC236}">
                    <a16:creationId xmlns:a16="http://schemas.microsoft.com/office/drawing/2014/main" id="{6D18ED2B-9992-4D8A-A3F4-4720DCBB6F4F}"/>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3" name="Tekstvak 82">
                <a:extLst>
                  <a:ext uri="{FF2B5EF4-FFF2-40B4-BE49-F238E27FC236}">
                    <a16:creationId xmlns:a16="http://schemas.microsoft.com/office/drawing/2014/main" id="{6DD53454-7E76-4FEB-A6C5-3B31E555CBB0}"/>
                  </a:ext>
                </a:extLst>
              </p:cNvPr>
              <p:cNvSpPr txBox="1"/>
              <p:nvPr userDrawn="1"/>
            </p:nvSpPr>
            <p:spPr>
              <a:xfrm>
                <a:off x="12997648" y="4404704"/>
                <a:ext cx="1248154"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84" name="Tekstvak 83">
                <a:extLst>
                  <a:ext uri="{FF2B5EF4-FFF2-40B4-BE49-F238E27FC236}">
                    <a16:creationId xmlns:a16="http://schemas.microsoft.com/office/drawing/2014/main" id="{98AA1ED3-7654-4AB1-8AF8-386D4E4E6CEF}"/>
                  </a:ext>
                </a:extLst>
              </p:cNvPr>
              <p:cNvSpPr txBox="1"/>
              <p:nvPr userDrawn="1"/>
            </p:nvSpPr>
            <p:spPr>
              <a:xfrm>
                <a:off x="12984219" y="4725830"/>
                <a:ext cx="1274711"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85" name="Picture 3">
                <a:extLst>
                  <a:ext uri="{FF2B5EF4-FFF2-40B4-BE49-F238E27FC236}">
                    <a16:creationId xmlns:a16="http://schemas.microsoft.com/office/drawing/2014/main" id="{95FD1C77-383D-419B-B010-83F96383E8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6" name="Groep 85">
                <a:extLst>
                  <a:ext uri="{FF2B5EF4-FFF2-40B4-BE49-F238E27FC236}">
                    <a16:creationId xmlns:a16="http://schemas.microsoft.com/office/drawing/2014/main" id="{BC892A5F-71EC-4CD6-B2EC-948B628B4921}"/>
                  </a:ext>
                </a:extLst>
              </p:cNvPr>
              <p:cNvGrpSpPr/>
              <p:nvPr userDrawn="1"/>
            </p:nvGrpSpPr>
            <p:grpSpPr>
              <a:xfrm>
                <a:off x="12831198" y="4432250"/>
                <a:ext cx="139861" cy="152244"/>
                <a:chOff x="12574450" y="6053892"/>
                <a:chExt cx="169232" cy="184215"/>
              </a:xfrm>
            </p:grpSpPr>
            <p:sp>
              <p:nvSpPr>
                <p:cNvPr id="109" name="Rechthoek 108">
                  <a:extLst>
                    <a:ext uri="{FF2B5EF4-FFF2-40B4-BE49-F238E27FC236}">
                      <a16:creationId xmlns:a16="http://schemas.microsoft.com/office/drawing/2014/main" id="{20A88D06-7F47-4140-B630-F4ED20C4214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110" name="Rechthoek 109">
                  <a:extLst>
                    <a:ext uri="{FF2B5EF4-FFF2-40B4-BE49-F238E27FC236}">
                      <a16:creationId xmlns:a16="http://schemas.microsoft.com/office/drawing/2014/main" id="{98DE47D3-576B-4E82-BE49-0AD5CCB36880}"/>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111" name="Rechthoek 110">
                  <a:extLst>
                    <a:ext uri="{FF2B5EF4-FFF2-40B4-BE49-F238E27FC236}">
                      <a16:creationId xmlns:a16="http://schemas.microsoft.com/office/drawing/2014/main" id="{B6FF1A25-9824-47C0-B471-84E431239CD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grpSp>
          <p:grpSp>
            <p:nvGrpSpPr>
              <p:cNvPr id="87" name="Groep 86">
                <a:extLst>
                  <a:ext uri="{FF2B5EF4-FFF2-40B4-BE49-F238E27FC236}">
                    <a16:creationId xmlns:a16="http://schemas.microsoft.com/office/drawing/2014/main" id="{2509F33A-40E9-4679-BC0E-B493A23390CC}"/>
                  </a:ext>
                </a:extLst>
              </p:cNvPr>
              <p:cNvGrpSpPr/>
              <p:nvPr userDrawn="1"/>
            </p:nvGrpSpPr>
            <p:grpSpPr>
              <a:xfrm>
                <a:off x="12831198" y="4748585"/>
                <a:ext cx="184916" cy="120210"/>
                <a:chOff x="8815516" y="1076284"/>
                <a:chExt cx="503174" cy="327105"/>
              </a:xfrm>
            </p:grpSpPr>
            <p:sp>
              <p:nvSpPr>
                <p:cNvPr id="88" name="Rechthoek 87">
                  <a:extLst>
                    <a:ext uri="{FF2B5EF4-FFF2-40B4-BE49-F238E27FC236}">
                      <a16:creationId xmlns:a16="http://schemas.microsoft.com/office/drawing/2014/main" id="{56EE2C70-CEF5-4019-AD16-54893C917483}"/>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89" name="Groep 88">
                  <a:extLst>
                    <a:ext uri="{FF2B5EF4-FFF2-40B4-BE49-F238E27FC236}">
                      <a16:creationId xmlns:a16="http://schemas.microsoft.com/office/drawing/2014/main" id="{C8D244F3-BAF2-46D2-9BA4-4DF01689F6BB}"/>
                    </a:ext>
                  </a:extLst>
                </p:cNvPr>
                <p:cNvGrpSpPr/>
                <p:nvPr userDrawn="1"/>
              </p:nvGrpSpPr>
              <p:grpSpPr>
                <a:xfrm>
                  <a:off x="8815517" y="1076284"/>
                  <a:ext cx="503173" cy="327105"/>
                  <a:chOff x="1351248" y="-683635"/>
                  <a:chExt cx="503173" cy="327105"/>
                </a:xfrm>
              </p:grpSpPr>
              <p:grpSp>
                <p:nvGrpSpPr>
                  <p:cNvPr id="90" name="Groep 89">
                    <a:extLst>
                      <a:ext uri="{FF2B5EF4-FFF2-40B4-BE49-F238E27FC236}">
                        <a16:creationId xmlns:a16="http://schemas.microsoft.com/office/drawing/2014/main" id="{9359415B-A09B-4D47-9FCD-2E5769196783}"/>
                      </a:ext>
                    </a:extLst>
                  </p:cNvPr>
                  <p:cNvGrpSpPr/>
                  <p:nvPr userDrawn="1"/>
                </p:nvGrpSpPr>
                <p:grpSpPr>
                  <a:xfrm>
                    <a:off x="1351248" y="-683635"/>
                    <a:ext cx="375186" cy="293652"/>
                    <a:chOff x="1094874" y="-884923"/>
                    <a:chExt cx="884668" cy="692417"/>
                  </a:xfrm>
                </p:grpSpPr>
                <p:sp>
                  <p:nvSpPr>
                    <p:cNvPr id="95" name="Rechthoek 94">
                      <a:extLst>
                        <a:ext uri="{FF2B5EF4-FFF2-40B4-BE49-F238E27FC236}">
                          <a16:creationId xmlns:a16="http://schemas.microsoft.com/office/drawing/2014/main" id="{13C8B5C6-0E17-4FD1-85B0-5D522CF31E1F}"/>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96" name="Groep 95">
                      <a:extLst>
                        <a:ext uri="{FF2B5EF4-FFF2-40B4-BE49-F238E27FC236}">
                          <a16:creationId xmlns:a16="http://schemas.microsoft.com/office/drawing/2014/main" id="{FFF07B23-3892-43DB-B059-59D78582C1C4}"/>
                        </a:ext>
                      </a:extLst>
                    </p:cNvPr>
                    <p:cNvGrpSpPr/>
                    <p:nvPr userDrawn="1"/>
                  </p:nvGrpSpPr>
                  <p:grpSpPr>
                    <a:xfrm>
                      <a:off x="1094874" y="-878306"/>
                      <a:ext cx="867364" cy="685800"/>
                      <a:chOff x="1094874" y="-878306"/>
                      <a:chExt cx="867364" cy="613611"/>
                    </a:xfrm>
                  </p:grpSpPr>
                  <p:cxnSp>
                    <p:nvCxnSpPr>
                      <p:cNvPr id="102" name="Rechte verbindingslijn 101">
                        <a:extLst>
                          <a:ext uri="{FF2B5EF4-FFF2-40B4-BE49-F238E27FC236}">
                            <a16:creationId xmlns:a16="http://schemas.microsoft.com/office/drawing/2014/main" id="{8D326885-9E04-4C8C-A5C1-ADF060A21BDD}"/>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a:extLst>
                          <a:ext uri="{FF2B5EF4-FFF2-40B4-BE49-F238E27FC236}">
                            <a16:creationId xmlns:a16="http://schemas.microsoft.com/office/drawing/2014/main" id="{67708AEB-A08D-4668-9453-19DBE12B49F2}"/>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4" name="Groep 103">
                        <a:extLst>
                          <a:ext uri="{FF2B5EF4-FFF2-40B4-BE49-F238E27FC236}">
                            <a16:creationId xmlns:a16="http://schemas.microsoft.com/office/drawing/2014/main" id="{A2D35943-67CD-4101-8F1B-E63EB14AC4A7}"/>
                          </a:ext>
                        </a:extLst>
                      </p:cNvPr>
                      <p:cNvGrpSpPr/>
                      <p:nvPr userDrawn="1"/>
                    </p:nvGrpSpPr>
                    <p:grpSpPr>
                      <a:xfrm>
                        <a:off x="1270535" y="-878306"/>
                        <a:ext cx="526983" cy="613611"/>
                        <a:chOff x="1270535" y="-745959"/>
                        <a:chExt cx="526983" cy="481264"/>
                      </a:xfrm>
                    </p:grpSpPr>
                    <p:cxnSp>
                      <p:nvCxnSpPr>
                        <p:cNvPr id="105" name="Rechte verbindingslijn 104">
                          <a:extLst>
                            <a:ext uri="{FF2B5EF4-FFF2-40B4-BE49-F238E27FC236}">
                              <a16:creationId xmlns:a16="http://schemas.microsoft.com/office/drawing/2014/main" id="{2BF5283D-E0B5-4438-BF77-01D91FAE37C7}"/>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6" name="Rechte verbindingslijn 105">
                          <a:extLst>
                            <a:ext uri="{FF2B5EF4-FFF2-40B4-BE49-F238E27FC236}">
                              <a16:creationId xmlns:a16="http://schemas.microsoft.com/office/drawing/2014/main" id="{C387A47F-7F0F-498C-9C7A-0DAC50513F3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583B8D76-E296-466B-AB9A-207C4D239511}"/>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52EC5223-DD85-4EDB-8D96-ED9FCAE322AC}"/>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97" name="Rechte verbindingslijn 96">
                      <a:extLst>
                        <a:ext uri="{FF2B5EF4-FFF2-40B4-BE49-F238E27FC236}">
                          <a16:creationId xmlns:a16="http://schemas.microsoft.com/office/drawing/2014/main" id="{34216DA4-8816-4742-A4E7-441721CC9962}"/>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98" name="Groep 97">
                      <a:extLst>
                        <a:ext uri="{FF2B5EF4-FFF2-40B4-BE49-F238E27FC236}">
                          <a16:creationId xmlns:a16="http://schemas.microsoft.com/office/drawing/2014/main" id="{D3EDC5E9-3DCE-4232-8001-9089A793072F}"/>
                        </a:ext>
                      </a:extLst>
                    </p:cNvPr>
                    <p:cNvGrpSpPr/>
                    <p:nvPr userDrawn="1"/>
                  </p:nvGrpSpPr>
                  <p:grpSpPr>
                    <a:xfrm>
                      <a:off x="1094874" y="-607596"/>
                      <a:ext cx="878306" cy="276726"/>
                      <a:chOff x="1106905" y="-607596"/>
                      <a:chExt cx="878307" cy="276726"/>
                    </a:xfrm>
                  </p:grpSpPr>
                  <p:cxnSp>
                    <p:nvCxnSpPr>
                      <p:cNvPr id="99" name="Rechte verbindingslijn 98">
                        <a:extLst>
                          <a:ext uri="{FF2B5EF4-FFF2-40B4-BE49-F238E27FC236}">
                            <a16:creationId xmlns:a16="http://schemas.microsoft.com/office/drawing/2014/main" id="{F5257B78-A23C-4286-BB72-E7CC2359FB79}"/>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0" name="Rechte verbindingslijn 99">
                        <a:extLst>
                          <a:ext uri="{FF2B5EF4-FFF2-40B4-BE49-F238E27FC236}">
                            <a16:creationId xmlns:a16="http://schemas.microsoft.com/office/drawing/2014/main" id="{9B21A33D-5248-4792-87A0-2367DE8339DD}"/>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1" name="Rechte verbindingslijn 100">
                        <a:extLst>
                          <a:ext uri="{FF2B5EF4-FFF2-40B4-BE49-F238E27FC236}">
                            <a16:creationId xmlns:a16="http://schemas.microsoft.com/office/drawing/2014/main" id="{1292EA23-CAFC-4FAA-9703-EB32C8C778D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91" name="Groep 90">
                    <a:extLst>
                      <a:ext uri="{FF2B5EF4-FFF2-40B4-BE49-F238E27FC236}">
                        <a16:creationId xmlns:a16="http://schemas.microsoft.com/office/drawing/2014/main" id="{845F69D1-3951-4CA5-81D1-1921114D546B}"/>
                      </a:ext>
                    </a:extLst>
                  </p:cNvPr>
                  <p:cNvGrpSpPr/>
                  <p:nvPr userDrawn="1"/>
                </p:nvGrpSpPr>
                <p:grpSpPr>
                  <a:xfrm rot="2700000">
                    <a:off x="1605871" y="-605080"/>
                    <a:ext cx="90079" cy="407021"/>
                    <a:chOff x="3130062" y="-817193"/>
                    <a:chExt cx="131884" cy="595920"/>
                  </a:xfrm>
                  <a:solidFill>
                    <a:srgbClr val="3399FF"/>
                  </a:solidFill>
                </p:grpSpPr>
                <p:sp>
                  <p:nvSpPr>
                    <p:cNvPr id="92" name="Rechthoek 91">
                      <a:extLst>
                        <a:ext uri="{FF2B5EF4-FFF2-40B4-BE49-F238E27FC236}">
                          <a16:creationId xmlns:a16="http://schemas.microsoft.com/office/drawing/2014/main" id="{866D29B1-DCE2-447E-BA88-31697F9592D4}"/>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93" name="Rechthoek: afgeronde bovenhoeken 92">
                      <a:extLst>
                        <a:ext uri="{FF2B5EF4-FFF2-40B4-BE49-F238E27FC236}">
                          <a16:creationId xmlns:a16="http://schemas.microsoft.com/office/drawing/2014/main" id="{60BAF024-6722-42F1-ABCC-F7730797864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94" name="Gelijkbenige driehoek 93">
                      <a:extLst>
                        <a:ext uri="{FF2B5EF4-FFF2-40B4-BE49-F238E27FC236}">
                          <a16:creationId xmlns:a16="http://schemas.microsoft.com/office/drawing/2014/main" id="{1BE3730C-1B90-46FE-84EB-75166346538C}"/>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grpSp>
      </p:grpSp>
      <p:grpSp>
        <p:nvGrpSpPr>
          <p:cNvPr id="112" name="Instructie">
            <a:extLst>
              <a:ext uri="{FF2B5EF4-FFF2-40B4-BE49-F238E27FC236}">
                <a16:creationId xmlns:a16="http://schemas.microsoft.com/office/drawing/2014/main" id="{C49CC328-B599-43D4-A145-1CC5920BB79C}"/>
              </a:ext>
            </a:extLst>
          </p:cNvPr>
          <p:cNvGrpSpPr/>
          <p:nvPr userDrawn="1"/>
        </p:nvGrpSpPr>
        <p:grpSpPr>
          <a:xfrm>
            <a:off x="12391602" y="2"/>
            <a:ext cx="3183677" cy="2499789"/>
            <a:chOff x="12391601" y="0"/>
            <a:chExt cx="3183677" cy="2499789"/>
          </a:xfrm>
        </p:grpSpPr>
        <p:sp>
          <p:nvSpPr>
            <p:cNvPr id="113" name="Rechthoek 112">
              <a:extLst>
                <a:ext uri="{FF2B5EF4-FFF2-40B4-BE49-F238E27FC236}">
                  <a16:creationId xmlns:a16="http://schemas.microsoft.com/office/drawing/2014/main" id="{3DC127D4-C91D-434D-961C-51DD7C05B9CA}"/>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14" name="Ovaal 113">
              <a:extLst>
                <a:ext uri="{FF2B5EF4-FFF2-40B4-BE49-F238E27FC236}">
                  <a16:creationId xmlns:a16="http://schemas.microsoft.com/office/drawing/2014/main" id="{F369C675-B222-4E3C-9799-B9E9C826D6EA}"/>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5" name="Rechte verbindingslijn 114">
              <a:extLst>
                <a:ext uri="{FF2B5EF4-FFF2-40B4-BE49-F238E27FC236}">
                  <a16:creationId xmlns:a16="http://schemas.microsoft.com/office/drawing/2014/main" id="{AB74B0B9-D672-464B-8856-0FAB1769AC2D}"/>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16" name="Rechte verbindingslijn 115">
              <a:extLst>
                <a:ext uri="{FF2B5EF4-FFF2-40B4-BE49-F238E27FC236}">
                  <a16:creationId xmlns:a16="http://schemas.microsoft.com/office/drawing/2014/main" id="{C750B418-3B0A-4B5A-B30A-6497E416A60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17" name="Rechthoek 116">
              <a:extLst>
                <a:ext uri="{FF2B5EF4-FFF2-40B4-BE49-F238E27FC236}">
                  <a16:creationId xmlns:a16="http://schemas.microsoft.com/office/drawing/2014/main" id="{46F58321-87C8-4D68-8FFD-B81C6063B34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18" name="Ovaal 117">
              <a:extLst>
                <a:ext uri="{FF2B5EF4-FFF2-40B4-BE49-F238E27FC236}">
                  <a16:creationId xmlns:a16="http://schemas.microsoft.com/office/drawing/2014/main" id="{519109F1-9A8A-40EE-A628-C50A2EF8977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9" name="Rechthoek 118">
              <a:extLst>
                <a:ext uri="{FF2B5EF4-FFF2-40B4-BE49-F238E27FC236}">
                  <a16:creationId xmlns:a16="http://schemas.microsoft.com/office/drawing/2014/main" id="{1563674D-5735-4910-813E-D37A95FDB85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0" name="Groep 119">
              <a:extLst>
                <a:ext uri="{FF2B5EF4-FFF2-40B4-BE49-F238E27FC236}">
                  <a16:creationId xmlns:a16="http://schemas.microsoft.com/office/drawing/2014/main" id="{9DEB9494-BA1A-4798-90C6-F5DD28D2F969}"/>
                </a:ext>
              </a:extLst>
            </p:cNvPr>
            <p:cNvGrpSpPr/>
            <p:nvPr userDrawn="1"/>
          </p:nvGrpSpPr>
          <p:grpSpPr>
            <a:xfrm>
              <a:off x="12757282" y="2184550"/>
              <a:ext cx="825500" cy="209550"/>
              <a:chOff x="13504624" y="2482850"/>
              <a:chExt cx="825500" cy="209550"/>
            </a:xfrm>
          </p:grpSpPr>
          <p:sp>
            <p:nvSpPr>
              <p:cNvPr id="126" name="Rechthoek 125">
                <a:extLst>
                  <a:ext uri="{FF2B5EF4-FFF2-40B4-BE49-F238E27FC236}">
                    <a16:creationId xmlns:a16="http://schemas.microsoft.com/office/drawing/2014/main" id="{44B34948-9946-4C94-9AF7-02B9272901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27" name="Rechte verbindingslijn 126">
                <a:extLst>
                  <a:ext uri="{FF2B5EF4-FFF2-40B4-BE49-F238E27FC236}">
                    <a16:creationId xmlns:a16="http://schemas.microsoft.com/office/drawing/2014/main" id="{D8206913-A5AF-4738-8A45-6061E6F4211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8" name="Gelijkbenige driehoek 127">
                <a:extLst>
                  <a:ext uri="{FF2B5EF4-FFF2-40B4-BE49-F238E27FC236}">
                    <a16:creationId xmlns:a16="http://schemas.microsoft.com/office/drawing/2014/main" id="{05C8F3AB-BA74-478D-8577-E60182B41EA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21" name="Rechte verbindingslijn 120">
              <a:extLst>
                <a:ext uri="{FF2B5EF4-FFF2-40B4-BE49-F238E27FC236}">
                  <a16:creationId xmlns:a16="http://schemas.microsoft.com/office/drawing/2014/main" id="{0E748A4E-043C-4103-BD56-68121CACEBA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2" name="Groep 121">
              <a:extLst>
                <a:ext uri="{FF2B5EF4-FFF2-40B4-BE49-F238E27FC236}">
                  <a16:creationId xmlns:a16="http://schemas.microsoft.com/office/drawing/2014/main" id="{94470644-5423-4046-A427-8AFB057AD58F}"/>
                </a:ext>
              </a:extLst>
            </p:cNvPr>
            <p:cNvGrpSpPr/>
            <p:nvPr userDrawn="1"/>
          </p:nvGrpSpPr>
          <p:grpSpPr>
            <a:xfrm>
              <a:off x="12751697" y="1147804"/>
              <a:ext cx="289372" cy="314992"/>
              <a:chOff x="7322769" y="-310267"/>
              <a:chExt cx="289372" cy="314992"/>
            </a:xfrm>
          </p:grpSpPr>
          <p:sp>
            <p:nvSpPr>
              <p:cNvPr id="123" name="Rechthoek 122">
                <a:extLst>
                  <a:ext uri="{FF2B5EF4-FFF2-40B4-BE49-F238E27FC236}">
                    <a16:creationId xmlns:a16="http://schemas.microsoft.com/office/drawing/2014/main" id="{F8D5CEAB-BBBB-4E8C-9202-A606DD14A5B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24" name="Rechthoek 123">
                <a:extLst>
                  <a:ext uri="{FF2B5EF4-FFF2-40B4-BE49-F238E27FC236}">
                    <a16:creationId xmlns:a16="http://schemas.microsoft.com/office/drawing/2014/main" id="{32D9D0FD-361F-4F40-92EF-1F7AAEEFF0A4}"/>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25" name="Rechthoek 124">
                <a:extLst>
                  <a:ext uri="{FF2B5EF4-FFF2-40B4-BE49-F238E27FC236}">
                    <a16:creationId xmlns:a16="http://schemas.microsoft.com/office/drawing/2014/main" id="{67A1B84C-C62F-4037-AA1F-671F278912E2}"/>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5744250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FIEK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4B6D81E7-DCCD-4DB2-8E57-BCD03FC6807B}"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GRAFIEK 2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8"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grafiek 17">
            <a:extLst>
              <a:ext uri="{FF2B5EF4-FFF2-40B4-BE49-F238E27FC236}">
                <a16:creationId xmlns:a16="http://schemas.microsoft.com/office/drawing/2014/main" id="{D6C0AB07-93B4-4F3A-87B2-5D34C4756313}"/>
              </a:ext>
            </a:extLst>
          </p:cNvPr>
          <p:cNvSpPr>
            <a:spLocks noGrp="1"/>
          </p:cNvSpPr>
          <p:nvPr>
            <p:ph type="chart" sz="quarter" idx="17" hasCustomPrompt="1"/>
          </p:nvPr>
        </p:nvSpPr>
        <p:spPr>
          <a:xfrm>
            <a:off x="539750"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78" name="Instructie">
            <a:extLst>
              <a:ext uri="{FF2B5EF4-FFF2-40B4-BE49-F238E27FC236}">
                <a16:creationId xmlns:a16="http://schemas.microsoft.com/office/drawing/2014/main" id="{F67437EB-2DAF-4056-A160-EEBE72F1EFCD}"/>
              </a:ext>
            </a:extLst>
          </p:cNvPr>
          <p:cNvGrpSpPr/>
          <p:nvPr userDrawn="1"/>
        </p:nvGrpSpPr>
        <p:grpSpPr>
          <a:xfrm>
            <a:off x="12389714" y="5221437"/>
            <a:ext cx="3183677" cy="1636565"/>
            <a:chOff x="12389714" y="4327164"/>
            <a:chExt cx="3183677" cy="1636565"/>
          </a:xfrm>
        </p:grpSpPr>
        <p:cxnSp>
          <p:nvCxnSpPr>
            <p:cNvPr id="79" name="Rechte verbindingslijn 78">
              <a:extLst>
                <a:ext uri="{FF2B5EF4-FFF2-40B4-BE49-F238E27FC236}">
                  <a16:creationId xmlns:a16="http://schemas.microsoft.com/office/drawing/2014/main" id="{2EDBAF60-EA64-49D9-94C0-A47816BEBE76}"/>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80" name="Rechthoek 79">
              <a:extLst>
                <a:ext uri="{FF2B5EF4-FFF2-40B4-BE49-F238E27FC236}">
                  <a16:creationId xmlns:a16="http://schemas.microsoft.com/office/drawing/2014/main" id="{768280BB-EAEC-4B3D-B183-0664D79E81F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81" name="Ovaal 80">
              <a:extLst>
                <a:ext uri="{FF2B5EF4-FFF2-40B4-BE49-F238E27FC236}">
                  <a16:creationId xmlns:a16="http://schemas.microsoft.com/office/drawing/2014/main" id="{E6F2D3B6-D198-463C-8E74-6ABBFD4C1355}"/>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2" name="Rechte verbindingslijn 81">
              <a:extLst>
                <a:ext uri="{FF2B5EF4-FFF2-40B4-BE49-F238E27FC236}">
                  <a16:creationId xmlns:a16="http://schemas.microsoft.com/office/drawing/2014/main" id="{763E7DD2-C917-4DB0-A3E0-BC4886EA7BD9}"/>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83" name="Rechthoek 82">
              <a:extLst>
                <a:ext uri="{FF2B5EF4-FFF2-40B4-BE49-F238E27FC236}">
                  <a16:creationId xmlns:a16="http://schemas.microsoft.com/office/drawing/2014/main" id="{D53D4FB0-0A20-44CE-9F4F-7630B2AC631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84" name="Groep 83">
              <a:extLst>
                <a:ext uri="{FF2B5EF4-FFF2-40B4-BE49-F238E27FC236}">
                  <a16:creationId xmlns:a16="http://schemas.microsoft.com/office/drawing/2014/main" id="{DD5D6438-7AAC-489C-9750-59FE5C621AF0}"/>
                </a:ext>
              </a:extLst>
            </p:cNvPr>
            <p:cNvGrpSpPr/>
            <p:nvPr userDrawn="1"/>
          </p:nvGrpSpPr>
          <p:grpSpPr>
            <a:xfrm>
              <a:off x="12755394" y="5222855"/>
              <a:ext cx="1714530" cy="639425"/>
              <a:chOff x="12757283" y="4365594"/>
              <a:chExt cx="1714530" cy="639425"/>
            </a:xfrm>
          </p:grpSpPr>
          <p:sp>
            <p:nvSpPr>
              <p:cNvPr id="85" name="Rechthoek 84">
                <a:extLst>
                  <a:ext uri="{FF2B5EF4-FFF2-40B4-BE49-F238E27FC236}">
                    <a16:creationId xmlns:a16="http://schemas.microsoft.com/office/drawing/2014/main" id="{68A5D004-ED1D-4092-ADE4-99B275C81ED2}"/>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5743182D-B50B-43DE-A494-AB7591D72297}"/>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7" name="Tekstvak 86">
                <a:extLst>
                  <a:ext uri="{FF2B5EF4-FFF2-40B4-BE49-F238E27FC236}">
                    <a16:creationId xmlns:a16="http://schemas.microsoft.com/office/drawing/2014/main" id="{A26C2928-6048-400A-AB38-A6D5F6B6446D}"/>
                  </a:ext>
                </a:extLst>
              </p:cNvPr>
              <p:cNvSpPr txBox="1"/>
              <p:nvPr userDrawn="1"/>
            </p:nvSpPr>
            <p:spPr>
              <a:xfrm>
                <a:off x="12997648" y="4404704"/>
                <a:ext cx="1248154"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88" name="Tekstvak 87">
                <a:extLst>
                  <a:ext uri="{FF2B5EF4-FFF2-40B4-BE49-F238E27FC236}">
                    <a16:creationId xmlns:a16="http://schemas.microsoft.com/office/drawing/2014/main" id="{63C6E421-4B7E-42D3-8483-95E18C9E9392}"/>
                  </a:ext>
                </a:extLst>
              </p:cNvPr>
              <p:cNvSpPr txBox="1"/>
              <p:nvPr userDrawn="1"/>
            </p:nvSpPr>
            <p:spPr>
              <a:xfrm>
                <a:off x="12984219" y="4725830"/>
                <a:ext cx="1274711"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89" name="Picture 3">
                <a:extLst>
                  <a:ext uri="{FF2B5EF4-FFF2-40B4-BE49-F238E27FC236}">
                    <a16:creationId xmlns:a16="http://schemas.microsoft.com/office/drawing/2014/main" id="{2C3C145B-7B4D-4792-9C83-E69DCB1556E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0" name="Groep 89">
                <a:extLst>
                  <a:ext uri="{FF2B5EF4-FFF2-40B4-BE49-F238E27FC236}">
                    <a16:creationId xmlns:a16="http://schemas.microsoft.com/office/drawing/2014/main" id="{A23F1B3E-F1B1-4914-9C25-8B4A517CC41A}"/>
                  </a:ext>
                </a:extLst>
              </p:cNvPr>
              <p:cNvGrpSpPr/>
              <p:nvPr userDrawn="1"/>
            </p:nvGrpSpPr>
            <p:grpSpPr>
              <a:xfrm>
                <a:off x="12831198" y="4432250"/>
                <a:ext cx="139861" cy="152244"/>
                <a:chOff x="12574450" y="6053892"/>
                <a:chExt cx="169232" cy="184215"/>
              </a:xfrm>
            </p:grpSpPr>
            <p:sp>
              <p:nvSpPr>
                <p:cNvPr id="113" name="Rechthoek 112">
                  <a:extLst>
                    <a:ext uri="{FF2B5EF4-FFF2-40B4-BE49-F238E27FC236}">
                      <a16:creationId xmlns:a16="http://schemas.microsoft.com/office/drawing/2014/main" id="{525BD392-BAAD-4498-8F5C-4FAAE98CE4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114" name="Rechthoek 113">
                  <a:extLst>
                    <a:ext uri="{FF2B5EF4-FFF2-40B4-BE49-F238E27FC236}">
                      <a16:creationId xmlns:a16="http://schemas.microsoft.com/office/drawing/2014/main" id="{EAD99029-5564-4A6B-8672-C10C25BDEE0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115" name="Rechthoek 114">
                  <a:extLst>
                    <a:ext uri="{FF2B5EF4-FFF2-40B4-BE49-F238E27FC236}">
                      <a16:creationId xmlns:a16="http://schemas.microsoft.com/office/drawing/2014/main" id="{358BAB46-1D52-41C4-9232-31E7511228E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grpSp>
          <p:grpSp>
            <p:nvGrpSpPr>
              <p:cNvPr id="91" name="Groep 90">
                <a:extLst>
                  <a:ext uri="{FF2B5EF4-FFF2-40B4-BE49-F238E27FC236}">
                    <a16:creationId xmlns:a16="http://schemas.microsoft.com/office/drawing/2014/main" id="{912ECEA6-9428-44D0-B001-2E81746A1475}"/>
                  </a:ext>
                </a:extLst>
              </p:cNvPr>
              <p:cNvGrpSpPr/>
              <p:nvPr userDrawn="1"/>
            </p:nvGrpSpPr>
            <p:grpSpPr>
              <a:xfrm>
                <a:off x="12831198" y="4748585"/>
                <a:ext cx="184916" cy="120210"/>
                <a:chOff x="8815516" y="1076284"/>
                <a:chExt cx="503174" cy="327105"/>
              </a:xfrm>
            </p:grpSpPr>
            <p:sp>
              <p:nvSpPr>
                <p:cNvPr id="92" name="Rechthoek 91">
                  <a:extLst>
                    <a:ext uri="{FF2B5EF4-FFF2-40B4-BE49-F238E27FC236}">
                      <a16:creationId xmlns:a16="http://schemas.microsoft.com/office/drawing/2014/main" id="{F3AEBE6E-AE0D-4023-8548-26C8A9CC493A}"/>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93" name="Groep 92">
                  <a:extLst>
                    <a:ext uri="{FF2B5EF4-FFF2-40B4-BE49-F238E27FC236}">
                      <a16:creationId xmlns:a16="http://schemas.microsoft.com/office/drawing/2014/main" id="{D1A9942D-C18B-4B7B-9266-5D54D4E27A00}"/>
                    </a:ext>
                  </a:extLst>
                </p:cNvPr>
                <p:cNvGrpSpPr/>
                <p:nvPr userDrawn="1"/>
              </p:nvGrpSpPr>
              <p:grpSpPr>
                <a:xfrm>
                  <a:off x="8815517" y="1076284"/>
                  <a:ext cx="503173" cy="327105"/>
                  <a:chOff x="1351248" y="-683635"/>
                  <a:chExt cx="503173" cy="327105"/>
                </a:xfrm>
              </p:grpSpPr>
              <p:grpSp>
                <p:nvGrpSpPr>
                  <p:cNvPr id="94" name="Groep 93">
                    <a:extLst>
                      <a:ext uri="{FF2B5EF4-FFF2-40B4-BE49-F238E27FC236}">
                        <a16:creationId xmlns:a16="http://schemas.microsoft.com/office/drawing/2014/main" id="{C4E41082-9233-48F4-B1A7-2DDF424D3E25}"/>
                      </a:ext>
                    </a:extLst>
                  </p:cNvPr>
                  <p:cNvGrpSpPr/>
                  <p:nvPr userDrawn="1"/>
                </p:nvGrpSpPr>
                <p:grpSpPr>
                  <a:xfrm>
                    <a:off x="1351248" y="-683635"/>
                    <a:ext cx="375186" cy="293652"/>
                    <a:chOff x="1094874" y="-884923"/>
                    <a:chExt cx="884668" cy="692417"/>
                  </a:xfrm>
                </p:grpSpPr>
                <p:sp>
                  <p:nvSpPr>
                    <p:cNvPr id="99" name="Rechthoek 98">
                      <a:extLst>
                        <a:ext uri="{FF2B5EF4-FFF2-40B4-BE49-F238E27FC236}">
                          <a16:creationId xmlns:a16="http://schemas.microsoft.com/office/drawing/2014/main" id="{D0A1C83E-C104-4D98-B8EC-5FF1FE041F43}"/>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100" name="Groep 99">
                      <a:extLst>
                        <a:ext uri="{FF2B5EF4-FFF2-40B4-BE49-F238E27FC236}">
                          <a16:creationId xmlns:a16="http://schemas.microsoft.com/office/drawing/2014/main" id="{E180BB26-8706-47BC-883E-C5AD3562461F}"/>
                        </a:ext>
                      </a:extLst>
                    </p:cNvPr>
                    <p:cNvGrpSpPr/>
                    <p:nvPr userDrawn="1"/>
                  </p:nvGrpSpPr>
                  <p:grpSpPr>
                    <a:xfrm>
                      <a:off x="1094874" y="-878306"/>
                      <a:ext cx="867364" cy="685800"/>
                      <a:chOff x="1094874" y="-878306"/>
                      <a:chExt cx="867364" cy="613611"/>
                    </a:xfrm>
                  </p:grpSpPr>
                  <p:cxnSp>
                    <p:nvCxnSpPr>
                      <p:cNvPr id="106" name="Rechte verbindingslijn 105">
                        <a:extLst>
                          <a:ext uri="{FF2B5EF4-FFF2-40B4-BE49-F238E27FC236}">
                            <a16:creationId xmlns:a16="http://schemas.microsoft.com/office/drawing/2014/main" id="{A63AAD2D-1317-4329-9949-242D546CF50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51ED230A-930C-46EF-8C3B-4073073E6D08}"/>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8" name="Groep 107">
                        <a:extLst>
                          <a:ext uri="{FF2B5EF4-FFF2-40B4-BE49-F238E27FC236}">
                            <a16:creationId xmlns:a16="http://schemas.microsoft.com/office/drawing/2014/main" id="{1E85A5DE-4774-4C02-AF2E-C58F87696177}"/>
                          </a:ext>
                        </a:extLst>
                      </p:cNvPr>
                      <p:cNvGrpSpPr/>
                      <p:nvPr userDrawn="1"/>
                    </p:nvGrpSpPr>
                    <p:grpSpPr>
                      <a:xfrm>
                        <a:off x="1270535" y="-878306"/>
                        <a:ext cx="526983" cy="613611"/>
                        <a:chOff x="1270535" y="-745959"/>
                        <a:chExt cx="526983" cy="481264"/>
                      </a:xfrm>
                    </p:grpSpPr>
                    <p:cxnSp>
                      <p:nvCxnSpPr>
                        <p:cNvPr id="109" name="Rechte verbindingslijn 108">
                          <a:extLst>
                            <a:ext uri="{FF2B5EF4-FFF2-40B4-BE49-F238E27FC236}">
                              <a16:creationId xmlns:a16="http://schemas.microsoft.com/office/drawing/2014/main" id="{CEB2E350-2C30-4B87-80D1-86E90B60D099}"/>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0" name="Rechte verbindingslijn 109">
                          <a:extLst>
                            <a:ext uri="{FF2B5EF4-FFF2-40B4-BE49-F238E27FC236}">
                              <a16:creationId xmlns:a16="http://schemas.microsoft.com/office/drawing/2014/main" id="{AE6E5DC3-ABBB-41B4-9E49-5CF8F3CBB8FA}"/>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1" name="Rechte verbindingslijn 110">
                          <a:extLst>
                            <a:ext uri="{FF2B5EF4-FFF2-40B4-BE49-F238E27FC236}">
                              <a16:creationId xmlns:a16="http://schemas.microsoft.com/office/drawing/2014/main" id="{DF483C48-AB7B-4718-B441-E23FB277D0C9}"/>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5E9C06BF-5C7E-424D-BB91-43058238E138}"/>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01" name="Rechte verbindingslijn 100">
                      <a:extLst>
                        <a:ext uri="{FF2B5EF4-FFF2-40B4-BE49-F238E27FC236}">
                          <a16:creationId xmlns:a16="http://schemas.microsoft.com/office/drawing/2014/main" id="{6757E799-7FCC-4C7F-A5BB-CA472D789A32}"/>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2" name="Groep 101">
                      <a:extLst>
                        <a:ext uri="{FF2B5EF4-FFF2-40B4-BE49-F238E27FC236}">
                          <a16:creationId xmlns:a16="http://schemas.microsoft.com/office/drawing/2014/main" id="{85D09361-5339-4805-810A-385EAA3E8F26}"/>
                        </a:ext>
                      </a:extLst>
                    </p:cNvPr>
                    <p:cNvGrpSpPr/>
                    <p:nvPr userDrawn="1"/>
                  </p:nvGrpSpPr>
                  <p:grpSpPr>
                    <a:xfrm>
                      <a:off x="1094874" y="-607596"/>
                      <a:ext cx="878306" cy="276726"/>
                      <a:chOff x="1106905" y="-607596"/>
                      <a:chExt cx="878307" cy="276726"/>
                    </a:xfrm>
                  </p:grpSpPr>
                  <p:cxnSp>
                    <p:nvCxnSpPr>
                      <p:cNvPr id="103" name="Rechte verbindingslijn 102">
                        <a:extLst>
                          <a:ext uri="{FF2B5EF4-FFF2-40B4-BE49-F238E27FC236}">
                            <a16:creationId xmlns:a16="http://schemas.microsoft.com/office/drawing/2014/main" id="{ACD16E84-86E2-4FF0-8A55-52C58150A5B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4" name="Rechte verbindingslijn 103">
                        <a:extLst>
                          <a:ext uri="{FF2B5EF4-FFF2-40B4-BE49-F238E27FC236}">
                            <a16:creationId xmlns:a16="http://schemas.microsoft.com/office/drawing/2014/main" id="{D4712522-3AA0-4B83-8512-641C8E6DB76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5" name="Rechte verbindingslijn 104">
                        <a:extLst>
                          <a:ext uri="{FF2B5EF4-FFF2-40B4-BE49-F238E27FC236}">
                            <a16:creationId xmlns:a16="http://schemas.microsoft.com/office/drawing/2014/main" id="{13CF9687-AE1D-45A5-939F-AC1E61975A7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95" name="Groep 94">
                    <a:extLst>
                      <a:ext uri="{FF2B5EF4-FFF2-40B4-BE49-F238E27FC236}">
                        <a16:creationId xmlns:a16="http://schemas.microsoft.com/office/drawing/2014/main" id="{C02116FA-757D-4219-9C15-5E13886DCDBA}"/>
                      </a:ext>
                    </a:extLst>
                  </p:cNvPr>
                  <p:cNvGrpSpPr/>
                  <p:nvPr userDrawn="1"/>
                </p:nvGrpSpPr>
                <p:grpSpPr>
                  <a:xfrm rot="2700000">
                    <a:off x="1605871" y="-605080"/>
                    <a:ext cx="90079" cy="407021"/>
                    <a:chOff x="3130062" y="-817193"/>
                    <a:chExt cx="131884" cy="595920"/>
                  </a:xfrm>
                  <a:solidFill>
                    <a:srgbClr val="3399FF"/>
                  </a:solidFill>
                </p:grpSpPr>
                <p:sp>
                  <p:nvSpPr>
                    <p:cNvPr id="96" name="Rechthoek 95">
                      <a:extLst>
                        <a:ext uri="{FF2B5EF4-FFF2-40B4-BE49-F238E27FC236}">
                          <a16:creationId xmlns:a16="http://schemas.microsoft.com/office/drawing/2014/main" id="{6D54E4D4-6CA8-440E-BAA8-0A2DD75EF4D0}"/>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97" name="Rechthoek: afgeronde bovenhoeken 96">
                      <a:extLst>
                        <a:ext uri="{FF2B5EF4-FFF2-40B4-BE49-F238E27FC236}">
                          <a16:creationId xmlns:a16="http://schemas.microsoft.com/office/drawing/2014/main" id="{1077E45D-CA25-4FC7-A3AE-070CB6CB45B3}"/>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98" name="Gelijkbenige driehoek 97">
                      <a:extLst>
                        <a:ext uri="{FF2B5EF4-FFF2-40B4-BE49-F238E27FC236}">
                          <a16:creationId xmlns:a16="http://schemas.microsoft.com/office/drawing/2014/main" id="{B1199412-3676-4958-B288-D2D2619955A7}"/>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grpSp>
      </p:grpSp>
      <p:grpSp>
        <p:nvGrpSpPr>
          <p:cNvPr id="116" name="Instructie">
            <a:extLst>
              <a:ext uri="{FF2B5EF4-FFF2-40B4-BE49-F238E27FC236}">
                <a16:creationId xmlns:a16="http://schemas.microsoft.com/office/drawing/2014/main" id="{FC08DA32-84DC-41B2-A5EE-E1843CA84C98}"/>
              </a:ext>
            </a:extLst>
          </p:cNvPr>
          <p:cNvGrpSpPr/>
          <p:nvPr userDrawn="1"/>
        </p:nvGrpSpPr>
        <p:grpSpPr>
          <a:xfrm>
            <a:off x="12391602" y="2"/>
            <a:ext cx="3183677" cy="2499789"/>
            <a:chOff x="12391601" y="0"/>
            <a:chExt cx="3183677" cy="2499789"/>
          </a:xfrm>
        </p:grpSpPr>
        <p:sp>
          <p:nvSpPr>
            <p:cNvPr id="117" name="Rechthoek 116">
              <a:extLst>
                <a:ext uri="{FF2B5EF4-FFF2-40B4-BE49-F238E27FC236}">
                  <a16:creationId xmlns:a16="http://schemas.microsoft.com/office/drawing/2014/main" id="{0752ACEC-9C9D-40ED-8526-DA25BE61EF7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18" name="Ovaal 117">
              <a:extLst>
                <a:ext uri="{FF2B5EF4-FFF2-40B4-BE49-F238E27FC236}">
                  <a16:creationId xmlns:a16="http://schemas.microsoft.com/office/drawing/2014/main" id="{0B043D28-88E6-4D0D-90D6-0CB9CBB202BE}"/>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9" name="Rechte verbindingslijn 118">
              <a:extLst>
                <a:ext uri="{FF2B5EF4-FFF2-40B4-BE49-F238E27FC236}">
                  <a16:creationId xmlns:a16="http://schemas.microsoft.com/office/drawing/2014/main" id="{F439A4EB-40D3-42B9-8982-7A24817D0FF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20" name="Rechte verbindingslijn 119">
              <a:extLst>
                <a:ext uri="{FF2B5EF4-FFF2-40B4-BE49-F238E27FC236}">
                  <a16:creationId xmlns:a16="http://schemas.microsoft.com/office/drawing/2014/main" id="{174551AE-B812-475E-9C8D-EDBC06AF1CF1}"/>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21" name="Rechthoek 120">
              <a:extLst>
                <a:ext uri="{FF2B5EF4-FFF2-40B4-BE49-F238E27FC236}">
                  <a16:creationId xmlns:a16="http://schemas.microsoft.com/office/drawing/2014/main" id="{9B95EBBE-6D90-41E5-81E5-73CBFE94C9B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22" name="Ovaal 121">
              <a:extLst>
                <a:ext uri="{FF2B5EF4-FFF2-40B4-BE49-F238E27FC236}">
                  <a16:creationId xmlns:a16="http://schemas.microsoft.com/office/drawing/2014/main" id="{2F693204-8FC2-4262-9B8D-C8A1DC78A83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3" name="Rechthoek 122">
              <a:extLst>
                <a:ext uri="{FF2B5EF4-FFF2-40B4-BE49-F238E27FC236}">
                  <a16:creationId xmlns:a16="http://schemas.microsoft.com/office/drawing/2014/main" id="{9D910C84-64BC-4B44-99CC-D518BDABB44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4" name="Groep 123">
              <a:extLst>
                <a:ext uri="{FF2B5EF4-FFF2-40B4-BE49-F238E27FC236}">
                  <a16:creationId xmlns:a16="http://schemas.microsoft.com/office/drawing/2014/main" id="{029F6E04-D581-45EE-9126-1E41E7A0D32C}"/>
                </a:ext>
              </a:extLst>
            </p:cNvPr>
            <p:cNvGrpSpPr/>
            <p:nvPr userDrawn="1"/>
          </p:nvGrpSpPr>
          <p:grpSpPr>
            <a:xfrm>
              <a:off x="12757282" y="2184550"/>
              <a:ext cx="825500" cy="209550"/>
              <a:chOff x="13504624" y="2482850"/>
              <a:chExt cx="825500" cy="209550"/>
            </a:xfrm>
          </p:grpSpPr>
          <p:sp>
            <p:nvSpPr>
              <p:cNvPr id="130" name="Rechthoek 129">
                <a:extLst>
                  <a:ext uri="{FF2B5EF4-FFF2-40B4-BE49-F238E27FC236}">
                    <a16:creationId xmlns:a16="http://schemas.microsoft.com/office/drawing/2014/main" id="{DF37DFEE-AFA8-4127-808D-5D280B38CD7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31" name="Rechte verbindingslijn 130">
                <a:extLst>
                  <a:ext uri="{FF2B5EF4-FFF2-40B4-BE49-F238E27FC236}">
                    <a16:creationId xmlns:a16="http://schemas.microsoft.com/office/drawing/2014/main" id="{CC68BF2A-7AAB-480B-A561-A11C86618FD7}"/>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2" name="Gelijkbenige driehoek 131">
                <a:extLst>
                  <a:ext uri="{FF2B5EF4-FFF2-40B4-BE49-F238E27FC236}">
                    <a16:creationId xmlns:a16="http://schemas.microsoft.com/office/drawing/2014/main" id="{48B07EF8-B072-4AE3-9581-30A74C6EED4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25" name="Rechte verbindingslijn 124">
              <a:extLst>
                <a:ext uri="{FF2B5EF4-FFF2-40B4-BE49-F238E27FC236}">
                  <a16:creationId xmlns:a16="http://schemas.microsoft.com/office/drawing/2014/main" id="{EEC339AF-A3F8-44EE-9B60-F88860AA70CE}"/>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6" name="Groep 125">
              <a:extLst>
                <a:ext uri="{FF2B5EF4-FFF2-40B4-BE49-F238E27FC236}">
                  <a16:creationId xmlns:a16="http://schemas.microsoft.com/office/drawing/2014/main" id="{C7530F7E-690B-43D8-B458-38660E687B16}"/>
                </a:ext>
              </a:extLst>
            </p:cNvPr>
            <p:cNvGrpSpPr/>
            <p:nvPr userDrawn="1"/>
          </p:nvGrpSpPr>
          <p:grpSpPr>
            <a:xfrm>
              <a:off x="12751697" y="1147804"/>
              <a:ext cx="289372" cy="314992"/>
              <a:chOff x="7322769" y="-310267"/>
              <a:chExt cx="289372" cy="314992"/>
            </a:xfrm>
          </p:grpSpPr>
          <p:sp>
            <p:nvSpPr>
              <p:cNvPr id="127" name="Rechthoek 126">
                <a:extLst>
                  <a:ext uri="{FF2B5EF4-FFF2-40B4-BE49-F238E27FC236}">
                    <a16:creationId xmlns:a16="http://schemas.microsoft.com/office/drawing/2014/main" id="{D4D76B4B-838B-40FF-A231-2A9F0116A20B}"/>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28" name="Rechthoek 127">
                <a:extLst>
                  <a:ext uri="{FF2B5EF4-FFF2-40B4-BE49-F238E27FC236}">
                    <a16:creationId xmlns:a16="http://schemas.microsoft.com/office/drawing/2014/main" id="{766D3481-A145-4D5E-BF55-6E1527E3CF10}"/>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29" name="Rechthoek 128">
                <a:extLst>
                  <a:ext uri="{FF2B5EF4-FFF2-40B4-BE49-F238E27FC236}">
                    <a16:creationId xmlns:a16="http://schemas.microsoft.com/office/drawing/2014/main" id="{58548B2C-AD7E-4C04-844D-4F3D9992D25B}"/>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17232378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GRAFIEK 6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3E4DCB04-F49E-4018-BD5F-096924CFC62F}"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GRAFIEK 6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8188001"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0" y="333899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7828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8" name="Rechthoek 37">
              <a:extLst>
                <a:ext uri="{FF2B5EF4-FFF2-40B4-BE49-F238E27FC236}">
                  <a16:creationId xmlns:a16="http://schemas.microsoft.com/office/drawing/2014/main" id="{BAA97654-86F5-45C9-B8DC-C6648BCE9369}"/>
                </a:ext>
              </a:extLst>
            </p:cNvPr>
            <p:cNvSpPr/>
            <p:nvPr userDrawn="1"/>
          </p:nvSpPr>
          <p:spPr>
            <a:xfrm>
              <a:off x="4004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8188000"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6" name="Tijdelijke aanduiding voor grafiek 17">
            <a:extLst>
              <a:ext uri="{FF2B5EF4-FFF2-40B4-BE49-F238E27FC236}">
                <a16:creationId xmlns:a16="http://schemas.microsoft.com/office/drawing/2014/main" id="{6424E38A-BE64-4611-8EA6-56DEDA6F1288}"/>
              </a:ext>
            </a:extLst>
          </p:cNvPr>
          <p:cNvSpPr>
            <a:spLocks noGrp="1"/>
          </p:cNvSpPr>
          <p:nvPr>
            <p:ph type="chart" sz="quarter" idx="18" hasCustomPrompt="1"/>
          </p:nvPr>
        </p:nvSpPr>
        <p:spPr>
          <a:xfrm>
            <a:off x="4364001"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7" name="Tijdelijke aanduiding voor grafiek 17">
            <a:extLst>
              <a:ext uri="{FF2B5EF4-FFF2-40B4-BE49-F238E27FC236}">
                <a16:creationId xmlns:a16="http://schemas.microsoft.com/office/drawing/2014/main" id="{B1695F49-FFC5-4D3F-8068-C37855441895}"/>
              </a:ext>
            </a:extLst>
          </p:cNvPr>
          <p:cNvSpPr>
            <a:spLocks noGrp="1"/>
          </p:cNvSpPr>
          <p:nvPr>
            <p:ph type="chart" sz="quarter" idx="19" hasCustomPrompt="1"/>
          </p:nvPr>
        </p:nvSpPr>
        <p:spPr>
          <a:xfrm>
            <a:off x="4364000"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9" name="Tijdelijke aanduiding voor grafiek 17">
            <a:extLst>
              <a:ext uri="{FF2B5EF4-FFF2-40B4-BE49-F238E27FC236}">
                <a16:creationId xmlns:a16="http://schemas.microsoft.com/office/drawing/2014/main" id="{003DE491-9024-41A1-8C44-E5F48C4282C7}"/>
              </a:ext>
            </a:extLst>
          </p:cNvPr>
          <p:cNvSpPr>
            <a:spLocks noGrp="1"/>
          </p:cNvSpPr>
          <p:nvPr>
            <p:ph type="chart" sz="quarter" idx="20" hasCustomPrompt="1"/>
          </p:nvPr>
        </p:nvSpPr>
        <p:spPr>
          <a:xfrm>
            <a:off x="540128"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40" name="Tijdelijke aanduiding voor grafiek 17">
            <a:extLst>
              <a:ext uri="{FF2B5EF4-FFF2-40B4-BE49-F238E27FC236}">
                <a16:creationId xmlns:a16="http://schemas.microsoft.com/office/drawing/2014/main" id="{A6D5BEE5-306C-4A04-8C32-A0EF58D14A11}"/>
              </a:ext>
            </a:extLst>
          </p:cNvPr>
          <p:cNvSpPr>
            <a:spLocks noGrp="1"/>
          </p:cNvSpPr>
          <p:nvPr>
            <p:ph type="chart" sz="quarter" idx="21" hasCustomPrompt="1"/>
          </p:nvPr>
        </p:nvSpPr>
        <p:spPr>
          <a:xfrm>
            <a:off x="540127"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97" name="Instructie">
            <a:extLst>
              <a:ext uri="{FF2B5EF4-FFF2-40B4-BE49-F238E27FC236}">
                <a16:creationId xmlns:a16="http://schemas.microsoft.com/office/drawing/2014/main" id="{13194E2B-853F-42B4-BC09-4D7932FAFD06}"/>
              </a:ext>
            </a:extLst>
          </p:cNvPr>
          <p:cNvGrpSpPr/>
          <p:nvPr userDrawn="1"/>
        </p:nvGrpSpPr>
        <p:grpSpPr>
          <a:xfrm>
            <a:off x="12389714" y="5221437"/>
            <a:ext cx="3183677" cy="1636565"/>
            <a:chOff x="12389714" y="4327164"/>
            <a:chExt cx="3183677" cy="1636565"/>
          </a:xfrm>
        </p:grpSpPr>
        <p:cxnSp>
          <p:nvCxnSpPr>
            <p:cNvPr id="98" name="Rechte verbindingslijn 97">
              <a:extLst>
                <a:ext uri="{FF2B5EF4-FFF2-40B4-BE49-F238E27FC236}">
                  <a16:creationId xmlns:a16="http://schemas.microsoft.com/office/drawing/2014/main" id="{BB38122D-C6F3-4332-8056-8341B6673B4D}"/>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99" name="Rechthoek 98">
              <a:extLst>
                <a:ext uri="{FF2B5EF4-FFF2-40B4-BE49-F238E27FC236}">
                  <a16:creationId xmlns:a16="http://schemas.microsoft.com/office/drawing/2014/main" id="{19F9BA8B-41E4-405B-9E81-1C20E9163CE8}"/>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100" name="Ovaal 99">
              <a:extLst>
                <a:ext uri="{FF2B5EF4-FFF2-40B4-BE49-F238E27FC236}">
                  <a16:creationId xmlns:a16="http://schemas.microsoft.com/office/drawing/2014/main" id="{29505446-F8AC-4043-B951-C4913699006F}"/>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FD4A8074-C572-44B8-8821-4B2172E143D2}"/>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102" name="Rechthoek 101">
              <a:extLst>
                <a:ext uri="{FF2B5EF4-FFF2-40B4-BE49-F238E27FC236}">
                  <a16:creationId xmlns:a16="http://schemas.microsoft.com/office/drawing/2014/main" id="{1DAFFA69-F1A9-458F-A6A0-1AE4AA0766CC}"/>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103" name="Groep 102">
              <a:extLst>
                <a:ext uri="{FF2B5EF4-FFF2-40B4-BE49-F238E27FC236}">
                  <a16:creationId xmlns:a16="http://schemas.microsoft.com/office/drawing/2014/main" id="{4C675318-3168-4CD1-B365-5FCFDD301AC8}"/>
                </a:ext>
              </a:extLst>
            </p:cNvPr>
            <p:cNvGrpSpPr/>
            <p:nvPr userDrawn="1"/>
          </p:nvGrpSpPr>
          <p:grpSpPr>
            <a:xfrm>
              <a:off x="12755394" y="5222855"/>
              <a:ext cx="1714530" cy="639425"/>
              <a:chOff x="12757283" y="4365594"/>
              <a:chExt cx="1714530" cy="639425"/>
            </a:xfrm>
          </p:grpSpPr>
          <p:sp>
            <p:nvSpPr>
              <p:cNvPr id="104" name="Rechthoek 103">
                <a:extLst>
                  <a:ext uri="{FF2B5EF4-FFF2-40B4-BE49-F238E27FC236}">
                    <a16:creationId xmlns:a16="http://schemas.microsoft.com/office/drawing/2014/main" id="{DC726EED-46A6-4A9C-9304-2BEBB7B05955}"/>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5" name="Rechthoek 104">
                <a:extLst>
                  <a:ext uri="{FF2B5EF4-FFF2-40B4-BE49-F238E27FC236}">
                    <a16:creationId xmlns:a16="http://schemas.microsoft.com/office/drawing/2014/main" id="{99F5FC6A-F758-454A-8293-0BE72EF0D051}"/>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6" name="Tekstvak 105">
                <a:extLst>
                  <a:ext uri="{FF2B5EF4-FFF2-40B4-BE49-F238E27FC236}">
                    <a16:creationId xmlns:a16="http://schemas.microsoft.com/office/drawing/2014/main" id="{D3B773C7-6FCD-42D9-AF45-254BCFEC5B96}"/>
                  </a:ext>
                </a:extLst>
              </p:cNvPr>
              <p:cNvSpPr txBox="1"/>
              <p:nvPr userDrawn="1"/>
            </p:nvSpPr>
            <p:spPr>
              <a:xfrm>
                <a:off x="12997648" y="4404704"/>
                <a:ext cx="1248154"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107" name="Tekstvak 106">
                <a:extLst>
                  <a:ext uri="{FF2B5EF4-FFF2-40B4-BE49-F238E27FC236}">
                    <a16:creationId xmlns:a16="http://schemas.microsoft.com/office/drawing/2014/main" id="{609E0AD4-B3AF-4B98-89EB-7CD241DE5A74}"/>
                  </a:ext>
                </a:extLst>
              </p:cNvPr>
              <p:cNvSpPr txBox="1"/>
              <p:nvPr userDrawn="1"/>
            </p:nvSpPr>
            <p:spPr>
              <a:xfrm>
                <a:off x="12984219" y="4725830"/>
                <a:ext cx="1274711" cy="216982"/>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108" name="Picture 3">
                <a:extLst>
                  <a:ext uri="{FF2B5EF4-FFF2-40B4-BE49-F238E27FC236}">
                    <a16:creationId xmlns:a16="http://schemas.microsoft.com/office/drawing/2014/main" id="{A58C0630-4923-44D0-A4D3-4AB96A8211D4}"/>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9" name="Groep 108">
                <a:extLst>
                  <a:ext uri="{FF2B5EF4-FFF2-40B4-BE49-F238E27FC236}">
                    <a16:creationId xmlns:a16="http://schemas.microsoft.com/office/drawing/2014/main" id="{45E1B365-B2CE-4BEB-9A3A-46D96EB15E7D}"/>
                  </a:ext>
                </a:extLst>
              </p:cNvPr>
              <p:cNvGrpSpPr/>
              <p:nvPr userDrawn="1"/>
            </p:nvGrpSpPr>
            <p:grpSpPr>
              <a:xfrm>
                <a:off x="12831198" y="4432250"/>
                <a:ext cx="139861" cy="152244"/>
                <a:chOff x="12574450" y="6053892"/>
                <a:chExt cx="169232" cy="184215"/>
              </a:xfrm>
            </p:grpSpPr>
            <p:sp>
              <p:nvSpPr>
                <p:cNvPr id="132" name="Rechthoek 131">
                  <a:extLst>
                    <a:ext uri="{FF2B5EF4-FFF2-40B4-BE49-F238E27FC236}">
                      <a16:creationId xmlns:a16="http://schemas.microsoft.com/office/drawing/2014/main" id="{F38A0856-2EDB-4BB8-9560-5512F6E5AAB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133" name="Rechthoek 132">
                  <a:extLst>
                    <a:ext uri="{FF2B5EF4-FFF2-40B4-BE49-F238E27FC236}">
                      <a16:creationId xmlns:a16="http://schemas.microsoft.com/office/drawing/2014/main" id="{D7255083-46DC-4D4C-AF5E-2BA28943E4AA}"/>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sp>
              <p:nvSpPr>
                <p:cNvPr id="134" name="Rechthoek 133">
                  <a:extLst>
                    <a:ext uri="{FF2B5EF4-FFF2-40B4-BE49-F238E27FC236}">
                      <a16:creationId xmlns:a16="http://schemas.microsoft.com/office/drawing/2014/main" id="{A3EDB608-9F71-4CBD-B713-BCDB53A58BEE}"/>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99" noProof="0">
                    <a:solidFill>
                      <a:schemeClr val="tx2"/>
                    </a:solidFill>
                    <a:latin typeface="+mn-lt"/>
                  </a:endParaRPr>
                </a:p>
              </p:txBody>
            </p:sp>
          </p:grpSp>
          <p:grpSp>
            <p:nvGrpSpPr>
              <p:cNvPr id="110" name="Groep 109">
                <a:extLst>
                  <a:ext uri="{FF2B5EF4-FFF2-40B4-BE49-F238E27FC236}">
                    <a16:creationId xmlns:a16="http://schemas.microsoft.com/office/drawing/2014/main" id="{0CDB952C-DB40-4191-8EEB-A68F2253C313}"/>
                  </a:ext>
                </a:extLst>
              </p:cNvPr>
              <p:cNvGrpSpPr/>
              <p:nvPr userDrawn="1"/>
            </p:nvGrpSpPr>
            <p:grpSpPr>
              <a:xfrm>
                <a:off x="12831198" y="4748585"/>
                <a:ext cx="184916" cy="120210"/>
                <a:chOff x="8815516" y="1076284"/>
                <a:chExt cx="503174" cy="327105"/>
              </a:xfrm>
            </p:grpSpPr>
            <p:sp>
              <p:nvSpPr>
                <p:cNvPr id="111" name="Rechthoek 110">
                  <a:extLst>
                    <a:ext uri="{FF2B5EF4-FFF2-40B4-BE49-F238E27FC236}">
                      <a16:creationId xmlns:a16="http://schemas.microsoft.com/office/drawing/2014/main" id="{C2161DF8-E636-46F5-85DE-AECABB6833E9}"/>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112" name="Groep 111">
                  <a:extLst>
                    <a:ext uri="{FF2B5EF4-FFF2-40B4-BE49-F238E27FC236}">
                      <a16:creationId xmlns:a16="http://schemas.microsoft.com/office/drawing/2014/main" id="{06A1549E-87A1-4D4F-8C5E-79E3B1E0C377}"/>
                    </a:ext>
                  </a:extLst>
                </p:cNvPr>
                <p:cNvGrpSpPr/>
                <p:nvPr userDrawn="1"/>
              </p:nvGrpSpPr>
              <p:grpSpPr>
                <a:xfrm>
                  <a:off x="8815517" y="1076284"/>
                  <a:ext cx="503173" cy="327105"/>
                  <a:chOff x="1351248" y="-683635"/>
                  <a:chExt cx="503173" cy="327105"/>
                </a:xfrm>
              </p:grpSpPr>
              <p:grpSp>
                <p:nvGrpSpPr>
                  <p:cNvPr id="113" name="Groep 112">
                    <a:extLst>
                      <a:ext uri="{FF2B5EF4-FFF2-40B4-BE49-F238E27FC236}">
                        <a16:creationId xmlns:a16="http://schemas.microsoft.com/office/drawing/2014/main" id="{0161C977-A0B3-42C9-AC5A-875BEF2CED93}"/>
                      </a:ext>
                    </a:extLst>
                  </p:cNvPr>
                  <p:cNvGrpSpPr/>
                  <p:nvPr userDrawn="1"/>
                </p:nvGrpSpPr>
                <p:grpSpPr>
                  <a:xfrm>
                    <a:off x="1351248" y="-683635"/>
                    <a:ext cx="375186" cy="293652"/>
                    <a:chOff x="1094874" y="-884923"/>
                    <a:chExt cx="884668" cy="692417"/>
                  </a:xfrm>
                </p:grpSpPr>
                <p:sp>
                  <p:nvSpPr>
                    <p:cNvPr id="118" name="Rechthoek 117">
                      <a:extLst>
                        <a:ext uri="{FF2B5EF4-FFF2-40B4-BE49-F238E27FC236}">
                          <a16:creationId xmlns:a16="http://schemas.microsoft.com/office/drawing/2014/main" id="{CC18F0A2-AEDD-49F0-9862-640BB3404DC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nvGrpSpPr>
                    <p:cNvPr id="119" name="Groep 118">
                      <a:extLst>
                        <a:ext uri="{FF2B5EF4-FFF2-40B4-BE49-F238E27FC236}">
                          <a16:creationId xmlns:a16="http://schemas.microsoft.com/office/drawing/2014/main" id="{393B2DA3-DF69-4684-8A63-239482C84FA1}"/>
                        </a:ext>
                      </a:extLst>
                    </p:cNvPr>
                    <p:cNvGrpSpPr/>
                    <p:nvPr userDrawn="1"/>
                  </p:nvGrpSpPr>
                  <p:grpSpPr>
                    <a:xfrm>
                      <a:off x="1094874" y="-878306"/>
                      <a:ext cx="867364" cy="685800"/>
                      <a:chOff x="1094874" y="-878306"/>
                      <a:chExt cx="867364" cy="613611"/>
                    </a:xfrm>
                  </p:grpSpPr>
                  <p:cxnSp>
                    <p:nvCxnSpPr>
                      <p:cNvPr id="125" name="Rechte verbindingslijn 124">
                        <a:extLst>
                          <a:ext uri="{FF2B5EF4-FFF2-40B4-BE49-F238E27FC236}">
                            <a16:creationId xmlns:a16="http://schemas.microsoft.com/office/drawing/2014/main" id="{20DD65CA-80E5-4855-8695-EE7C4C62F98C}"/>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A933C377-6266-41AC-BF4C-EC7DE0BBDC9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7" name="Groep 126">
                        <a:extLst>
                          <a:ext uri="{FF2B5EF4-FFF2-40B4-BE49-F238E27FC236}">
                            <a16:creationId xmlns:a16="http://schemas.microsoft.com/office/drawing/2014/main" id="{163726D5-FF0E-4C61-8B47-5160B44C43E6}"/>
                          </a:ext>
                        </a:extLst>
                      </p:cNvPr>
                      <p:cNvGrpSpPr/>
                      <p:nvPr userDrawn="1"/>
                    </p:nvGrpSpPr>
                    <p:grpSpPr>
                      <a:xfrm>
                        <a:off x="1270535" y="-878306"/>
                        <a:ext cx="526983" cy="613611"/>
                        <a:chOff x="1270535" y="-745959"/>
                        <a:chExt cx="526983" cy="481264"/>
                      </a:xfrm>
                    </p:grpSpPr>
                    <p:cxnSp>
                      <p:nvCxnSpPr>
                        <p:cNvPr id="128" name="Rechte verbindingslijn 127">
                          <a:extLst>
                            <a:ext uri="{FF2B5EF4-FFF2-40B4-BE49-F238E27FC236}">
                              <a16:creationId xmlns:a16="http://schemas.microsoft.com/office/drawing/2014/main" id="{0B0F1F99-07B3-4331-87E8-15F9E3B258F7}"/>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128">
                          <a:extLst>
                            <a:ext uri="{FF2B5EF4-FFF2-40B4-BE49-F238E27FC236}">
                              <a16:creationId xmlns:a16="http://schemas.microsoft.com/office/drawing/2014/main" id="{5ECE029D-9A31-4B73-B8E8-F78B300A5C8A}"/>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0" name="Rechte verbindingslijn 129">
                          <a:extLst>
                            <a:ext uri="{FF2B5EF4-FFF2-40B4-BE49-F238E27FC236}">
                              <a16:creationId xmlns:a16="http://schemas.microsoft.com/office/drawing/2014/main" id="{5E87E8F3-9D42-483F-9F00-9AC0C038B95E}"/>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130">
                          <a:extLst>
                            <a:ext uri="{FF2B5EF4-FFF2-40B4-BE49-F238E27FC236}">
                              <a16:creationId xmlns:a16="http://schemas.microsoft.com/office/drawing/2014/main" id="{4608F6C0-4407-4B97-94FB-5625E51084D1}"/>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0" name="Rechte verbindingslijn 119">
                      <a:extLst>
                        <a:ext uri="{FF2B5EF4-FFF2-40B4-BE49-F238E27FC236}">
                          <a16:creationId xmlns:a16="http://schemas.microsoft.com/office/drawing/2014/main" id="{5B70499F-C65C-4BC1-9E41-A643348FD62A}"/>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1" name="Groep 120">
                      <a:extLst>
                        <a:ext uri="{FF2B5EF4-FFF2-40B4-BE49-F238E27FC236}">
                          <a16:creationId xmlns:a16="http://schemas.microsoft.com/office/drawing/2014/main" id="{1F097A24-534A-45E0-8D16-3D4D8C784B5C}"/>
                        </a:ext>
                      </a:extLst>
                    </p:cNvPr>
                    <p:cNvGrpSpPr/>
                    <p:nvPr userDrawn="1"/>
                  </p:nvGrpSpPr>
                  <p:grpSpPr>
                    <a:xfrm>
                      <a:off x="1094874" y="-607596"/>
                      <a:ext cx="878306" cy="276726"/>
                      <a:chOff x="1106905" y="-607596"/>
                      <a:chExt cx="878307" cy="276726"/>
                    </a:xfrm>
                  </p:grpSpPr>
                  <p:cxnSp>
                    <p:nvCxnSpPr>
                      <p:cNvPr id="122" name="Rechte verbindingslijn 121">
                        <a:extLst>
                          <a:ext uri="{FF2B5EF4-FFF2-40B4-BE49-F238E27FC236}">
                            <a16:creationId xmlns:a16="http://schemas.microsoft.com/office/drawing/2014/main" id="{2B508780-F1D6-45AE-AE9F-FE4E879A8AC7}"/>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8CFB54E0-2121-449E-8411-EE333BC548B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F0C5FBE4-DD0A-4E06-A803-6229B3978A6D}"/>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4" name="Groep 113">
                    <a:extLst>
                      <a:ext uri="{FF2B5EF4-FFF2-40B4-BE49-F238E27FC236}">
                        <a16:creationId xmlns:a16="http://schemas.microsoft.com/office/drawing/2014/main" id="{2553409B-D858-44B2-AC4F-F49A642120D5}"/>
                      </a:ext>
                    </a:extLst>
                  </p:cNvPr>
                  <p:cNvGrpSpPr/>
                  <p:nvPr userDrawn="1"/>
                </p:nvGrpSpPr>
                <p:grpSpPr>
                  <a:xfrm rot="2700000">
                    <a:off x="1605871" y="-605080"/>
                    <a:ext cx="90079" cy="407021"/>
                    <a:chOff x="3130062" y="-817193"/>
                    <a:chExt cx="131884" cy="595920"/>
                  </a:xfrm>
                  <a:solidFill>
                    <a:srgbClr val="3399FF"/>
                  </a:solidFill>
                </p:grpSpPr>
                <p:sp>
                  <p:nvSpPr>
                    <p:cNvPr id="115" name="Rechthoek 114">
                      <a:extLst>
                        <a:ext uri="{FF2B5EF4-FFF2-40B4-BE49-F238E27FC236}">
                          <a16:creationId xmlns:a16="http://schemas.microsoft.com/office/drawing/2014/main" id="{5DE63B94-976C-4E55-87A4-AD20E19DEDA7}"/>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16" name="Rechthoek: afgeronde bovenhoeken 115">
                      <a:extLst>
                        <a:ext uri="{FF2B5EF4-FFF2-40B4-BE49-F238E27FC236}">
                          <a16:creationId xmlns:a16="http://schemas.microsoft.com/office/drawing/2014/main" id="{0672ACBE-619A-4E76-B413-92AC1565D6B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17" name="Gelijkbenige driehoek 116">
                      <a:extLst>
                        <a:ext uri="{FF2B5EF4-FFF2-40B4-BE49-F238E27FC236}">
                          <a16:creationId xmlns:a16="http://schemas.microsoft.com/office/drawing/2014/main" id="{93CA82FF-9504-4BF1-B726-DC5564E76BD6}"/>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grpSp>
      </p:grpSp>
      <p:grpSp>
        <p:nvGrpSpPr>
          <p:cNvPr id="135" name="Instructie">
            <a:extLst>
              <a:ext uri="{FF2B5EF4-FFF2-40B4-BE49-F238E27FC236}">
                <a16:creationId xmlns:a16="http://schemas.microsoft.com/office/drawing/2014/main" id="{A5AF4D08-FA21-4BD4-B262-4B9EC24EEA7A}"/>
              </a:ext>
            </a:extLst>
          </p:cNvPr>
          <p:cNvGrpSpPr/>
          <p:nvPr userDrawn="1"/>
        </p:nvGrpSpPr>
        <p:grpSpPr>
          <a:xfrm>
            <a:off x="12391602" y="2"/>
            <a:ext cx="3183677" cy="2499789"/>
            <a:chOff x="12391601" y="0"/>
            <a:chExt cx="3183677" cy="2499789"/>
          </a:xfrm>
        </p:grpSpPr>
        <p:sp>
          <p:nvSpPr>
            <p:cNvPr id="136" name="Rechthoek 135">
              <a:extLst>
                <a:ext uri="{FF2B5EF4-FFF2-40B4-BE49-F238E27FC236}">
                  <a16:creationId xmlns:a16="http://schemas.microsoft.com/office/drawing/2014/main" id="{38DB5E56-3785-4550-B21D-B39A5DF5749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37" name="Ovaal 136">
              <a:extLst>
                <a:ext uri="{FF2B5EF4-FFF2-40B4-BE49-F238E27FC236}">
                  <a16:creationId xmlns:a16="http://schemas.microsoft.com/office/drawing/2014/main" id="{64F57F44-1AE2-4FEE-9E71-47DEE956B302}"/>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8" name="Rechte verbindingslijn 137">
              <a:extLst>
                <a:ext uri="{FF2B5EF4-FFF2-40B4-BE49-F238E27FC236}">
                  <a16:creationId xmlns:a16="http://schemas.microsoft.com/office/drawing/2014/main" id="{74B1CCF2-2AA7-4869-AFBE-71031E0DFE9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39" name="Rechte verbindingslijn 138">
              <a:extLst>
                <a:ext uri="{FF2B5EF4-FFF2-40B4-BE49-F238E27FC236}">
                  <a16:creationId xmlns:a16="http://schemas.microsoft.com/office/drawing/2014/main" id="{50738D44-AD9D-4500-B3D3-AE8F70D3E660}"/>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40" name="Rechthoek 139">
              <a:extLst>
                <a:ext uri="{FF2B5EF4-FFF2-40B4-BE49-F238E27FC236}">
                  <a16:creationId xmlns:a16="http://schemas.microsoft.com/office/drawing/2014/main" id="{C9BD92D2-77CE-494F-87BD-242E6F8D22D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41" name="Ovaal 140">
              <a:extLst>
                <a:ext uri="{FF2B5EF4-FFF2-40B4-BE49-F238E27FC236}">
                  <a16:creationId xmlns:a16="http://schemas.microsoft.com/office/drawing/2014/main" id="{3E4960AC-8606-4029-B067-2FA9B5EDB63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141">
              <a:extLst>
                <a:ext uri="{FF2B5EF4-FFF2-40B4-BE49-F238E27FC236}">
                  <a16:creationId xmlns:a16="http://schemas.microsoft.com/office/drawing/2014/main" id="{DC40E73F-31D9-4797-BF3A-55457503E68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3" name="Groep 142">
              <a:extLst>
                <a:ext uri="{FF2B5EF4-FFF2-40B4-BE49-F238E27FC236}">
                  <a16:creationId xmlns:a16="http://schemas.microsoft.com/office/drawing/2014/main" id="{C1D2757D-A6C2-4FC1-84E0-5DC01FB30E52}"/>
                </a:ext>
              </a:extLst>
            </p:cNvPr>
            <p:cNvGrpSpPr/>
            <p:nvPr userDrawn="1"/>
          </p:nvGrpSpPr>
          <p:grpSpPr>
            <a:xfrm>
              <a:off x="12757282" y="2184550"/>
              <a:ext cx="825500" cy="209550"/>
              <a:chOff x="13504624" y="2482850"/>
              <a:chExt cx="825500" cy="209550"/>
            </a:xfrm>
          </p:grpSpPr>
          <p:sp>
            <p:nvSpPr>
              <p:cNvPr id="149" name="Rechthoek 148">
                <a:extLst>
                  <a:ext uri="{FF2B5EF4-FFF2-40B4-BE49-F238E27FC236}">
                    <a16:creationId xmlns:a16="http://schemas.microsoft.com/office/drawing/2014/main" id="{B9A48355-ECC1-43B3-91E1-38F4A5E547C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50" name="Rechte verbindingslijn 149">
                <a:extLst>
                  <a:ext uri="{FF2B5EF4-FFF2-40B4-BE49-F238E27FC236}">
                    <a16:creationId xmlns:a16="http://schemas.microsoft.com/office/drawing/2014/main" id="{1EE11DAC-86D7-4741-8D87-2CE1BCC59D53}"/>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1" name="Gelijkbenige driehoek 150">
                <a:extLst>
                  <a:ext uri="{FF2B5EF4-FFF2-40B4-BE49-F238E27FC236}">
                    <a16:creationId xmlns:a16="http://schemas.microsoft.com/office/drawing/2014/main" id="{61FC52A6-A3B4-4693-BA25-F9CB12595E7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44" name="Rechte verbindingslijn 143">
              <a:extLst>
                <a:ext uri="{FF2B5EF4-FFF2-40B4-BE49-F238E27FC236}">
                  <a16:creationId xmlns:a16="http://schemas.microsoft.com/office/drawing/2014/main" id="{25BC9295-8F02-4159-B529-2F7C966D4CF1}"/>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45" name="Groep 144">
              <a:extLst>
                <a:ext uri="{FF2B5EF4-FFF2-40B4-BE49-F238E27FC236}">
                  <a16:creationId xmlns:a16="http://schemas.microsoft.com/office/drawing/2014/main" id="{9C74EC01-0A9F-42E7-A600-3D91A3F1B442}"/>
                </a:ext>
              </a:extLst>
            </p:cNvPr>
            <p:cNvGrpSpPr/>
            <p:nvPr userDrawn="1"/>
          </p:nvGrpSpPr>
          <p:grpSpPr>
            <a:xfrm>
              <a:off x="12751697" y="1147804"/>
              <a:ext cx="289372" cy="314992"/>
              <a:chOff x="7322769" y="-310267"/>
              <a:chExt cx="289372" cy="314992"/>
            </a:xfrm>
          </p:grpSpPr>
          <p:sp>
            <p:nvSpPr>
              <p:cNvPr id="146" name="Rechthoek 145">
                <a:extLst>
                  <a:ext uri="{FF2B5EF4-FFF2-40B4-BE49-F238E27FC236}">
                    <a16:creationId xmlns:a16="http://schemas.microsoft.com/office/drawing/2014/main" id="{1E7FFB0A-3282-4AE0-B8ED-8FCB980FDC06}"/>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47" name="Rechthoek 146">
                <a:extLst>
                  <a:ext uri="{FF2B5EF4-FFF2-40B4-BE49-F238E27FC236}">
                    <a16:creationId xmlns:a16="http://schemas.microsoft.com/office/drawing/2014/main" id="{5AB6B49D-D371-4FC8-B3E8-5C7C81960E13}"/>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48" name="Rechthoek 147">
                <a:extLst>
                  <a:ext uri="{FF2B5EF4-FFF2-40B4-BE49-F238E27FC236}">
                    <a16:creationId xmlns:a16="http://schemas.microsoft.com/office/drawing/2014/main" id="{5AC35588-AF4C-4DBA-ABB8-6EFB4682A32F}"/>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12670869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KST / 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FA2C3B15-CAF8-4A1F-94B3-0B142F92F333}"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TABEL</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2" y="1459112"/>
            <a:ext cx="5015239" cy="4119774"/>
          </a:xfrm>
          <a:solidFill>
            <a:schemeClr val="bg1">
              <a:lumMod val="95000"/>
            </a:schemeClr>
          </a:solidFill>
        </p:spPr>
        <p:txBody>
          <a:bodyPr tIns="16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99" name="Instructie">
            <a:extLst>
              <a:ext uri="{FF2B5EF4-FFF2-40B4-BE49-F238E27FC236}">
                <a16:creationId xmlns:a16="http://schemas.microsoft.com/office/drawing/2014/main" id="{544B0AF8-4987-47C9-A21F-16B0BF207D6D}"/>
              </a:ext>
            </a:extLst>
          </p:cNvPr>
          <p:cNvGrpSpPr/>
          <p:nvPr userDrawn="1"/>
        </p:nvGrpSpPr>
        <p:grpSpPr>
          <a:xfrm>
            <a:off x="12391602" y="2"/>
            <a:ext cx="3183677" cy="2499789"/>
            <a:chOff x="12391601" y="0"/>
            <a:chExt cx="3183677" cy="2499789"/>
          </a:xfrm>
        </p:grpSpPr>
        <p:sp>
          <p:nvSpPr>
            <p:cNvPr id="101" name="Rechthoek 100">
              <a:extLst>
                <a:ext uri="{FF2B5EF4-FFF2-40B4-BE49-F238E27FC236}">
                  <a16:creationId xmlns:a16="http://schemas.microsoft.com/office/drawing/2014/main" id="{512D667A-1BB3-4DFE-94B1-6B51E0AE610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102" name="Ovaal 101">
              <a:extLst>
                <a:ext uri="{FF2B5EF4-FFF2-40B4-BE49-F238E27FC236}">
                  <a16:creationId xmlns:a16="http://schemas.microsoft.com/office/drawing/2014/main" id="{5905257C-8E3C-43B1-95B5-3C1D64179B3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3" name="Rechte verbindingslijn 102">
              <a:extLst>
                <a:ext uri="{FF2B5EF4-FFF2-40B4-BE49-F238E27FC236}">
                  <a16:creationId xmlns:a16="http://schemas.microsoft.com/office/drawing/2014/main" id="{1A094B61-EB26-45DA-A93A-F0CE99D6FC4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04" name="Rechte verbindingslijn 103">
              <a:extLst>
                <a:ext uri="{FF2B5EF4-FFF2-40B4-BE49-F238E27FC236}">
                  <a16:creationId xmlns:a16="http://schemas.microsoft.com/office/drawing/2014/main" id="{991D85DD-F766-4372-B80C-75ED8F1441A9}"/>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05" name="Rechthoek 104">
              <a:extLst>
                <a:ext uri="{FF2B5EF4-FFF2-40B4-BE49-F238E27FC236}">
                  <a16:creationId xmlns:a16="http://schemas.microsoft.com/office/drawing/2014/main" id="{0649B64E-FC8F-485F-BEAE-E2E0C440D15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06" name="Ovaal 105">
              <a:extLst>
                <a:ext uri="{FF2B5EF4-FFF2-40B4-BE49-F238E27FC236}">
                  <a16:creationId xmlns:a16="http://schemas.microsoft.com/office/drawing/2014/main" id="{C968BB5A-108A-4CBC-89E6-F4B7B2DF7FB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7" name="Rechthoek 106">
              <a:extLst>
                <a:ext uri="{FF2B5EF4-FFF2-40B4-BE49-F238E27FC236}">
                  <a16:creationId xmlns:a16="http://schemas.microsoft.com/office/drawing/2014/main" id="{97354753-DA63-47D2-B445-00FD49152F9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8" name="Groep 107">
              <a:extLst>
                <a:ext uri="{FF2B5EF4-FFF2-40B4-BE49-F238E27FC236}">
                  <a16:creationId xmlns:a16="http://schemas.microsoft.com/office/drawing/2014/main" id="{99C1D1AF-EE92-41D8-BCB2-CED0D3A83D23}"/>
                </a:ext>
              </a:extLst>
            </p:cNvPr>
            <p:cNvGrpSpPr/>
            <p:nvPr userDrawn="1"/>
          </p:nvGrpSpPr>
          <p:grpSpPr>
            <a:xfrm>
              <a:off x="12757282" y="2184550"/>
              <a:ext cx="825500" cy="209550"/>
              <a:chOff x="13504624" y="2482850"/>
              <a:chExt cx="825500" cy="209550"/>
            </a:xfrm>
          </p:grpSpPr>
          <p:sp>
            <p:nvSpPr>
              <p:cNvPr id="119" name="Rechthoek 118">
                <a:extLst>
                  <a:ext uri="{FF2B5EF4-FFF2-40B4-BE49-F238E27FC236}">
                    <a16:creationId xmlns:a16="http://schemas.microsoft.com/office/drawing/2014/main" id="{06FABB53-151D-4CA0-8597-6DBD0BD2897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120" name="Rechte verbindingslijn 119">
                <a:extLst>
                  <a:ext uri="{FF2B5EF4-FFF2-40B4-BE49-F238E27FC236}">
                    <a16:creationId xmlns:a16="http://schemas.microsoft.com/office/drawing/2014/main" id="{9C209AAD-4B3D-44CF-9D6A-ED6B0D82C07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1" name="Gelijkbenige driehoek 120">
                <a:extLst>
                  <a:ext uri="{FF2B5EF4-FFF2-40B4-BE49-F238E27FC236}">
                    <a16:creationId xmlns:a16="http://schemas.microsoft.com/office/drawing/2014/main" id="{86BE9A17-87F1-4C12-A6E9-0C0965B02CB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09" name="Rechte verbindingslijn 108">
              <a:extLst>
                <a:ext uri="{FF2B5EF4-FFF2-40B4-BE49-F238E27FC236}">
                  <a16:creationId xmlns:a16="http://schemas.microsoft.com/office/drawing/2014/main" id="{F5C2FE27-5B46-449A-88AF-08E8F20B829A}"/>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10" name="Tabel icoon">
              <a:extLst>
                <a:ext uri="{FF2B5EF4-FFF2-40B4-BE49-F238E27FC236}">
                  <a16:creationId xmlns:a16="http://schemas.microsoft.com/office/drawing/2014/main" id="{C80DAAD0-3DF6-4AA8-B448-DA7E915208E2}"/>
                </a:ext>
              </a:extLst>
            </p:cNvPr>
            <p:cNvGrpSpPr/>
            <p:nvPr userDrawn="1"/>
          </p:nvGrpSpPr>
          <p:grpSpPr>
            <a:xfrm>
              <a:off x="12757283" y="1133664"/>
              <a:ext cx="375500" cy="339168"/>
              <a:chOff x="6072040" y="3376043"/>
              <a:chExt cx="1227920" cy="1109109"/>
            </a:xfrm>
          </p:grpSpPr>
          <p:sp>
            <p:nvSpPr>
              <p:cNvPr id="111" name="Rechthoek 110">
                <a:extLst>
                  <a:ext uri="{FF2B5EF4-FFF2-40B4-BE49-F238E27FC236}">
                    <a16:creationId xmlns:a16="http://schemas.microsoft.com/office/drawing/2014/main" id="{EE576A51-B28D-42FA-A87F-7BA3A0E34559}"/>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112" name="Rechthoek 111">
                <a:extLst>
                  <a:ext uri="{FF2B5EF4-FFF2-40B4-BE49-F238E27FC236}">
                    <a16:creationId xmlns:a16="http://schemas.microsoft.com/office/drawing/2014/main" id="{2F016D00-73DB-41B7-AA52-64C45233715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cxnSp>
            <p:nvCxnSpPr>
              <p:cNvPr id="113" name="Rechte verbindingslijn 112">
                <a:extLst>
                  <a:ext uri="{FF2B5EF4-FFF2-40B4-BE49-F238E27FC236}">
                    <a16:creationId xmlns:a16="http://schemas.microsoft.com/office/drawing/2014/main" id="{CB60518A-D9E5-4CBD-A56F-E4579B47E099}"/>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1AB06018-A400-47C3-A0C2-8EF6DE0559C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D295F766-CD19-4DBD-9905-EED629FF9984}"/>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a:extLst>
                  <a:ext uri="{FF2B5EF4-FFF2-40B4-BE49-F238E27FC236}">
                    <a16:creationId xmlns:a16="http://schemas.microsoft.com/office/drawing/2014/main" id="{DD0406A0-274F-47C9-A6F6-E8E07A8D6592}"/>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a:extLst>
                  <a:ext uri="{FF2B5EF4-FFF2-40B4-BE49-F238E27FC236}">
                    <a16:creationId xmlns:a16="http://schemas.microsoft.com/office/drawing/2014/main" id="{7386C022-B91D-4614-9598-378E3DBA0C32}"/>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8" name="Rechthoek 117">
                <a:extLst>
                  <a:ext uri="{FF2B5EF4-FFF2-40B4-BE49-F238E27FC236}">
                    <a16:creationId xmlns:a16="http://schemas.microsoft.com/office/drawing/2014/main" id="{079A4A57-8ABB-486C-9488-376A6A8CAA20}"/>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nvGrpSpPr>
          <p:cNvPr id="206" name="Instructie">
            <a:extLst>
              <a:ext uri="{FF2B5EF4-FFF2-40B4-BE49-F238E27FC236}">
                <a16:creationId xmlns:a16="http://schemas.microsoft.com/office/drawing/2014/main" id="{7224A746-4A5D-4025-94CF-555D9808ACE5}"/>
              </a:ext>
            </a:extLst>
          </p:cNvPr>
          <p:cNvGrpSpPr/>
          <p:nvPr userDrawn="1"/>
        </p:nvGrpSpPr>
        <p:grpSpPr>
          <a:xfrm>
            <a:off x="-3437546" y="1436"/>
            <a:ext cx="3201327" cy="6041867"/>
            <a:chOff x="-3437547" y="1434"/>
            <a:chExt cx="3201327" cy="6041867"/>
          </a:xfrm>
        </p:grpSpPr>
        <p:cxnSp>
          <p:nvCxnSpPr>
            <p:cNvPr id="207" name="Rechte verbindingslijn 206">
              <a:extLst>
                <a:ext uri="{FF2B5EF4-FFF2-40B4-BE49-F238E27FC236}">
                  <a16:creationId xmlns:a16="http://schemas.microsoft.com/office/drawing/2014/main" id="{749A5422-59A9-4CAB-A00B-19791DD07AF8}"/>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08" name="Ovaal 207">
              <a:extLst>
                <a:ext uri="{FF2B5EF4-FFF2-40B4-BE49-F238E27FC236}">
                  <a16:creationId xmlns:a16="http://schemas.microsoft.com/office/drawing/2014/main" id="{B56529BA-539E-4637-8EE1-48182CD5A9EB}"/>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09" name="Rechthoek 208">
              <a:extLst>
                <a:ext uri="{FF2B5EF4-FFF2-40B4-BE49-F238E27FC236}">
                  <a16:creationId xmlns:a16="http://schemas.microsoft.com/office/drawing/2014/main" id="{AE93292F-CF43-4BDA-A221-F1A25805F319}"/>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10" name="Ovaal 209">
              <a:extLst>
                <a:ext uri="{FF2B5EF4-FFF2-40B4-BE49-F238E27FC236}">
                  <a16:creationId xmlns:a16="http://schemas.microsoft.com/office/drawing/2014/main" id="{675FAF3C-86BD-4B0C-86DE-FB783EEFC3C6}"/>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1" name="Rechthoek 210">
              <a:extLst>
                <a:ext uri="{FF2B5EF4-FFF2-40B4-BE49-F238E27FC236}">
                  <a16:creationId xmlns:a16="http://schemas.microsoft.com/office/drawing/2014/main" id="{F6DF46ED-9579-4CCE-80B9-494C1883BA41}"/>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12" name="Ovaal 211">
              <a:extLst>
                <a:ext uri="{FF2B5EF4-FFF2-40B4-BE49-F238E27FC236}">
                  <a16:creationId xmlns:a16="http://schemas.microsoft.com/office/drawing/2014/main" id="{80247F70-FD4C-4F20-8F26-9F4D51B85EE1}"/>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3" name="Rechthoek 212">
              <a:extLst>
                <a:ext uri="{FF2B5EF4-FFF2-40B4-BE49-F238E27FC236}">
                  <a16:creationId xmlns:a16="http://schemas.microsoft.com/office/drawing/2014/main" id="{0DAB1F65-9FC2-48AA-A68D-E2909AF433AA}"/>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14" name="Ovaal 213">
              <a:extLst>
                <a:ext uri="{FF2B5EF4-FFF2-40B4-BE49-F238E27FC236}">
                  <a16:creationId xmlns:a16="http://schemas.microsoft.com/office/drawing/2014/main" id="{F532BDDB-7573-43BA-9AA6-73EA382D430E}"/>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214">
              <a:extLst>
                <a:ext uri="{FF2B5EF4-FFF2-40B4-BE49-F238E27FC236}">
                  <a16:creationId xmlns:a16="http://schemas.microsoft.com/office/drawing/2014/main" id="{D12A4689-58CD-4047-8B56-B2F79242B7BF}"/>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216" name="Rechthoek 215">
              <a:extLst>
                <a:ext uri="{FF2B5EF4-FFF2-40B4-BE49-F238E27FC236}">
                  <a16:creationId xmlns:a16="http://schemas.microsoft.com/office/drawing/2014/main" id="{0D88D931-17FF-4BAA-8A2D-F401DF0C66D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17" name="Ovaal 216">
              <a:extLst>
                <a:ext uri="{FF2B5EF4-FFF2-40B4-BE49-F238E27FC236}">
                  <a16:creationId xmlns:a16="http://schemas.microsoft.com/office/drawing/2014/main" id="{0F88B1B4-B1EF-4E96-8731-FFCDEC2EF660}"/>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8" name="Rechte verbindingslijn 217">
              <a:extLst>
                <a:ext uri="{FF2B5EF4-FFF2-40B4-BE49-F238E27FC236}">
                  <a16:creationId xmlns:a16="http://schemas.microsoft.com/office/drawing/2014/main" id="{38565EF9-EF5B-4925-B762-FE86D022B16E}"/>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19" name="Groep 218">
              <a:extLst>
                <a:ext uri="{FF2B5EF4-FFF2-40B4-BE49-F238E27FC236}">
                  <a16:creationId xmlns:a16="http://schemas.microsoft.com/office/drawing/2014/main" id="{507938DC-6B7D-409C-871F-0FE8C0085BEE}"/>
                </a:ext>
              </a:extLst>
            </p:cNvPr>
            <p:cNvGrpSpPr/>
            <p:nvPr userDrawn="1"/>
          </p:nvGrpSpPr>
          <p:grpSpPr>
            <a:xfrm>
              <a:off x="-3437547" y="1295337"/>
              <a:ext cx="2933825" cy="558875"/>
              <a:chOff x="-3419346" y="368233"/>
              <a:chExt cx="3904920" cy="743862"/>
            </a:xfrm>
          </p:grpSpPr>
          <p:sp>
            <p:nvSpPr>
              <p:cNvPr id="236" name="Rechthoek 235">
                <a:extLst>
                  <a:ext uri="{FF2B5EF4-FFF2-40B4-BE49-F238E27FC236}">
                    <a16:creationId xmlns:a16="http://schemas.microsoft.com/office/drawing/2014/main" id="{BFFDAE03-8C88-491A-9930-5CEF5F0B0DB1}"/>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37" name="Rechte verbindingslijn 236">
                <a:extLst>
                  <a:ext uri="{FF2B5EF4-FFF2-40B4-BE49-F238E27FC236}">
                    <a16:creationId xmlns:a16="http://schemas.microsoft.com/office/drawing/2014/main" id="{2BF549A7-CFA6-4090-A8B6-EE2C4D77CD1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237">
                <a:extLst>
                  <a:ext uri="{FF2B5EF4-FFF2-40B4-BE49-F238E27FC236}">
                    <a16:creationId xmlns:a16="http://schemas.microsoft.com/office/drawing/2014/main" id="{4191EEF6-DB98-41D6-9095-C9181CE8735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238">
                <a:extLst>
                  <a:ext uri="{FF2B5EF4-FFF2-40B4-BE49-F238E27FC236}">
                    <a16:creationId xmlns:a16="http://schemas.microsoft.com/office/drawing/2014/main" id="{2C5BFF58-2B59-4CC0-B518-18C524072F0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40" name="Groep 239">
                <a:extLst>
                  <a:ext uri="{FF2B5EF4-FFF2-40B4-BE49-F238E27FC236}">
                    <a16:creationId xmlns:a16="http://schemas.microsoft.com/office/drawing/2014/main" id="{8AAD3B27-B0E6-4E88-B955-1DD00D326443}"/>
                  </a:ext>
                </a:extLst>
              </p:cNvPr>
              <p:cNvGrpSpPr/>
              <p:nvPr userDrawn="1"/>
            </p:nvGrpSpPr>
            <p:grpSpPr>
              <a:xfrm>
                <a:off x="-3002834" y="720303"/>
                <a:ext cx="182598" cy="143759"/>
                <a:chOff x="-3310843" y="700986"/>
                <a:chExt cx="182598" cy="143759"/>
              </a:xfrm>
            </p:grpSpPr>
            <p:grpSp>
              <p:nvGrpSpPr>
                <p:cNvPr id="279" name="Groep 278">
                  <a:extLst>
                    <a:ext uri="{FF2B5EF4-FFF2-40B4-BE49-F238E27FC236}">
                      <a16:creationId xmlns:a16="http://schemas.microsoft.com/office/drawing/2014/main" id="{14F9BB0C-AA70-449C-AFE0-B3E2BEB61A1B}"/>
                    </a:ext>
                  </a:extLst>
                </p:cNvPr>
                <p:cNvGrpSpPr/>
                <p:nvPr userDrawn="1"/>
              </p:nvGrpSpPr>
              <p:grpSpPr>
                <a:xfrm>
                  <a:off x="-3310843" y="700986"/>
                  <a:ext cx="182598" cy="143759"/>
                  <a:chOff x="-3310843" y="700986"/>
                  <a:chExt cx="182598" cy="143759"/>
                </a:xfrm>
              </p:grpSpPr>
              <p:cxnSp>
                <p:nvCxnSpPr>
                  <p:cNvPr id="283" name="Rechte verbindingslijn 282">
                    <a:extLst>
                      <a:ext uri="{FF2B5EF4-FFF2-40B4-BE49-F238E27FC236}">
                        <a16:creationId xmlns:a16="http://schemas.microsoft.com/office/drawing/2014/main" id="{57BF1767-D373-4C5F-BE1F-F07AB854B30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283">
                    <a:extLst>
                      <a:ext uri="{FF2B5EF4-FFF2-40B4-BE49-F238E27FC236}">
                        <a16:creationId xmlns:a16="http://schemas.microsoft.com/office/drawing/2014/main" id="{A976AC8E-4C00-4AD2-A18B-08AE36136EBD}"/>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284">
                    <a:extLst>
                      <a:ext uri="{FF2B5EF4-FFF2-40B4-BE49-F238E27FC236}">
                        <a16:creationId xmlns:a16="http://schemas.microsoft.com/office/drawing/2014/main" id="{94742187-D282-4ED7-9F50-28FBD4057CC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285">
                    <a:extLst>
                      <a:ext uri="{FF2B5EF4-FFF2-40B4-BE49-F238E27FC236}">
                        <a16:creationId xmlns:a16="http://schemas.microsoft.com/office/drawing/2014/main" id="{5341272A-0B92-45B9-B957-1950E2F54BA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286">
                    <a:extLst>
                      <a:ext uri="{FF2B5EF4-FFF2-40B4-BE49-F238E27FC236}">
                        <a16:creationId xmlns:a16="http://schemas.microsoft.com/office/drawing/2014/main" id="{9A832B1E-86C3-456B-ABB8-DB78C343E51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279">
                  <a:extLst>
                    <a:ext uri="{FF2B5EF4-FFF2-40B4-BE49-F238E27FC236}">
                      <a16:creationId xmlns:a16="http://schemas.microsoft.com/office/drawing/2014/main" id="{224E5915-5620-4B5C-95D5-644E0752B5F1}"/>
                    </a:ext>
                  </a:extLst>
                </p:cNvPr>
                <p:cNvGrpSpPr/>
                <p:nvPr userDrawn="1"/>
              </p:nvGrpSpPr>
              <p:grpSpPr>
                <a:xfrm flipH="1">
                  <a:off x="-3310774" y="735854"/>
                  <a:ext cx="88801" cy="72568"/>
                  <a:chOff x="-2091059" y="1395403"/>
                  <a:chExt cx="157316" cy="128558"/>
                </a:xfrm>
              </p:grpSpPr>
              <p:sp>
                <p:nvSpPr>
                  <p:cNvPr id="281" name="Rechthoek 280">
                    <a:extLst>
                      <a:ext uri="{FF2B5EF4-FFF2-40B4-BE49-F238E27FC236}">
                        <a16:creationId xmlns:a16="http://schemas.microsoft.com/office/drawing/2014/main" id="{43833988-25EC-4B04-9CAD-BE41066200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2" name="Pijl: punthaak 281">
                    <a:extLst>
                      <a:ext uri="{FF2B5EF4-FFF2-40B4-BE49-F238E27FC236}">
                        <a16:creationId xmlns:a16="http://schemas.microsoft.com/office/drawing/2014/main" id="{62B02667-7637-46DC-9C24-53435696FA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41" name="Groep 240">
                <a:extLst>
                  <a:ext uri="{FF2B5EF4-FFF2-40B4-BE49-F238E27FC236}">
                    <a16:creationId xmlns:a16="http://schemas.microsoft.com/office/drawing/2014/main" id="{C1921D13-AF28-4FEE-821D-66D10F7146EA}"/>
                  </a:ext>
                </a:extLst>
              </p:cNvPr>
              <p:cNvGrpSpPr/>
              <p:nvPr userDrawn="1"/>
            </p:nvGrpSpPr>
            <p:grpSpPr>
              <a:xfrm>
                <a:off x="-3326107" y="720303"/>
                <a:ext cx="182598" cy="143759"/>
                <a:chOff x="-3634116" y="700986"/>
                <a:chExt cx="182598" cy="143759"/>
              </a:xfrm>
            </p:grpSpPr>
            <p:grpSp>
              <p:nvGrpSpPr>
                <p:cNvPr id="270" name="Groep 269">
                  <a:extLst>
                    <a:ext uri="{FF2B5EF4-FFF2-40B4-BE49-F238E27FC236}">
                      <a16:creationId xmlns:a16="http://schemas.microsoft.com/office/drawing/2014/main" id="{C58FC713-3FA1-4F33-901C-E62353C0000F}"/>
                    </a:ext>
                  </a:extLst>
                </p:cNvPr>
                <p:cNvGrpSpPr/>
                <p:nvPr userDrawn="1"/>
              </p:nvGrpSpPr>
              <p:grpSpPr>
                <a:xfrm>
                  <a:off x="-3634116" y="700986"/>
                  <a:ext cx="182598" cy="143759"/>
                  <a:chOff x="-3634116" y="700986"/>
                  <a:chExt cx="182598" cy="143759"/>
                </a:xfrm>
              </p:grpSpPr>
              <p:cxnSp>
                <p:nvCxnSpPr>
                  <p:cNvPr id="274" name="Rechte verbindingslijn 273">
                    <a:extLst>
                      <a:ext uri="{FF2B5EF4-FFF2-40B4-BE49-F238E27FC236}">
                        <a16:creationId xmlns:a16="http://schemas.microsoft.com/office/drawing/2014/main" id="{54139801-9A6D-4194-857C-5197B8D8EB53}"/>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274">
                    <a:extLst>
                      <a:ext uri="{FF2B5EF4-FFF2-40B4-BE49-F238E27FC236}">
                        <a16:creationId xmlns:a16="http://schemas.microsoft.com/office/drawing/2014/main" id="{CD73D332-A981-4D7A-8925-C1AF9C4695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275">
                    <a:extLst>
                      <a:ext uri="{FF2B5EF4-FFF2-40B4-BE49-F238E27FC236}">
                        <a16:creationId xmlns:a16="http://schemas.microsoft.com/office/drawing/2014/main" id="{DC3CBDAA-BF8A-4F35-99D8-F59242FF8AB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276">
                    <a:extLst>
                      <a:ext uri="{FF2B5EF4-FFF2-40B4-BE49-F238E27FC236}">
                        <a16:creationId xmlns:a16="http://schemas.microsoft.com/office/drawing/2014/main" id="{90E108EA-496B-48C0-B684-AF9EA28B90D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277">
                    <a:extLst>
                      <a:ext uri="{FF2B5EF4-FFF2-40B4-BE49-F238E27FC236}">
                        <a16:creationId xmlns:a16="http://schemas.microsoft.com/office/drawing/2014/main" id="{24BFCFBA-73CD-4386-876C-D069116BE48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270">
                  <a:extLst>
                    <a:ext uri="{FF2B5EF4-FFF2-40B4-BE49-F238E27FC236}">
                      <a16:creationId xmlns:a16="http://schemas.microsoft.com/office/drawing/2014/main" id="{1BC0DEA4-93BE-41BE-AAF4-7B13F66ED408}"/>
                    </a:ext>
                  </a:extLst>
                </p:cNvPr>
                <p:cNvGrpSpPr/>
                <p:nvPr userDrawn="1"/>
              </p:nvGrpSpPr>
              <p:grpSpPr>
                <a:xfrm>
                  <a:off x="-3634047" y="735854"/>
                  <a:ext cx="88801" cy="72568"/>
                  <a:chOff x="-2091059" y="1395403"/>
                  <a:chExt cx="157316" cy="128558"/>
                </a:xfrm>
              </p:grpSpPr>
              <p:sp>
                <p:nvSpPr>
                  <p:cNvPr id="272" name="Rechthoek 271">
                    <a:extLst>
                      <a:ext uri="{FF2B5EF4-FFF2-40B4-BE49-F238E27FC236}">
                        <a16:creationId xmlns:a16="http://schemas.microsoft.com/office/drawing/2014/main" id="{59B14458-A478-49F9-B8F2-E6265558122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3" name="Pijl: punthaak 272">
                    <a:extLst>
                      <a:ext uri="{FF2B5EF4-FFF2-40B4-BE49-F238E27FC236}">
                        <a16:creationId xmlns:a16="http://schemas.microsoft.com/office/drawing/2014/main" id="{7612DD17-B66E-49A8-9460-B2529D38788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42" name="Rechte verbindingslijn 241">
                <a:extLst>
                  <a:ext uri="{FF2B5EF4-FFF2-40B4-BE49-F238E27FC236}">
                    <a16:creationId xmlns:a16="http://schemas.microsoft.com/office/drawing/2014/main" id="{24818548-0337-4E54-8F36-067A7FA6A5AE}"/>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43" name="Rechte verbindingslijn 242">
                <a:extLst>
                  <a:ext uri="{FF2B5EF4-FFF2-40B4-BE49-F238E27FC236}">
                    <a16:creationId xmlns:a16="http://schemas.microsoft.com/office/drawing/2014/main" id="{56483247-1CC4-4A46-A079-A061A103C3F7}"/>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44" name="Groep 243">
                <a:extLst>
                  <a:ext uri="{FF2B5EF4-FFF2-40B4-BE49-F238E27FC236}">
                    <a16:creationId xmlns:a16="http://schemas.microsoft.com/office/drawing/2014/main" id="{DB485FCA-7B7D-42E9-BF2D-377510AB867C}"/>
                  </a:ext>
                </a:extLst>
              </p:cNvPr>
              <p:cNvGrpSpPr/>
              <p:nvPr userDrawn="1"/>
            </p:nvGrpSpPr>
            <p:grpSpPr>
              <a:xfrm>
                <a:off x="-2425037" y="370226"/>
                <a:ext cx="357690" cy="330595"/>
                <a:chOff x="-2721817" y="347336"/>
                <a:chExt cx="432805" cy="400021"/>
              </a:xfrm>
            </p:grpSpPr>
            <p:sp>
              <p:nvSpPr>
                <p:cNvPr id="259" name="Rechthoek 258">
                  <a:extLst>
                    <a:ext uri="{FF2B5EF4-FFF2-40B4-BE49-F238E27FC236}">
                      <a16:creationId xmlns:a16="http://schemas.microsoft.com/office/drawing/2014/main" id="{0D26B70A-B1D9-4673-A889-5074AF77C32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60" name="Groep 259">
                  <a:extLst>
                    <a:ext uri="{FF2B5EF4-FFF2-40B4-BE49-F238E27FC236}">
                      <a16:creationId xmlns:a16="http://schemas.microsoft.com/office/drawing/2014/main" id="{39412CC2-AA36-4DC0-AE0D-AC7C20820609}"/>
                    </a:ext>
                  </a:extLst>
                </p:cNvPr>
                <p:cNvGrpSpPr/>
                <p:nvPr userDrawn="1"/>
              </p:nvGrpSpPr>
              <p:grpSpPr>
                <a:xfrm>
                  <a:off x="-2652453" y="431583"/>
                  <a:ext cx="294076" cy="231526"/>
                  <a:chOff x="-3634116" y="700986"/>
                  <a:chExt cx="182598" cy="143759"/>
                </a:xfrm>
              </p:grpSpPr>
              <p:grpSp>
                <p:nvGrpSpPr>
                  <p:cNvPr id="261" name="Groep 260">
                    <a:extLst>
                      <a:ext uri="{FF2B5EF4-FFF2-40B4-BE49-F238E27FC236}">
                        <a16:creationId xmlns:a16="http://schemas.microsoft.com/office/drawing/2014/main" id="{00CE0D42-439F-4409-A0AC-20291DF0E0DD}"/>
                      </a:ext>
                    </a:extLst>
                  </p:cNvPr>
                  <p:cNvGrpSpPr/>
                  <p:nvPr userDrawn="1"/>
                </p:nvGrpSpPr>
                <p:grpSpPr>
                  <a:xfrm>
                    <a:off x="-3634116" y="700986"/>
                    <a:ext cx="182598" cy="143759"/>
                    <a:chOff x="-3634116" y="700986"/>
                    <a:chExt cx="182598" cy="143759"/>
                  </a:xfrm>
                </p:grpSpPr>
                <p:cxnSp>
                  <p:nvCxnSpPr>
                    <p:cNvPr id="265" name="Rechte verbindingslijn 264">
                      <a:extLst>
                        <a:ext uri="{FF2B5EF4-FFF2-40B4-BE49-F238E27FC236}">
                          <a16:creationId xmlns:a16="http://schemas.microsoft.com/office/drawing/2014/main" id="{A65E5D3C-4D01-44F1-A1EF-D5CCD63659B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265">
                      <a:extLst>
                        <a:ext uri="{FF2B5EF4-FFF2-40B4-BE49-F238E27FC236}">
                          <a16:creationId xmlns:a16="http://schemas.microsoft.com/office/drawing/2014/main" id="{D6A53746-27E5-41C5-AD9F-3DCADA66B6C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266">
                      <a:extLst>
                        <a:ext uri="{FF2B5EF4-FFF2-40B4-BE49-F238E27FC236}">
                          <a16:creationId xmlns:a16="http://schemas.microsoft.com/office/drawing/2014/main" id="{6AFD5BF3-7AB9-4163-BD90-A04B8A0208B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267">
                      <a:extLst>
                        <a:ext uri="{FF2B5EF4-FFF2-40B4-BE49-F238E27FC236}">
                          <a16:creationId xmlns:a16="http://schemas.microsoft.com/office/drawing/2014/main" id="{8F568D6E-BAC0-4474-990B-748208AEF10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268">
                      <a:extLst>
                        <a:ext uri="{FF2B5EF4-FFF2-40B4-BE49-F238E27FC236}">
                          <a16:creationId xmlns:a16="http://schemas.microsoft.com/office/drawing/2014/main" id="{E9C04EC1-A361-4A0F-8CC3-B6E4DCBBB84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261">
                    <a:extLst>
                      <a:ext uri="{FF2B5EF4-FFF2-40B4-BE49-F238E27FC236}">
                        <a16:creationId xmlns:a16="http://schemas.microsoft.com/office/drawing/2014/main" id="{8EE8B185-9357-4E26-8FC5-76777590D882}"/>
                      </a:ext>
                    </a:extLst>
                  </p:cNvPr>
                  <p:cNvGrpSpPr/>
                  <p:nvPr userDrawn="1"/>
                </p:nvGrpSpPr>
                <p:grpSpPr>
                  <a:xfrm>
                    <a:off x="-3634047" y="735854"/>
                    <a:ext cx="88801" cy="72568"/>
                    <a:chOff x="-2091059" y="1395403"/>
                    <a:chExt cx="157316" cy="128558"/>
                  </a:xfrm>
                </p:grpSpPr>
                <p:sp>
                  <p:nvSpPr>
                    <p:cNvPr id="263" name="Rechthoek 262">
                      <a:extLst>
                        <a:ext uri="{FF2B5EF4-FFF2-40B4-BE49-F238E27FC236}">
                          <a16:creationId xmlns:a16="http://schemas.microsoft.com/office/drawing/2014/main" id="{9F221F38-25D6-44DC-9937-BD2642D5B75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4" name="Pijl: punthaak 263">
                      <a:extLst>
                        <a:ext uri="{FF2B5EF4-FFF2-40B4-BE49-F238E27FC236}">
                          <a16:creationId xmlns:a16="http://schemas.microsoft.com/office/drawing/2014/main" id="{340A4D4D-E494-464A-BFCC-A0CE1BDB87E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45" name="Groep 244">
                <a:extLst>
                  <a:ext uri="{FF2B5EF4-FFF2-40B4-BE49-F238E27FC236}">
                    <a16:creationId xmlns:a16="http://schemas.microsoft.com/office/drawing/2014/main" id="{2AD137C9-ED58-42E8-977C-E2615CF3924A}"/>
                  </a:ext>
                </a:extLst>
              </p:cNvPr>
              <p:cNvGrpSpPr/>
              <p:nvPr userDrawn="1"/>
            </p:nvGrpSpPr>
            <p:grpSpPr>
              <a:xfrm>
                <a:off x="-2425037" y="781500"/>
                <a:ext cx="357690" cy="330595"/>
                <a:chOff x="-2721817" y="782525"/>
                <a:chExt cx="432805" cy="400021"/>
              </a:xfrm>
            </p:grpSpPr>
            <p:sp>
              <p:nvSpPr>
                <p:cNvPr id="248" name="Rechthoek 247">
                  <a:extLst>
                    <a:ext uri="{FF2B5EF4-FFF2-40B4-BE49-F238E27FC236}">
                      <a16:creationId xmlns:a16="http://schemas.microsoft.com/office/drawing/2014/main" id="{51AE1EE3-726B-469B-B991-5335D61C15A3}"/>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49" name="Groep 248">
                  <a:extLst>
                    <a:ext uri="{FF2B5EF4-FFF2-40B4-BE49-F238E27FC236}">
                      <a16:creationId xmlns:a16="http://schemas.microsoft.com/office/drawing/2014/main" id="{719A8A66-D81A-4EE7-9DB2-0BC30647433C}"/>
                    </a:ext>
                  </a:extLst>
                </p:cNvPr>
                <p:cNvGrpSpPr/>
                <p:nvPr userDrawn="1"/>
              </p:nvGrpSpPr>
              <p:grpSpPr>
                <a:xfrm>
                  <a:off x="-2652453" y="866772"/>
                  <a:ext cx="294076" cy="231526"/>
                  <a:chOff x="-3310843" y="700986"/>
                  <a:chExt cx="182598" cy="143759"/>
                </a:xfrm>
              </p:grpSpPr>
              <p:grpSp>
                <p:nvGrpSpPr>
                  <p:cNvPr id="250" name="Groep 249">
                    <a:extLst>
                      <a:ext uri="{FF2B5EF4-FFF2-40B4-BE49-F238E27FC236}">
                        <a16:creationId xmlns:a16="http://schemas.microsoft.com/office/drawing/2014/main" id="{527D31C4-8C8C-4524-8541-3D53D61C09F6}"/>
                      </a:ext>
                    </a:extLst>
                  </p:cNvPr>
                  <p:cNvGrpSpPr/>
                  <p:nvPr userDrawn="1"/>
                </p:nvGrpSpPr>
                <p:grpSpPr>
                  <a:xfrm>
                    <a:off x="-3310843" y="700986"/>
                    <a:ext cx="182598" cy="143759"/>
                    <a:chOff x="-3310843" y="700986"/>
                    <a:chExt cx="182598" cy="143759"/>
                  </a:xfrm>
                </p:grpSpPr>
                <p:cxnSp>
                  <p:nvCxnSpPr>
                    <p:cNvPr id="254" name="Rechte verbindingslijn 253">
                      <a:extLst>
                        <a:ext uri="{FF2B5EF4-FFF2-40B4-BE49-F238E27FC236}">
                          <a16:creationId xmlns:a16="http://schemas.microsoft.com/office/drawing/2014/main" id="{2FE8AAE6-E2B4-42B8-9D90-27765A5B2B2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id="{2A2CA1E0-680D-4045-8F99-FD00E95EF02E}"/>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id="{A628F0CA-A070-4445-9EA0-A85AF6C2D79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256">
                      <a:extLst>
                        <a:ext uri="{FF2B5EF4-FFF2-40B4-BE49-F238E27FC236}">
                          <a16:creationId xmlns:a16="http://schemas.microsoft.com/office/drawing/2014/main" id="{D301DE3C-CD10-4AF8-8FC9-A6BA6B3F6DAE}"/>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257">
                      <a:extLst>
                        <a:ext uri="{FF2B5EF4-FFF2-40B4-BE49-F238E27FC236}">
                          <a16:creationId xmlns:a16="http://schemas.microsoft.com/office/drawing/2014/main" id="{42DC9F08-B924-4508-B616-D4B31F8C527D}"/>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250">
                    <a:extLst>
                      <a:ext uri="{FF2B5EF4-FFF2-40B4-BE49-F238E27FC236}">
                        <a16:creationId xmlns:a16="http://schemas.microsoft.com/office/drawing/2014/main" id="{FE16DC7B-E0B9-4383-B975-431DF3CC606D}"/>
                      </a:ext>
                    </a:extLst>
                  </p:cNvPr>
                  <p:cNvGrpSpPr/>
                  <p:nvPr userDrawn="1"/>
                </p:nvGrpSpPr>
                <p:grpSpPr>
                  <a:xfrm flipH="1">
                    <a:off x="-3310774" y="735854"/>
                    <a:ext cx="88801" cy="72568"/>
                    <a:chOff x="-2091059" y="1395403"/>
                    <a:chExt cx="157316" cy="128558"/>
                  </a:xfrm>
                </p:grpSpPr>
                <p:sp>
                  <p:nvSpPr>
                    <p:cNvPr id="252" name="Rechthoek 251">
                      <a:extLst>
                        <a:ext uri="{FF2B5EF4-FFF2-40B4-BE49-F238E27FC236}">
                          <a16:creationId xmlns:a16="http://schemas.microsoft.com/office/drawing/2014/main" id="{13A371CF-4324-47E9-9957-A950BACB217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3" name="Pijl: punthaak 252">
                      <a:extLst>
                        <a:ext uri="{FF2B5EF4-FFF2-40B4-BE49-F238E27FC236}">
                          <a16:creationId xmlns:a16="http://schemas.microsoft.com/office/drawing/2014/main" id="{0AB2FE67-2B77-4A27-854E-362AB3D429B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46" name="Rechthoek 245">
                <a:extLst>
                  <a:ext uri="{FF2B5EF4-FFF2-40B4-BE49-F238E27FC236}">
                    <a16:creationId xmlns:a16="http://schemas.microsoft.com/office/drawing/2014/main" id="{7108A5A8-0143-4C43-9FBB-1B39253D0F7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47" name="Rechthoek 246">
                <a:extLst>
                  <a:ext uri="{FF2B5EF4-FFF2-40B4-BE49-F238E27FC236}">
                    <a16:creationId xmlns:a16="http://schemas.microsoft.com/office/drawing/2014/main" id="{775E562D-70D3-4F35-A911-1DBA652DF94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20" name="Rechte verbindingslijn 219">
              <a:extLst>
                <a:ext uri="{FF2B5EF4-FFF2-40B4-BE49-F238E27FC236}">
                  <a16:creationId xmlns:a16="http://schemas.microsoft.com/office/drawing/2014/main" id="{A7325EB5-1D47-41D6-9EC4-F26F10F81F2A}"/>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21" name="Rechthoek 220">
              <a:extLst>
                <a:ext uri="{FF2B5EF4-FFF2-40B4-BE49-F238E27FC236}">
                  <a16:creationId xmlns:a16="http://schemas.microsoft.com/office/drawing/2014/main" id="{1A184D99-770C-4A47-953D-0229C03C044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2" name="Ovaal 221">
              <a:extLst>
                <a:ext uri="{FF2B5EF4-FFF2-40B4-BE49-F238E27FC236}">
                  <a16:creationId xmlns:a16="http://schemas.microsoft.com/office/drawing/2014/main" id="{58BC65E9-2379-4D4D-9C05-D4D604000128}"/>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3" name="Rechthoek 222">
              <a:extLst>
                <a:ext uri="{FF2B5EF4-FFF2-40B4-BE49-F238E27FC236}">
                  <a16:creationId xmlns:a16="http://schemas.microsoft.com/office/drawing/2014/main" id="{2FD5C81F-D763-4FC0-B4B5-4DFCADD260CA}"/>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24" name="Ovaal 223">
              <a:extLst>
                <a:ext uri="{FF2B5EF4-FFF2-40B4-BE49-F238E27FC236}">
                  <a16:creationId xmlns:a16="http://schemas.microsoft.com/office/drawing/2014/main" id="{96068312-A366-47E1-BCED-A0DF3287663D}"/>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5" name="Rechthoek 224">
              <a:extLst>
                <a:ext uri="{FF2B5EF4-FFF2-40B4-BE49-F238E27FC236}">
                  <a16:creationId xmlns:a16="http://schemas.microsoft.com/office/drawing/2014/main" id="{9AA5BF9F-6B92-4F52-A27E-A02BF2D4E8C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26" name="Ovaal 225">
              <a:extLst>
                <a:ext uri="{FF2B5EF4-FFF2-40B4-BE49-F238E27FC236}">
                  <a16:creationId xmlns:a16="http://schemas.microsoft.com/office/drawing/2014/main" id="{D64E823E-9B0C-42AD-BD59-436F6678921C}"/>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7" name="Rechthoek 226">
              <a:extLst>
                <a:ext uri="{FF2B5EF4-FFF2-40B4-BE49-F238E27FC236}">
                  <a16:creationId xmlns:a16="http://schemas.microsoft.com/office/drawing/2014/main" id="{0980AD28-CDAC-4452-9D24-596DAAB243A1}"/>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28" name="Ovaal 227">
              <a:extLst>
                <a:ext uri="{FF2B5EF4-FFF2-40B4-BE49-F238E27FC236}">
                  <a16:creationId xmlns:a16="http://schemas.microsoft.com/office/drawing/2014/main" id="{4137DA4C-D0B5-4B30-B13D-19073616625D}"/>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9" name="Rechthoek 228">
              <a:extLst>
                <a:ext uri="{FF2B5EF4-FFF2-40B4-BE49-F238E27FC236}">
                  <a16:creationId xmlns:a16="http://schemas.microsoft.com/office/drawing/2014/main" id="{84845393-915B-49BF-831D-AF241DBF2FEA}"/>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30" name="Rechthoek 229">
              <a:extLst>
                <a:ext uri="{FF2B5EF4-FFF2-40B4-BE49-F238E27FC236}">
                  <a16:creationId xmlns:a16="http://schemas.microsoft.com/office/drawing/2014/main" id="{36AFBB31-3914-41C9-AB11-DD70E7685E26}"/>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31" name="Rechte verbindingslijn 230">
              <a:extLst>
                <a:ext uri="{FF2B5EF4-FFF2-40B4-BE49-F238E27FC236}">
                  <a16:creationId xmlns:a16="http://schemas.microsoft.com/office/drawing/2014/main" id="{44BBDC5C-614C-429F-A51E-08EAFAF16124}"/>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32" name="Ovaal 231">
              <a:extLst>
                <a:ext uri="{FF2B5EF4-FFF2-40B4-BE49-F238E27FC236}">
                  <a16:creationId xmlns:a16="http://schemas.microsoft.com/office/drawing/2014/main" id="{B93A69D1-273C-44F0-B8A6-30E7C46616D1}"/>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33" name="Rechthoek 232">
              <a:extLst>
                <a:ext uri="{FF2B5EF4-FFF2-40B4-BE49-F238E27FC236}">
                  <a16:creationId xmlns:a16="http://schemas.microsoft.com/office/drawing/2014/main" id="{F0C1744E-769B-45BB-B14D-AFA810C00DBF}"/>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234" name="Ovaal 233">
              <a:extLst>
                <a:ext uri="{FF2B5EF4-FFF2-40B4-BE49-F238E27FC236}">
                  <a16:creationId xmlns:a16="http://schemas.microsoft.com/office/drawing/2014/main" id="{7C93644F-ED07-4C44-8F42-6FA70688D1A8}"/>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35" name="Rechthoek 234">
              <a:extLst>
                <a:ext uri="{FF2B5EF4-FFF2-40B4-BE49-F238E27FC236}">
                  <a16:creationId xmlns:a16="http://schemas.microsoft.com/office/drawing/2014/main" id="{6392E5A1-F01D-44CC-BC08-A866220F893D}"/>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25297881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oud van twee - petrol blauw">
    <p:spTree>
      <p:nvGrpSpPr>
        <p:cNvPr id="1" name=""/>
        <p:cNvGrpSpPr/>
        <p:nvPr/>
      </p:nvGrpSpPr>
      <p:grpSpPr>
        <a:xfrm>
          <a:off x="0" y="0"/>
          <a:ext cx="0" cy="0"/>
          <a:chOff x="0" y="0"/>
          <a:chExt cx="0" cy="0"/>
        </a:xfrm>
      </p:grpSpPr>
      <p:grpSp>
        <p:nvGrpSpPr>
          <p:cNvPr id="10" name="Groep 9"/>
          <p:cNvGrpSpPr/>
          <p:nvPr userDrawn="1"/>
        </p:nvGrpSpPr>
        <p:grpSpPr>
          <a:xfrm>
            <a:off x="8026593" y="1534407"/>
            <a:ext cx="3609281" cy="4474402"/>
            <a:chOff x="6014916" y="1914964"/>
            <a:chExt cx="2706961" cy="4474402"/>
          </a:xfrm>
          <a:solidFill>
            <a:schemeClr val="accent3"/>
          </a:solidFill>
        </p:grpSpPr>
        <p:sp>
          <p:nvSpPr>
            <p:cNvPr id="11" name="Vrije vorm 10"/>
            <p:cNvSpPr/>
            <p:nvPr/>
          </p:nvSpPr>
          <p:spPr>
            <a:xfrm>
              <a:off x="8377238" y="1914964"/>
              <a:ext cx="344639" cy="337506"/>
            </a:xfrm>
            <a:custGeom>
              <a:avLst/>
              <a:gdLst>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79937 w 2607128"/>
                <a:gd name="connsiteY7" fmla="*/ 176943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64946 w 2607128"/>
                <a:gd name="connsiteY7" fmla="*/ 181940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264946 w 2607128"/>
                <a:gd name="connsiteY6" fmla="*/ 181940 h 279788"/>
                <a:gd name="connsiteX7" fmla="*/ 2404269 w 2607128"/>
                <a:gd name="connsiteY7" fmla="*/ 111570 h 279788"/>
                <a:gd name="connsiteX8" fmla="*/ 2563503 w 2607128"/>
                <a:gd name="connsiteY8" fmla="*/ 436 h 279788"/>
                <a:gd name="connsiteX9" fmla="*/ 2570319 w 2607128"/>
                <a:gd name="connsiteY9" fmla="*/ 95 h 279788"/>
                <a:gd name="connsiteX0" fmla="*/ 305373 w 342182"/>
                <a:gd name="connsiteY0" fmla="*/ 95 h 279788"/>
                <a:gd name="connsiteX1" fmla="*/ 342182 w 342182"/>
                <a:gd name="connsiteY1" fmla="*/ 76704 h 279788"/>
                <a:gd name="connsiteX2" fmla="*/ 342182 w 342182"/>
                <a:gd name="connsiteY2" fmla="*/ 279788 h 279788"/>
                <a:gd name="connsiteX3" fmla="*/ 339262 w 342182"/>
                <a:gd name="connsiteY3" fmla="*/ 265325 h 279788"/>
                <a:gd name="connsiteX4" fmla="*/ 213326 w 342182"/>
                <a:gd name="connsiteY4" fmla="*/ 181849 h 279788"/>
                <a:gd name="connsiteX5" fmla="*/ 0 w 342182"/>
                <a:gd name="connsiteY5" fmla="*/ 181940 h 279788"/>
                <a:gd name="connsiteX6" fmla="*/ 139323 w 342182"/>
                <a:gd name="connsiteY6" fmla="*/ 111570 h 279788"/>
                <a:gd name="connsiteX7" fmla="*/ 298557 w 342182"/>
                <a:gd name="connsiteY7" fmla="*/ 436 h 279788"/>
                <a:gd name="connsiteX8" fmla="*/ 305373 w 342182"/>
                <a:gd name="connsiteY8" fmla="*/ 95 h 279788"/>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65325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41681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4424 w 347020"/>
                <a:gd name="connsiteY3" fmla="*/ 267744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4639"/>
                <a:gd name="connsiteY0" fmla="*/ 95 h 337506"/>
                <a:gd name="connsiteX1" fmla="*/ 342182 w 344639"/>
                <a:gd name="connsiteY1" fmla="*/ 76704 h 337506"/>
                <a:gd name="connsiteX2" fmla="*/ 344639 w 344639"/>
                <a:gd name="connsiteY2" fmla="*/ 337506 h 337506"/>
                <a:gd name="connsiteX3" fmla="*/ 334424 w 344639"/>
                <a:gd name="connsiteY3" fmla="*/ 267744 h 337506"/>
                <a:gd name="connsiteX4" fmla="*/ 213326 w 344639"/>
                <a:gd name="connsiteY4" fmla="*/ 181849 h 337506"/>
                <a:gd name="connsiteX5" fmla="*/ 0 w 344639"/>
                <a:gd name="connsiteY5" fmla="*/ 181940 h 337506"/>
                <a:gd name="connsiteX6" fmla="*/ 139323 w 344639"/>
                <a:gd name="connsiteY6" fmla="*/ 111570 h 337506"/>
                <a:gd name="connsiteX7" fmla="*/ 298557 w 344639"/>
                <a:gd name="connsiteY7" fmla="*/ 436 h 337506"/>
                <a:gd name="connsiteX8" fmla="*/ 305373 w 344639"/>
                <a:gd name="connsiteY8" fmla="*/ 95 h 33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639" h="337506">
                  <a:moveTo>
                    <a:pt x="305373" y="95"/>
                  </a:moveTo>
                  <a:cubicBezTo>
                    <a:pt x="317643" y="1117"/>
                    <a:pt x="342182" y="11331"/>
                    <a:pt x="342182" y="76704"/>
                  </a:cubicBezTo>
                  <a:cubicBezTo>
                    <a:pt x="343795" y="156494"/>
                    <a:pt x="343026" y="257716"/>
                    <a:pt x="344639" y="337506"/>
                  </a:cubicBezTo>
                  <a:cubicBezTo>
                    <a:pt x="340440" y="321396"/>
                    <a:pt x="338623" y="283854"/>
                    <a:pt x="334424" y="267744"/>
                  </a:cubicBezTo>
                  <a:cubicBezTo>
                    <a:pt x="313676" y="218689"/>
                    <a:pt x="269940" y="181849"/>
                    <a:pt x="213326" y="181849"/>
                  </a:cubicBezTo>
                  <a:lnTo>
                    <a:pt x="0" y="181940"/>
                  </a:lnTo>
                  <a:cubicBezTo>
                    <a:pt x="0" y="181940"/>
                    <a:pt x="100061" y="170406"/>
                    <a:pt x="139323" y="111570"/>
                  </a:cubicBezTo>
                  <a:cubicBezTo>
                    <a:pt x="139323" y="111570"/>
                    <a:pt x="235299" y="436"/>
                    <a:pt x="298557" y="436"/>
                  </a:cubicBezTo>
                  <a:cubicBezTo>
                    <a:pt x="298557" y="436"/>
                    <a:pt x="301284" y="-245"/>
                    <a:pt x="305373" y="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2" name="Afgeronde rechthoek 11"/>
            <p:cNvSpPr/>
            <p:nvPr/>
          </p:nvSpPr>
          <p:spPr>
            <a:xfrm>
              <a:off x="6014916" y="2088295"/>
              <a:ext cx="2706885" cy="4301071"/>
            </a:xfrm>
            <a:prstGeom prst="roundRect">
              <a:avLst>
                <a:gd name="adj" fmla="val 481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8" name="Afgeronde rechthoek 7"/>
          <p:cNvSpPr/>
          <p:nvPr userDrawn="1"/>
        </p:nvSpPr>
        <p:spPr>
          <a:xfrm>
            <a:off x="658302" y="1708486"/>
            <a:ext cx="7136801" cy="4268241"/>
          </a:xfrm>
          <a:prstGeom prst="roundRect">
            <a:avLst>
              <a:gd name="adj" fmla="val 3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 name="Title 1"/>
          <p:cNvSpPr>
            <a:spLocks noGrp="1"/>
          </p:cNvSpPr>
          <p:nvPr>
            <p:ph type="title"/>
          </p:nvPr>
        </p:nvSpPr>
        <p:spPr>
          <a:xfrm>
            <a:off x="502652" y="533569"/>
            <a:ext cx="11133221" cy="584775"/>
          </a:xfrm>
          <a:noFill/>
        </p:spPr>
        <p:txBody>
          <a:bodyPr>
            <a:spAutoFit/>
          </a:bodyPr>
          <a:lstStyle>
            <a:lvl1pPr>
              <a:defRPr>
                <a:solidFill>
                  <a:schemeClr val="accent3"/>
                </a:solidFill>
              </a:defRPr>
            </a:lvl1pPr>
          </a:lstStyle>
          <a:p>
            <a:r>
              <a:rPr lang="nl-NL" noProof="0"/>
              <a:t>Klik om de stijl te bewerken</a:t>
            </a:r>
          </a:p>
        </p:txBody>
      </p:sp>
      <p:sp>
        <p:nvSpPr>
          <p:cNvPr id="13" name="Tekstvak 12"/>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Inhoud van twee</a:t>
            </a:r>
            <a:r>
              <a:rPr lang="nl-NL" sz="1600" b="1" baseline="0" noProof="0">
                <a:solidFill>
                  <a:schemeClr val="tx1"/>
                </a:solidFill>
              </a:rPr>
              <a:t> – </a:t>
            </a:r>
            <a:r>
              <a:rPr lang="nl-NL" sz="1600" b="1" baseline="0" noProof="0" err="1">
                <a:solidFill>
                  <a:schemeClr val="tx1"/>
                </a:solidFill>
              </a:rPr>
              <a:t>petrol</a:t>
            </a:r>
            <a:r>
              <a:rPr lang="nl-NL" sz="1600" b="1" baseline="0" noProof="0">
                <a:solidFill>
                  <a:schemeClr val="tx1"/>
                </a:solidFill>
              </a:rPr>
              <a:t> blauw</a:t>
            </a:r>
            <a:endParaRPr lang="nl-NL" sz="1600" b="1" noProof="0">
              <a:solidFill>
                <a:schemeClr val="tx1"/>
              </a:solidFill>
            </a:endParaRPr>
          </a:p>
        </p:txBody>
      </p:sp>
      <p:sp>
        <p:nvSpPr>
          <p:cNvPr id="46"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47" name="Content Placeholder 2"/>
          <p:cNvSpPr>
            <a:spLocks noGrp="1"/>
          </p:cNvSpPr>
          <p:nvPr>
            <p:ph sz="half" idx="1"/>
          </p:nvPr>
        </p:nvSpPr>
        <p:spPr>
          <a:xfrm>
            <a:off x="762066" y="1708486"/>
            <a:ext cx="6916300" cy="389718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48" name="Content Placeholder 3"/>
          <p:cNvSpPr>
            <a:spLocks noGrp="1"/>
          </p:cNvSpPr>
          <p:nvPr>
            <p:ph sz="half" idx="2"/>
          </p:nvPr>
        </p:nvSpPr>
        <p:spPr bwMode="gray">
          <a:xfrm>
            <a:off x="8130359" y="1708485"/>
            <a:ext cx="3387191" cy="307777"/>
          </a:xfrm>
        </p:spPr>
        <p:txBody>
          <a:bodyPr>
            <a:spAutoFit/>
          </a:bodyPr>
          <a:lstStyle>
            <a:lvl1pP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p:txBody>
      </p:sp>
      <p:sp>
        <p:nvSpPr>
          <p:cNvPr id="50" name="Content Placeholder 3"/>
          <p:cNvSpPr>
            <a:spLocks noGrp="1"/>
          </p:cNvSpPr>
          <p:nvPr>
            <p:ph sz="half" idx="15"/>
          </p:nvPr>
        </p:nvSpPr>
        <p:spPr bwMode="gray">
          <a:xfrm>
            <a:off x="8130359" y="2315817"/>
            <a:ext cx="3387191" cy="3766524"/>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grpSp>
        <p:nvGrpSpPr>
          <p:cNvPr id="72" name="Groep 71"/>
          <p:cNvGrpSpPr/>
          <p:nvPr userDrawn="1"/>
        </p:nvGrpSpPr>
        <p:grpSpPr>
          <a:xfrm>
            <a:off x="-3279573" y="5020705"/>
            <a:ext cx="3086613" cy="1841358"/>
            <a:chOff x="8427776" y="4654945"/>
            <a:chExt cx="2314960" cy="1841358"/>
          </a:xfrm>
        </p:grpSpPr>
        <p:grpSp>
          <p:nvGrpSpPr>
            <p:cNvPr id="73" name="Groep 72"/>
            <p:cNvGrpSpPr/>
            <p:nvPr userDrawn="1"/>
          </p:nvGrpSpPr>
          <p:grpSpPr>
            <a:xfrm>
              <a:off x="8432864" y="4781014"/>
              <a:ext cx="2309872" cy="1592662"/>
              <a:chOff x="-3092517" y="-83840"/>
              <a:chExt cx="3136706" cy="2509126"/>
            </a:xfrm>
          </p:grpSpPr>
          <p:sp>
            <p:nvSpPr>
              <p:cNvPr id="76"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7" name="Ovaal 76"/>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78" name="Ovaal 77"/>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79" name="Ovaal 78"/>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0"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1"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2"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3" name="Ovaal 82"/>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84" name="Ovaal 83"/>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85"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74" name="Rechte verbindingslijn 73"/>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Rechte verbindingslijn 74"/>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87"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88" name="Tijdelijke aanduiding voor tekst 46"/>
          <p:cNvSpPr>
            <a:spLocks noGrp="1"/>
          </p:cNvSpPr>
          <p:nvPr userDrawn="1">
            <p:ph type="body" sz="quarter" idx="14" hasCustomPrompt="1"/>
          </p:nvPr>
        </p:nvSpPr>
        <p:spPr>
          <a:xfrm>
            <a:off x="762066" y="5611213"/>
            <a:ext cx="6916300" cy="476671"/>
          </a:xfrm>
        </p:spPr>
        <p:txBody>
          <a:bodyPr/>
          <a:lstStyle>
            <a:lvl1pPr>
              <a:lnSpc>
                <a:spcPts val="1100"/>
              </a:lnSpc>
              <a:defRPr sz="1000" i="1">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Legenda</a:t>
            </a:r>
          </a:p>
        </p:txBody>
      </p:sp>
      <p:grpSp>
        <p:nvGrpSpPr>
          <p:cNvPr id="89" name="Groep 88"/>
          <p:cNvGrpSpPr/>
          <p:nvPr userDrawn="1"/>
        </p:nvGrpSpPr>
        <p:grpSpPr>
          <a:xfrm>
            <a:off x="-3471145" y="-46322"/>
            <a:ext cx="3471145" cy="3781320"/>
            <a:chOff x="-2603359" y="-46322"/>
            <a:chExt cx="2603359" cy="3781320"/>
          </a:xfrm>
        </p:grpSpPr>
        <p:sp>
          <p:nvSpPr>
            <p:cNvPr id="90" name="Afgeronde rechthoek 89"/>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91"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92"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93"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95" name="Afgeronde rechthoek 94"/>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96" name="Rechthoek 95"/>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97" name="Rechte verbindingslijn 96"/>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99"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0"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1"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2"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03"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04" name="Afgeronde rechthoek 103"/>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05"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6"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7"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08"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09"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295401577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KST / TABEL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5EF7C7D7-F88F-4C9C-B852-847A70BB5273}"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TABEL 2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2" y="1459114"/>
            <a:ext cx="5015239" cy="1878839"/>
          </a:xfrm>
          <a:solidFill>
            <a:schemeClr val="bg1">
              <a:lumMod val="95000"/>
            </a:schemeClr>
          </a:solidFill>
        </p:spPr>
        <p:txBody>
          <a:bodyPr tIns="504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14" name="GRID" hidden="1">
            <a:extLst>
              <a:ext uri="{FF2B5EF4-FFF2-40B4-BE49-F238E27FC236}">
                <a16:creationId xmlns:a16="http://schemas.microsoft.com/office/drawing/2014/main" id="{5DA96321-4290-48B4-9E31-25979D37A4BF}"/>
              </a:ext>
            </a:extLst>
          </p:cNvPr>
          <p:cNvGrpSpPr/>
          <p:nvPr userDrawn="1"/>
        </p:nvGrpSpPr>
        <p:grpSpPr>
          <a:xfrm>
            <a:off x="0" y="0"/>
            <a:ext cx="12192000" cy="6858000"/>
            <a:chOff x="0" y="0"/>
            <a:chExt cx="12192000" cy="6858000"/>
          </a:xfrm>
          <a:solidFill>
            <a:schemeClr val="tx1">
              <a:alpha val="30000"/>
            </a:schemeClr>
          </a:solidFill>
        </p:grpSpPr>
        <p:sp>
          <p:nvSpPr>
            <p:cNvPr id="15" name="Rechthoek 14">
              <a:extLst>
                <a:ext uri="{FF2B5EF4-FFF2-40B4-BE49-F238E27FC236}">
                  <a16:creationId xmlns:a16="http://schemas.microsoft.com/office/drawing/2014/main" id="{CB122825-8A60-40A8-B68A-699C82DDB342}"/>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6" name="Rechthoek 15">
              <a:extLst>
                <a:ext uri="{FF2B5EF4-FFF2-40B4-BE49-F238E27FC236}">
                  <a16:creationId xmlns:a16="http://schemas.microsoft.com/office/drawing/2014/main" id="{1120589F-D38A-4032-9F9B-3C5979236C42}"/>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9" name="Rechthoek 18">
              <a:extLst>
                <a:ext uri="{FF2B5EF4-FFF2-40B4-BE49-F238E27FC236}">
                  <a16:creationId xmlns:a16="http://schemas.microsoft.com/office/drawing/2014/main" id="{4A81EAD3-7EF1-4206-98D8-337B2A55A2B6}"/>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0" name="Rechthoek 19">
              <a:extLst>
                <a:ext uri="{FF2B5EF4-FFF2-40B4-BE49-F238E27FC236}">
                  <a16:creationId xmlns:a16="http://schemas.microsoft.com/office/drawing/2014/main" id="{A25CA14D-A742-4DC9-8077-66CC72097644}"/>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1" name="Rechthoek 20">
              <a:extLst>
                <a:ext uri="{FF2B5EF4-FFF2-40B4-BE49-F238E27FC236}">
                  <a16:creationId xmlns:a16="http://schemas.microsoft.com/office/drawing/2014/main" id="{CAEF66F7-FC99-4573-9A51-A226686CDB3A}"/>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2" name="Rechthoek 21">
              <a:extLst>
                <a:ext uri="{FF2B5EF4-FFF2-40B4-BE49-F238E27FC236}">
                  <a16:creationId xmlns:a16="http://schemas.microsoft.com/office/drawing/2014/main" id="{BF22E5F8-A866-4ECF-91EE-0FD2C05EA447}"/>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141661C6-CEAA-4E71-877D-AFF8F9DA6F63}"/>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106EF57B-5E81-4FFE-B917-76EE3E50BDB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7" name="Rechthoek 26">
              <a:extLst>
                <a:ext uri="{FF2B5EF4-FFF2-40B4-BE49-F238E27FC236}">
                  <a16:creationId xmlns:a16="http://schemas.microsoft.com/office/drawing/2014/main" id="{206D8710-A5DB-4198-83DC-F4CAD94EB907}"/>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A018895F-81C7-4C74-825A-4F37B0F61DC9}"/>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9" name="Rechthoek 28">
              <a:extLst>
                <a:ext uri="{FF2B5EF4-FFF2-40B4-BE49-F238E27FC236}">
                  <a16:creationId xmlns:a16="http://schemas.microsoft.com/office/drawing/2014/main" id="{1D2962F3-C415-4096-9444-8FD161521935}"/>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0" name="Rechthoek 29">
              <a:extLst>
                <a:ext uri="{FF2B5EF4-FFF2-40B4-BE49-F238E27FC236}">
                  <a16:creationId xmlns:a16="http://schemas.microsoft.com/office/drawing/2014/main" id="{AED4D8FD-078B-47B8-B991-58C716DDE36D}"/>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1" name="Rechthoek 30">
              <a:extLst>
                <a:ext uri="{FF2B5EF4-FFF2-40B4-BE49-F238E27FC236}">
                  <a16:creationId xmlns:a16="http://schemas.microsoft.com/office/drawing/2014/main" id="{AA783331-7115-4DED-99F6-A20C4CD37FBB}"/>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
        <p:nvSpPr>
          <p:cNvPr id="32" name="Tijdelijke aanduiding voor tabel 8">
            <a:extLst>
              <a:ext uri="{FF2B5EF4-FFF2-40B4-BE49-F238E27FC236}">
                <a16:creationId xmlns:a16="http://schemas.microsoft.com/office/drawing/2014/main" id="{1791F0C3-BE15-409D-9204-AB5C32387DBC}"/>
              </a:ext>
            </a:extLst>
          </p:cNvPr>
          <p:cNvSpPr>
            <a:spLocks noGrp="1"/>
          </p:cNvSpPr>
          <p:nvPr>
            <p:ph type="tbl" sz="quarter" idx="18" hasCustomPrompt="1"/>
          </p:nvPr>
        </p:nvSpPr>
        <p:spPr>
          <a:xfrm>
            <a:off x="6636762" y="3699002"/>
            <a:ext cx="5015239" cy="1878839"/>
          </a:xfrm>
          <a:solidFill>
            <a:schemeClr val="bg1">
              <a:lumMod val="95000"/>
            </a:schemeClr>
          </a:solidFill>
        </p:spPr>
        <p:txBody>
          <a:bodyPr tIns="504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221" name="Instructie">
            <a:extLst>
              <a:ext uri="{FF2B5EF4-FFF2-40B4-BE49-F238E27FC236}">
                <a16:creationId xmlns:a16="http://schemas.microsoft.com/office/drawing/2014/main" id="{B2653EA5-671F-4111-B5AB-9B0F2D3F7A49}"/>
              </a:ext>
            </a:extLst>
          </p:cNvPr>
          <p:cNvGrpSpPr/>
          <p:nvPr userDrawn="1"/>
        </p:nvGrpSpPr>
        <p:grpSpPr>
          <a:xfrm>
            <a:off x="-3437546" y="1436"/>
            <a:ext cx="3201327" cy="6041867"/>
            <a:chOff x="-3437547" y="1434"/>
            <a:chExt cx="3201327" cy="6041867"/>
          </a:xfrm>
        </p:grpSpPr>
        <p:cxnSp>
          <p:nvCxnSpPr>
            <p:cNvPr id="222" name="Rechte verbindingslijn 221">
              <a:extLst>
                <a:ext uri="{FF2B5EF4-FFF2-40B4-BE49-F238E27FC236}">
                  <a16:creationId xmlns:a16="http://schemas.microsoft.com/office/drawing/2014/main" id="{B739E408-5A00-4F55-8ADD-A80FFFBDE4C9}"/>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23" name="Ovaal 222">
              <a:extLst>
                <a:ext uri="{FF2B5EF4-FFF2-40B4-BE49-F238E27FC236}">
                  <a16:creationId xmlns:a16="http://schemas.microsoft.com/office/drawing/2014/main" id="{C90D1D6A-87EC-454A-B282-0A0BB556337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24" name="Rechthoek 223">
              <a:extLst>
                <a:ext uri="{FF2B5EF4-FFF2-40B4-BE49-F238E27FC236}">
                  <a16:creationId xmlns:a16="http://schemas.microsoft.com/office/drawing/2014/main" id="{AE709315-9E90-4655-9D18-B2BFA65A6D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5" name="Ovaal 224">
              <a:extLst>
                <a:ext uri="{FF2B5EF4-FFF2-40B4-BE49-F238E27FC236}">
                  <a16:creationId xmlns:a16="http://schemas.microsoft.com/office/drawing/2014/main" id="{21892402-A260-4AED-A74E-189787397240}"/>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26" name="Rechthoek 225">
              <a:extLst>
                <a:ext uri="{FF2B5EF4-FFF2-40B4-BE49-F238E27FC236}">
                  <a16:creationId xmlns:a16="http://schemas.microsoft.com/office/drawing/2014/main" id="{8FD1AF7D-061A-4D63-9C5A-B207F8C79D47}"/>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7" name="Ovaal 226">
              <a:extLst>
                <a:ext uri="{FF2B5EF4-FFF2-40B4-BE49-F238E27FC236}">
                  <a16:creationId xmlns:a16="http://schemas.microsoft.com/office/drawing/2014/main" id="{F1849587-23D4-4A69-A493-72F2B7B3D955}"/>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28" name="Rechthoek 227">
              <a:extLst>
                <a:ext uri="{FF2B5EF4-FFF2-40B4-BE49-F238E27FC236}">
                  <a16:creationId xmlns:a16="http://schemas.microsoft.com/office/drawing/2014/main" id="{CFD9FD95-34E2-4323-9D4C-BF754CA2E606}"/>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29" name="Ovaal 228">
              <a:extLst>
                <a:ext uri="{FF2B5EF4-FFF2-40B4-BE49-F238E27FC236}">
                  <a16:creationId xmlns:a16="http://schemas.microsoft.com/office/drawing/2014/main" id="{631F9D02-783D-4312-AA03-30BF60E24AFB}"/>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30" name="Rechthoek 229">
              <a:extLst>
                <a:ext uri="{FF2B5EF4-FFF2-40B4-BE49-F238E27FC236}">
                  <a16:creationId xmlns:a16="http://schemas.microsoft.com/office/drawing/2014/main" id="{81C1DFE0-9D0B-4AA0-BD49-8134885BA1FA}"/>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231" name="Rechthoek 230">
              <a:extLst>
                <a:ext uri="{FF2B5EF4-FFF2-40B4-BE49-F238E27FC236}">
                  <a16:creationId xmlns:a16="http://schemas.microsoft.com/office/drawing/2014/main" id="{65943516-EF34-4779-8262-A7515CC50C0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32" name="Ovaal 231">
              <a:extLst>
                <a:ext uri="{FF2B5EF4-FFF2-40B4-BE49-F238E27FC236}">
                  <a16:creationId xmlns:a16="http://schemas.microsoft.com/office/drawing/2014/main" id="{34B1D59C-0AC8-465B-A4B1-A69DCA3B9272}"/>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33" name="Rechte verbindingslijn 232">
              <a:extLst>
                <a:ext uri="{FF2B5EF4-FFF2-40B4-BE49-F238E27FC236}">
                  <a16:creationId xmlns:a16="http://schemas.microsoft.com/office/drawing/2014/main" id="{BC582A78-1BDB-4F83-A67B-EEDCFB40C3D5}"/>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34" name="Groep 233">
              <a:extLst>
                <a:ext uri="{FF2B5EF4-FFF2-40B4-BE49-F238E27FC236}">
                  <a16:creationId xmlns:a16="http://schemas.microsoft.com/office/drawing/2014/main" id="{90573D25-69B9-452E-A4E0-AC192C72A08B}"/>
                </a:ext>
              </a:extLst>
            </p:cNvPr>
            <p:cNvGrpSpPr/>
            <p:nvPr userDrawn="1"/>
          </p:nvGrpSpPr>
          <p:grpSpPr>
            <a:xfrm>
              <a:off x="-3437547" y="1295337"/>
              <a:ext cx="2933825" cy="558875"/>
              <a:chOff x="-3419346" y="368233"/>
              <a:chExt cx="3904920" cy="743862"/>
            </a:xfrm>
          </p:grpSpPr>
          <p:sp>
            <p:nvSpPr>
              <p:cNvPr id="251" name="Rechthoek 250">
                <a:extLst>
                  <a:ext uri="{FF2B5EF4-FFF2-40B4-BE49-F238E27FC236}">
                    <a16:creationId xmlns:a16="http://schemas.microsoft.com/office/drawing/2014/main" id="{3CDD5308-008F-4F39-B357-57C3B3A2EB70}"/>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52" name="Rechte verbindingslijn 251">
                <a:extLst>
                  <a:ext uri="{FF2B5EF4-FFF2-40B4-BE49-F238E27FC236}">
                    <a16:creationId xmlns:a16="http://schemas.microsoft.com/office/drawing/2014/main" id="{3EB055C4-5D9A-45D3-B566-B85757EE073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3" name="Rechte verbindingslijn 252">
                <a:extLst>
                  <a:ext uri="{FF2B5EF4-FFF2-40B4-BE49-F238E27FC236}">
                    <a16:creationId xmlns:a16="http://schemas.microsoft.com/office/drawing/2014/main" id="{73568B89-4281-41EE-BAAA-64726CDA976A}"/>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4" name="Rechthoek 253">
                <a:extLst>
                  <a:ext uri="{FF2B5EF4-FFF2-40B4-BE49-F238E27FC236}">
                    <a16:creationId xmlns:a16="http://schemas.microsoft.com/office/drawing/2014/main" id="{104A6F6F-1081-48F1-8E08-BD7E552E147B}"/>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55" name="Groep 254">
                <a:extLst>
                  <a:ext uri="{FF2B5EF4-FFF2-40B4-BE49-F238E27FC236}">
                    <a16:creationId xmlns:a16="http://schemas.microsoft.com/office/drawing/2014/main" id="{82D66327-D1E6-49D8-B4FF-18CF5A8CBDEE}"/>
                  </a:ext>
                </a:extLst>
              </p:cNvPr>
              <p:cNvGrpSpPr/>
              <p:nvPr userDrawn="1"/>
            </p:nvGrpSpPr>
            <p:grpSpPr>
              <a:xfrm>
                <a:off x="-3002834" y="720303"/>
                <a:ext cx="182598" cy="143759"/>
                <a:chOff x="-3310843" y="700986"/>
                <a:chExt cx="182598" cy="143759"/>
              </a:xfrm>
            </p:grpSpPr>
            <p:grpSp>
              <p:nvGrpSpPr>
                <p:cNvPr id="294" name="Groep 293">
                  <a:extLst>
                    <a:ext uri="{FF2B5EF4-FFF2-40B4-BE49-F238E27FC236}">
                      <a16:creationId xmlns:a16="http://schemas.microsoft.com/office/drawing/2014/main" id="{D064D897-24AD-4505-AC71-EFF9AEDB3B4A}"/>
                    </a:ext>
                  </a:extLst>
                </p:cNvPr>
                <p:cNvGrpSpPr/>
                <p:nvPr userDrawn="1"/>
              </p:nvGrpSpPr>
              <p:grpSpPr>
                <a:xfrm>
                  <a:off x="-3310843" y="700986"/>
                  <a:ext cx="182598" cy="143759"/>
                  <a:chOff x="-3310843" y="700986"/>
                  <a:chExt cx="182598" cy="143759"/>
                </a:xfrm>
              </p:grpSpPr>
              <p:cxnSp>
                <p:nvCxnSpPr>
                  <p:cNvPr id="298" name="Rechte verbindingslijn 297">
                    <a:extLst>
                      <a:ext uri="{FF2B5EF4-FFF2-40B4-BE49-F238E27FC236}">
                        <a16:creationId xmlns:a16="http://schemas.microsoft.com/office/drawing/2014/main" id="{461290BE-8F96-4DC5-B43F-8C9BE432490D}"/>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99" name="Rechte verbindingslijn 298">
                    <a:extLst>
                      <a:ext uri="{FF2B5EF4-FFF2-40B4-BE49-F238E27FC236}">
                        <a16:creationId xmlns:a16="http://schemas.microsoft.com/office/drawing/2014/main" id="{D010547F-27BC-481F-8B43-21CD74442F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00" name="Rechte verbindingslijn 299">
                    <a:extLst>
                      <a:ext uri="{FF2B5EF4-FFF2-40B4-BE49-F238E27FC236}">
                        <a16:creationId xmlns:a16="http://schemas.microsoft.com/office/drawing/2014/main" id="{3E3592CE-4A8E-40BE-AEA9-2B856155089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01" name="Rechte verbindingslijn 300">
                    <a:extLst>
                      <a:ext uri="{FF2B5EF4-FFF2-40B4-BE49-F238E27FC236}">
                        <a16:creationId xmlns:a16="http://schemas.microsoft.com/office/drawing/2014/main" id="{3E7980F6-CF0F-4EB4-928D-49FE0BD9318B}"/>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02" name="Rechte verbindingslijn 301">
                    <a:extLst>
                      <a:ext uri="{FF2B5EF4-FFF2-40B4-BE49-F238E27FC236}">
                        <a16:creationId xmlns:a16="http://schemas.microsoft.com/office/drawing/2014/main" id="{43DD3D00-5F53-4167-AF98-B68B882BF1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95" name="Groep 294">
                  <a:extLst>
                    <a:ext uri="{FF2B5EF4-FFF2-40B4-BE49-F238E27FC236}">
                      <a16:creationId xmlns:a16="http://schemas.microsoft.com/office/drawing/2014/main" id="{660B7A9C-290D-4AFF-BF60-F53119A6FE84}"/>
                    </a:ext>
                  </a:extLst>
                </p:cNvPr>
                <p:cNvGrpSpPr/>
                <p:nvPr userDrawn="1"/>
              </p:nvGrpSpPr>
              <p:grpSpPr>
                <a:xfrm flipH="1">
                  <a:off x="-3310774" y="735854"/>
                  <a:ext cx="88801" cy="72568"/>
                  <a:chOff x="-2091059" y="1395403"/>
                  <a:chExt cx="157316" cy="128558"/>
                </a:xfrm>
              </p:grpSpPr>
              <p:sp>
                <p:nvSpPr>
                  <p:cNvPr id="296" name="Rechthoek 295">
                    <a:extLst>
                      <a:ext uri="{FF2B5EF4-FFF2-40B4-BE49-F238E27FC236}">
                        <a16:creationId xmlns:a16="http://schemas.microsoft.com/office/drawing/2014/main" id="{C603840F-DBF6-4FEB-B5F4-1CD52B49A02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97" name="Pijl: punthaak 296">
                    <a:extLst>
                      <a:ext uri="{FF2B5EF4-FFF2-40B4-BE49-F238E27FC236}">
                        <a16:creationId xmlns:a16="http://schemas.microsoft.com/office/drawing/2014/main" id="{2FEF4729-249B-4A02-8F95-8D93EB2AA4D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56" name="Groep 255">
                <a:extLst>
                  <a:ext uri="{FF2B5EF4-FFF2-40B4-BE49-F238E27FC236}">
                    <a16:creationId xmlns:a16="http://schemas.microsoft.com/office/drawing/2014/main" id="{90CC8A40-D3B0-49D2-81F5-A4BE3B9B9B4C}"/>
                  </a:ext>
                </a:extLst>
              </p:cNvPr>
              <p:cNvGrpSpPr/>
              <p:nvPr userDrawn="1"/>
            </p:nvGrpSpPr>
            <p:grpSpPr>
              <a:xfrm>
                <a:off x="-3326107" y="720303"/>
                <a:ext cx="182598" cy="143759"/>
                <a:chOff x="-3634116" y="700986"/>
                <a:chExt cx="182598" cy="143759"/>
              </a:xfrm>
            </p:grpSpPr>
            <p:grpSp>
              <p:nvGrpSpPr>
                <p:cNvPr id="285" name="Groep 284">
                  <a:extLst>
                    <a:ext uri="{FF2B5EF4-FFF2-40B4-BE49-F238E27FC236}">
                      <a16:creationId xmlns:a16="http://schemas.microsoft.com/office/drawing/2014/main" id="{92B7769E-63A1-4ABD-A0A0-0B443112A358}"/>
                    </a:ext>
                  </a:extLst>
                </p:cNvPr>
                <p:cNvGrpSpPr/>
                <p:nvPr userDrawn="1"/>
              </p:nvGrpSpPr>
              <p:grpSpPr>
                <a:xfrm>
                  <a:off x="-3634116" y="700986"/>
                  <a:ext cx="182598" cy="143759"/>
                  <a:chOff x="-3634116" y="700986"/>
                  <a:chExt cx="182598" cy="143759"/>
                </a:xfrm>
              </p:grpSpPr>
              <p:cxnSp>
                <p:nvCxnSpPr>
                  <p:cNvPr id="289" name="Rechte verbindingslijn 288">
                    <a:extLst>
                      <a:ext uri="{FF2B5EF4-FFF2-40B4-BE49-F238E27FC236}">
                        <a16:creationId xmlns:a16="http://schemas.microsoft.com/office/drawing/2014/main" id="{F8257E83-CBC0-4F70-8194-62C0F4E5B0E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90" name="Rechte verbindingslijn 289">
                    <a:extLst>
                      <a:ext uri="{FF2B5EF4-FFF2-40B4-BE49-F238E27FC236}">
                        <a16:creationId xmlns:a16="http://schemas.microsoft.com/office/drawing/2014/main" id="{444686B2-5707-4A14-A116-4410697217A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91" name="Rechte verbindingslijn 290">
                    <a:extLst>
                      <a:ext uri="{FF2B5EF4-FFF2-40B4-BE49-F238E27FC236}">
                        <a16:creationId xmlns:a16="http://schemas.microsoft.com/office/drawing/2014/main" id="{A684E9F9-EF66-425F-BB26-8C990205A2F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92" name="Rechte verbindingslijn 291">
                    <a:extLst>
                      <a:ext uri="{FF2B5EF4-FFF2-40B4-BE49-F238E27FC236}">
                        <a16:creationId xmlns:a16="http://schemas.microsoft.com/office/drawing/2014/main" id="{88F545D0-D3C6-4B11-9E0A-9550379DCFE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93" name="Rechte verbindingslijn 292">
                    <a:extLst>
                      <a:ext uri="{FF2B5EF4-FFF2-40B4-BE49-F238E27FC236}">
                        <a16:creationId xmlns:a16="http://schemas.microsoft.com/office/drawing/2014/main" id="{17A6ACE0-81D8-4012-9382-C2566632BC6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86" name="Groep 285">
                  <a:extLst>
                    <a:ext uri="{FF2B5EF4-FFF2-40B4-BE49-F238E27FC236}">
                      <a16:creationId xmlns:a16="http://schemas.microsoft.com/office/drawing/2014/main" id="{B37E1FA7-BE64-4849-81DA-4E4052C18966}"/>
                    </a:ext>
                  </a:extLst>
                </p:cNvPr>
                <p:cNvGrpSpPr/>
                <p:nvPr userDrawn="1"/>
              </p:nvGrpSpPr>
              <p:grpSpPr>
                <a:xfrm>
                  <a:off x="-3634047" y="735854"/>
                  <a:ext cx="88801" cy="72568"/>
                  <a:chOff x="-2091059" y="1395403"/>
                  <a:chExt cx="157316" cy="128558"/>
                </a:xfrm>
              </p:grpSpPr>
              <p:sp>
                <p:nvSpPr>
                  <p:cNvPr id="287" name="Rechthoek 286">
                    <a:extLst>
                      <a:ext uri="{FF2B5EF4-FFF2-40B4-BE49-F238E27FC236}">
                        <a16:creationId xmlns:a16="http://schemas.microsoft.com/office/drawing/2014/main" id="{67050660-9FF3-478A-99D9-1090E38523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8" name="Pijl: punthaak 287">
                    <a:extLst>
                      <a:ext uri="{FF2B5EF4-FFF2-40B4-BE49-F238E27FC236}">
                        <a16:creationId xmlns:a16="http://schemas.microsoft.com/office/drawing/2014/main" id="{7BF97517-051C-45CD-8288-B6A7B57E61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57" name="Rechte verbindingslijn 256">
                <a:extLst>
                  <a:ext uri="{FF2B5EF4-FFF2-40B4-BE49-F238E27FC236}">
                    <a16:creationId xmlns:a16="http://schemas.microsoft.com/office/drawing/2014/main" id="{D4F99625-C68F-4DC9-BEE4-48D3ACEC3549}"/>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58" name="Rechte verbindingslijn 257">
                <a:extLst>
                  <a:ext uri="{FF2B5EF4-FFF2-40B4-BE49-F238E27FC236}">
                    <a16:creationId xmlns:a16="http://schemas.microsoft.com/office/drawing/2014/main" id="{359AD480-C921-4023-8503-922C9D517F44}"/>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59" name="Groep 258">
                <a:extLst>
                  <a:ext uri="{FF2B5EF4-FFF2-40B4-BE49-F238E27FC236}">
                    <a16:creationId xmlns:a16="http://schemas.microsoft.com/office/drawing/2014/main" id="{95045E8D-1C5E-4191-B6CD-46026C012D0D}"/>
                  </a:ext>
                </a:extLst>
              </p:cNvPr>
              <p:cNvGrpSpPr/>
              <p:nvPr userDrawn="1"/>
            </p:nvGrpSpPr>
            <p:grpSpPr>
              <a:xfrm>
                <a:off x="-2425037" y="370226"/>
                <a:ext cx="357690" cy="330595"/>
                <a:chOff x="-2721817" y="347336"/>
                <a:chExt cx="432805" cy="400021"/>
              </a:xfrm>
            </p:grpSpPr>
            <p:sp>
              <p:nvSpPr>
                <p:cNvPr id="274" name="Rechthoek 273">
                  <a:extLst>
                    <a:ext uri="{FF2B5EF4-FFF2-40B4-BE49-F238E27FC236}">
                      <a16:creationId xmlns:a16="http://schemas.microsoft.com/office/drawing/2014/main" id="{3015B5EB-2DC8-403F-A375-84E4F086439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75" name="Groep 274">
                  <a:extLst>
                    <a:ext uri="{FF2B5EF4-FFF2-40B4-BE49-F238E27FC236}">
                      <a16:creationId xmlns:a16="http://schemas.microsoft.com/office/drawing/2014/main" id="{EB779A8C-1DB8-4044-8D62-A7F88100FC55}"/>
                    </a:ext>
                  </a:extLst>
                </p:cNvPr>
                <p:cNvGrpSpPr/>
                <p:nvPr userDrawn="1"/>
              </p:nvGrpSpPr>
              <p:grpSpPr>
                <a:xfrm>
                  <a:off x="-2652453" y="431583"/>
                  <a:ext cx="294076" cy="231526"/>
                  <a:chOff x="-3634116" y="700986"/>
                  <a:chExt cx="182598" cy="143759"/>
                </a:xfrm>
              </p:grpSpPr>
              <p:grpSp>
                <p:nvGrpSpPr>
                  <p:cNvPr id="276" name="Groep 275">
                    <a:extLst>
                      <a:ext uri="{FF2B5EF4-FFF2-40B4-BE49-F238E27FC236}">
                        <a16:creationId xmlns:a16="http://schemas.microsoft.com/office/drawing/2014/main" id="{D2A35FED-6BD8-41AB-8F59-FF2BF33BCD89}"/>
                      </a:ext>
                    </a:extLst>
                  </p:cNvPr>
                  <p:cNvGrpSpPr/>
                  <p:nvPr userDrawn="1"/>
                </p:nvGrpSpPr>
                <p:grpSpPr>
                  <a:xfrm>
                    <a:off x="-3634116" y="700986"/>
                    <a:ext cx="182598" cy="143759"/>
                    <a:chOff x="-3634116" y="700986"/>
                    <a:chExt cx="182598" cy="143759"/>
                  </a:xfrm>
                </p:grpSpPr>
                <p:cxnSp>
                  <p:nvCxnSpPr>
                    <p:cNvPr id="280" name="Rechte verbindingslijn 279">
                      <a:extLst>
                        <a:ext uri="{FF2B5EF4-FFF2-40B4-BE49-F238E27FC236}">
                          <a16:creationId xmlns:a16="http://schemas.microsoft.com/office/drawing/2014/main" id="{DD41E0A3-79C5-42F3-9712-AA3D53B2671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81" name="Rechte verbindingslijn 280">
                      <a:extLst>
                        <a:ext uri="{FF2B5EF4-FFF2-40B4-BE49-F238E27FC236}">
                          <a16:creationId xmlns:a16="http://schemas.microsoft.com/office/drawing/2014/main" id="{82358B59-3D3A-423A-9B4B-B81D16CE225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82" name="Rechte verbindingslijn 281">
                      <a:extLst>
                        <a:ext uri="{FF2B5EF4-FFF2-40B4-BE49-F238E27FC236}">
                          <a16:creationId xmlns:a16="http://schemas.microsoft.com/office/drawing/2014/main" id="{5F8F92CE-CF74-4486-8DF0-5134F7E303F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83" name="Rechte verbindingslijn 282">
                      <a:extLst>
                        <a:ext uri="{FF2B5EF4-FFF2-40B4-BE49-F238E27FC236}">
                          <a16:creationId xmlns:a16="http://schemas.microsoft.com/office/drawing/2014/main" id="{AA3E59B8-4359-4B34-8EFC-2B956B2CD1EA}"/>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84" name="Rechte verbindingslijn 283">
                      <a:extLst>
                        <a:ext uri="{FF2B5EF4-FFF2-40B4-BE49-F238E27FC236}">
                          <a16:creationId xmlns:a16="http://schemas.microsoft.com/office/drawing/2014/main" id="{71D4AF3A-3A86-405C-8CA7-BDD09DD8D27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77" name="Groep 276">
                    <a:extLst>
                      <a:ext uri="{FF2B5EF4-FFF2-40B4-BE49-F238E27FC236}">
                        <a16:creationId xmlns:a16="http://schemas.microsoft.com/office/drawing/2014/main" id="{54BF1B23-EF9E-48DE-BF13-8BFB4397FE55}"/>
                      </a:ext>
                    </a:extLst>
                  </p:cNvPr>
                  <p:cNvGrpSpPr/>
                  <p:nvPr userDrawn="1"/>
                </p:nvGrpSpPr>
                <p:grpSpPr>
                  <a:xfrm>
                    <a:off x="-3634047" y="735854"/>
                    <a:ext cx="88801" cy="72568"/>
                    <a:chOff x="-2091059" y="1395403"/>
                    <a:chExt cx="157316" cy="128558"/>
                  </a:xfrm>
                </p:grpSpPr>
                <p:sp>
                  <p:nvSpPr>
                    <p:cNvPr id="278" name="Rechthoek 277">
                      <a:extLst>
                        <a:ext uri="{FF2B5EF4-FFF2-40B4-BE49-F238E27FC236}">
                          <a16:creationId xmlns:a16="http://schemas.microsoft.com/office/drawing/2014/main" id="{8B0FB909-EF47-4536-A922-4403F82E9D8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9" name="Pijl: punthaak 278">
                      <a:extLst>
                        <a:ext uri="{FF2B5EF4-FFF2-40B4-BE49-F238E27FC236}">
                          <a16:creationId xmlns:a16="http://schemas.microsoft.com/office/drawing/2014/main" id="{7178D84D-7369-4BF5-A5EB-65A7F01B44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60" name="Groep 259">
                <a:extLst>
                  <a:ext uri="{FF2B5EF4-FFF2-40B4-BE49-F238E27FC236}">
                    <a16:creationId xmlns:a16="http://schemas.microsoft.com/office/drawing/2014/main" id="{B4D0F6CC-A6CA-460C-9B22-5F69761037C0}"/>
                  </a:ext>
                </a:extLst>
              </p:cNvPr>
              <p:cNvGrpSpPr/>
              <p:nvPr userDrawn="1"/>
            </p:nvGrpSpPr>
            <p:grpSpPr>
              <a:xfrm>
                <a:off x="-2425037" y="781500"/>
                <a:ext cx="357690" cy="330595"/>
                <a:chOff x="-2721817" y="782525"/>
                <a:chExt cx="432805" cy="400021"/>
              </a:xfrm>
            </p:grpSpPr>
            <p:sp>
              <p:nvSpPr>
                <p:cNvPr id="263" name="Rechthoek 262">
                  <a:extLst>
                    <a:ext uri="{FF2B5EF4-FFF2-40B4-BE49-F238E27FC236}">
                      <a16:creationId xmlns:a16="http://schemas.microsoft.com/office/drawing/2014/main" id="{1C8D6848-59EE-475D-A328-BE5B49EB6A5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64" name="Groep 263">
                  <a:extLst>
                    <a:ext uri="{FF2B5EF4-FFF2-40B4-BE49-F238E27FC236}">
                      <a16:creationId xmlns:a16="http://schemas.microsoft.com/office/drawing/2014/main" id="{F3DC2B7C-A7AB-4E99-B4F9-50A543CB34A4}"/>
                    </a:ext>
                  </a:extLst>
                </p:cNvPr>
                <p:cNvGrpSpPr/>
                <p:nvPr userDrawn="1"/>
              </p:nvGrpSpPr>
              <p:grpSpPr>
                <a:xfrm>
                  <a:off x="-2652453" y="866772"/>
                  <a:ext cx="294076" cy="231526"/>
                  <a:chOff x="-3310843" y="700986"/>
                  <a:chExt cx="182598" cy="143759"/>
                </a:xfrm>
              </p:grpSpPr>
              <p:grpSp>
                <p:nvGrpSpPr>
                  <p:cNvPr id="265" name="Groep 264">
                    <a:extLst>
                      <a:ext uri="{FF2B5EF4-FFF2-40B4-BE49-F238E27FC236}">
                        <a16:creationId xmlns:a16="http://schemas.microsoft.com/office/drawing/2014/main" id="{D10431F4-4F32-4040-8F34-1A80843AB2EE}"/>
                      </a:ext>
                    </a:extLst>
                  </p:cNvPr>
                  <p:cNvGrpSpPr/>
                  <p:nvPr userDrawn="1"/>
                </p:nvGrpSpPr>
                <p:grpSpPr>
                  <a:xfrm>
                    <a:off x="-3310843" y="700986"/>
                    <a:ext cx="182598" cy="143759"/>
                    <a:chOff x="-3310843" y="700986"/>
                    <a:chExt cx="182598" cy="143759"/>
                  </a:xfrm>
                </p:grpSpPr>
                <p:cxnSp>
                  <p:nvCxnSpPr>
                    <p:cNvPr id="269" name="Rechte verbindingslijn 268">
                      <a:extLst>
                        <a:ext uri="{FF2B5EF4-FFF2-40B4-BE49-F238E27FC236}">
                          <a16:creationId xmlns:a16="http://schemas.microsoft.com/office/drawing/2014/main" id="{19161EDE-E28A-4E33-BD84-1998EC21B9C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70" name="Rechte verbindingslijn 269">
                      <a:extLst>
                        <a:ext uri="{FF2B5EF4-FFF2-40B4-BE49-F238E27FC236}">
                          <a16:creationId xmlns:a16="http://schemas.microsoft.com/office/drawing/2014/main" id="{567DC791-F3FA-46FA-9A76-991F5B946761}"/>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71" name="Rechte verbindingslijn 270">
                      <a:extLst>
                        <a:ext uri="{FF2B5EF4-FFF2-40B4-BE49-F238E27FC236}">
                          <a16:creationId xmlns:a16="http://schemas.microsoft.com/office/drawing/2014/main" id="{276ED34B-DABD-4507-9AD3-164CFC8E4A1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72" name="Rechte verbindingslijn 271">
                      <a:extLst>
                        <a:ext uri="{FF2B5EF4-FFF2-40B4-BE49-F238E27FC236}">
                          <a16:creationId xmlns:a16="http://schemas.microsoft.com/office/drawing/2014/main" id="{9F8FF6F4-460B-40FD-9EEB-C2F6DA2716F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73" name="Rechte verbindingslijn 272">
                      <a:extLst>
                        <a:ext uri="{FF2B5EF4-FFF2-40B4-BE49-F238E27FC236}">
                          <a16:creationId xmlns:a16="http://schemas.microsoft.com/office/drawing/2014/main" id="{32E039AD-2A01-49DA-9454-2D5E1A83872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66" name="Groep 265">
                    <a:extLst>
                      <a:ext uri="{FF2B5EF4-FFF2-40B4-BE49-F238E27FC236}">
                        <a16:creationId xmlns:a16="http://schemas.microsoft.com/office/drawing/2014/main" id="{DEE0F91F-2E31-49EB-80D1-4051937A9390}"/>
                      </a:ext>
                    </a:extLst>
                  </p:cNvPr>
                  <p:cNvGrpSpPr/>
                  <p:nvPr userDrawn="1"/>
                </p:nvGrpSpPr>
                <p:grpSpPr>
                  <a:xfrm flipH="1">
                    <a:off x="-3310774" y="735854"/>
                    <a:ext cx="88801" cy="72568"/>
                    <a:chOff x="-2091059" y="1395403"/>
                    <a:chExt cx="157316" cy="128558"/>
                  </a:xfrm>
                </p:grpSpPr>
                <p:sp>
                  <p:nvSpPr>
                    <p:cNvPr id="267" name="Rechthoek 266">
                      <a:extLst>
                        <a:ext uri="{FF2B5EF4-FFF2-40B4-BE49-F238E27FC236}">
                          <a16:creationId xmlns:a16="http://schemas.microsoft.com/office/drawing/2014/main" id="{543A816E-051C-41BB-8834-E313CFB7D09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8" name="Pijl: punthaak 267">
                      <a:extLst>
                        <a:ext uri="{FF2B5EF4-FFF2-40B4-BE49-F238E27FC236}">
                          <a16:creationId xmlns:a16="http://schemas.microsoft.com/office/drawing/2014/main" id="{7BDB7020-6C5E-43E8-A31E-0C7F32E15DF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61" name="Rechthoek 260">
                <a:extLst>
                  <a:ext uri="{FF2B5EF4-FFF2-40B4-BE49-F238E27FC236}">
                    <a16:creationId xmlns:a16="http://schemas.microsoft.com/office/drawing/2014/main" id="{F1C6515C-7515-4ED6-B2B5-3D65E095570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62" name="Rechthoek 261">
                <a:extLst>
                  <a:ext uri="{FF2B5EF4-FFF2-40B4-BE49-F238E27FC236}">
                    <a16:creationId xmlns:a16="http://schemas.microsoft.com/office/drawing/2014/main" id="{3EB7F3CC-7DFD-4B50-AA12-64AF660AA23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35" name="Rechte verbindingslijn 234">
              <a:extLst>
                <a:ext uri="{FF2B5EF4-FFF2-40B4-BE49-F238E27FC236}">
                  <a16:creationId xmlns:a16="http://schemas.microsoft.com/office/drawing/2014/main" id="{E4C9761F-B7C4-4E8B-9674-67C8A3E8A870}"/>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36" name="Rechthoek 235">
              <a:extLst>
                <a:ext uri="{FF2B5EF4-FFF2-40B4-BE49-F238E27FC236}">
                  <a16:creationId xmlns:a16="http://schemas.microsoft.com/office/drawing/2014/main" id="{9523D864-5821-4528-B63C-7856D09BC939}"/>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7" name="Ovaal 236">
              <a:extLst>
                <a:ext uri="{FF2B5EF4-FFF2-40B4-BE49-F238E27FC236}">
                  <a16:creationId xmlns:a16="http://schemas.microsoft.com/office/drawing/2014/main" id="{8B632F0A-735B-4931-AC91-D05F6BB0A58F}"/>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38" name="Rechthoek 237">
              <a:extLst>
                <a:ext uri="{FF2B5EF4-FFF2-40B4-BE49-F238E27FC236}">
                  <a16:creationId xmlns:a16="http://schemas.microsoft.com/office/drawing/2014/main" id="{A9B7281F-182E-4C78-82F2-21C5A903C3BB}"/>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39" name="Ovaal 238">
              <a:extLst>
                <a:ext uri="{FF2B5EF4-FFF2-40B4-BE49-F238E27FC236}">
                  <a16:creationId xmlns:a16="http://schemas.microsoft.com/office/drawing/2014/main" id="{8F28CED0-26EE-4BC1-B52C-4D74F39E4B9D}"/>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40" name="Rechthoek 239">
              <a:extLst>
                <a:ext uri="{FF2B5EF4-FFF2-40B4-BE49-F238E27FC236}">
                  <a16:creationId xmlns:a16="http://schemas.microsoft.com/office/drawing/2014/main" id="{230DD818-2C78-46DC-8AE6-ACB21D58BF7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41" name="Ovaal 240">
              <a:extLst>
                <a:ext uri="{FF2B5EF4-FFF2-40B4-BE49-F238E27FC236}">
                  <a16:creationId xmlns:a16="http://schemas.microsoft.com/office/drawing/2014/main" id="{63BDCE35-ED87-41D1-86A5-E701ABA46B29}"/>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42" name="Rechthoek 241">
              <a:extLst>
                <a:ext uri="{FF2B5EF4-FFF2-40B4-BE49-F238E27FC236}">
                  <a16:creationId xmlns:a16="http://schemas.microsoft.com/office/drawing/2014/main" id="{E1D77EB9-225E-4167-9935-0552AD998CCF}"/>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43" name="Ovaal 242">
              <a:extLst>
                <a:ext uri="{FF2B5EF4-FFF2-40B4-BE49-F238E27FC236}">
                  <a16:creationId xmlns:a16="http://schemas.microsoft.com/office/drawing/2014/main" id="{2D7E19D2-59F0-4447-B16C-07B6DB75293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44" name="Rechthoek 243">
              <a:extLst>
                <a:ext uri="{FF2B5EF4-FFF2-40B4-BE49-F238E27FC236}">
                  <a16:creationId xmlns:a16="http://schemas.microsoft.com/office/drawing/2014/main" id="{69154EB3-0DB9-4711-987B-ED7474A26082}"/>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45" name="Rechthoek 244">
              <a:extLst>
                <a:ext uri="{FF2B5EF4-FFF2-40B4-BE49-F238E27FC236}">
                  <a16:creationId xmlns:a16="http://schemas.microsoft.com/office/drawing/2014/main" id="{D29E9073-F387-4097-98EF-D24C484F1DE3}"/>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46" name="Rechte verbindingslijn 245">
              <a:extLst>
                <a:ext uri="{FF2B5EF4-FFF2-40B4-BE49-F238E27FC236}">
                  <a16:creationId xmlns:a16="http://schemas.microsoft.com/office/drawing/2014/main" id="{F760D3E8-EE4C-4C68-853C-9727DA767A09}"/>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47" name="Ovaal 246">
              <a:extLst>
                <a:ext uri="{FF2B5EF4-FFF2-40B4-BE49-F238E27FC236}">
                  <a16:creationId xmlns:a16="http://schemas.microsoft.com/office/drawing/2014/main" id="{6507191D-F460-45F7-86A1-B33EDBD9C865}"/>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48" name="Rechthoek 247">
              <a:extLst>
                <a:ext uri="{FF2B5EF4-FFF2-40B4-BE49-F238E27FC236}">
                  <a16:creationId xmlns:a16="http://schemas.microsoft.com/office/drawing/2014/main" id="{73D56071-38A1-41FF-BA5F-8A444C1C349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249" name="Ovaal 248">
              <a:extLst>
                <a:ext uri="{FF2B5EF4-FFF2-40B4-BE49-F238E27FC236}">
                  <a16:creationId xmlns:a16="http://schemas.microsoft.com/office/drawing/2014/main" id="{7EFA7A13-E0CD-4158-9128-01B6D14A2D53}"/>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0" name="Rechthoek 249">
              <a:extLst>
                <a:ext uri="{FF2B5EF4-FFF2-40B4-BE49-F238E27FC236}">
                  <a16:creationId xmlns:a16="http://schemas.microsoft.com/office/drawing/2014/main" id="{ED9FD791-B2F4-4A67-A42C-D03F534E1B3F}"/>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303" name="Instructie">
            <a:extLst>
              <a:ext uri="{FF2B5EF4-FFF2-40B4-BE49-F238E27FC236}">
                <a16:creationId xmlns:a16="http://schemas.microsoft.com/office/drawing/2014/main" id="{05DC39FA-E20F-4FC5-BD41-713C175BC11F}"/>
              </a:ext>
            </a:extLst>
          </p:cNvPr>
          <p:cNvGrpSpPr/>
          <p:nvPr userDrawn="1"/>
        </p:nvGrpSpPr>
        <p:grpSpPr>
          <a:xfrm>
            <a:off x="12391602" y="2"/>
            <a:ext cx="3183677" cy="2499789"/>
            <a:chOff x="12391601" y="0"/>
            <a:chExt cx="3183677" cy="2499789"/>
          </a:xfrm>
        </p:grpSpPr>
        <p:sp>
          <p:nvSpPr>
            <p:cNvPr id="304" name="Rechthoek 303">
              <a:extLst>
                <a:ext uri="{FF2B5EF4-FFF2-40B4-BE49-F238E27FC236}">
                  <a16:creationId xmlns:a16="http://schemas.microsoft.com/office/drawing/2014/main" id="{3CEC8CD8-AE01-4897-B831-53295103072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305" name="Ovaal 304">
              <a:extLst>
                <a:ext uri="{FF2B5EF4-FFF2-40B4-BE49-F238E27FC236}">
                  <a16:creationId xmlns:a16="http://schemas.microsoft.com/office/drawing/2014/main" id="{C566E74B-DB5C-4AC5-B5A8-10E3E3B36296}"/>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06" name="Rechte verbindingslijn 305">
              <a:extLst>
                <a:ext uri="{FF2B5EF4-FFF2-40B4-BE49-F238E27FC236}">
                  <a16:creationId xmlns:a16="http://schemas.microsoft.com/office/drawing/2014/main" id="{94B87B40-C6C3-46CE-83B4-ACB75DD6A29B}"/>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307" name="Rechte verbindingslijn 306">
              <a:extLst>
                <a:ext uri="{FF2B5EF4-FFF2-40B4-BE49-F238E27FC236}">
                  <a16:creationId xmlns:a16="http://schemas.microsoft.com/office/drawing/2014/main" id="{1ACE6FAD-7562-4FAB-9843-B8CE647B98D4}"/>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308" name="Rechthoek 307">
              <a:extLst>
                <a:ext uri="{FF2B5EF4-FFF2-40B4-BE49-F238E27FC236}">
                  <a16:creationId xmlns:a16="http://schemas.microsoft.com/office/drawing/2014/main" id="{F38B7203-9CCD-4392-8AC5-67DCBA24613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309" name="Ovaal 308">
              <a:extLst>
                <a:ext uri="{FF2B5EF4-FFF2-40B4-BE49-F238E27FC236}">
                  <a16:creationId xmlns:a16="http://schemas.microsoft.com/office/drawing/2014/main" id="{3A7E558A-CD23-4708-B30B-EB9FDA647C45}"/>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0" name="Rechthoek 309">
              <a:extLst>
                <a:ext uri="{FF2B5EF4-FFF2-40B4-BE49-F238E27FC236}">
                  <a16:creationId xmlns:a16="http://schemas.microsoft.com/office/drawing/2014/main" id="{B8557B11-1557-4393-8109-FF0F5D83442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11" name="Groep 310">
              <a:extLst>
                <a:ext uri="{FF2B5EF4-FFF2-40B4-BE49-F238E27FC236}">
                  <a16:creationId xmlns:a16="http://schemas.microsoft.com/office/drawing/2014/main" id="{E5BE92FA-195D-4759-801E-957D9AC424B7}"/>
                </a:ext>
              </a:extLst>
            </p:cNvPr>
            <p:cNvGrpSpPr/>
            <p:nvPr userDrawn="1"/>
          </p:nvGrpSpPr>
          <p:grpSpPr>
            <a:xfrm>
              <a:off x="12757282" y="2184550"/>
              <a:ext cx="825500" cy="209550"/>
              <a:chOff x="13504624" y="2482850"/>
              <a:chExt cx="825500" cy="209550"/>
            </a:xfrm>
          </p:grpSpPr>
          <p:sp>
            <p:nvSpPr>
              <p:cNvPr id="322" name="Rechthoek 321">
                <a:extLst>
                  <a:ext uri="{FF2B5EF4-FFF2-40B4-BE49-F238E27FC236}">
                    <a16:creationId xmlns:a16="http://schemas.microsoft.com/office/drawing/2014/main" id="{CFB19222-82F5-40ED-A2FD-347F115AA47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323" name="Rechte verbindingslijn 322">
                <a:extLst>
                  <a:ext uri="{FF2B5EF4-FFF2-40B4-BE49-F238E27FC236}">
                    <a16:creationId xmlns:a16="http://schemas.microsoft.com/office/drawing/2014/main" id="{CCB57C0A-781C-44EC-AD6A-7D191576542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4" name="Gelijkbenige driehoek 323">
                <a:extLst>
                  <a:ext uri="{FF2B5EF4-FFF2-40B4-BE49-F238E27FC236}">
                    <a16:creationId xmlns:a16="http://schemas.microsoft.com/office/drawing/2014/main" id="{ADCE21DD-7B3C-49C7-AE0F-E00672717B7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312" name="Rechte verbindingslijn 311">
              <a:extLst>
                <a:ext uri="{FF2B5EF4-FFF2-40B4-BE49-F238E27FC236}">
                  <a16:creationId xmlns:a16="http://schemas.microsoft.com/office/drawing/2014/main" id="{D8048752-7D44-400C-8F32-C4498F38DBC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313" name="Tabel icoon">
              <a:extLst>
                <a:ext uri="{FF2B5EF4-FFF2-40B4-BE49-F238E27FC236}">
                  <a16:creationId xmlns:a16="http://schemas.microsoft.com/office/drawing/2014/main" id="{9B98FBC6-5ECD-4EFA-A7FE-0A40D882E734}"/>
                </a:ext>
              </a:extLst>
            </p:cNvPr>
            <p:cNvGrpSpPr/>
            <p:nvPr userDrawn="1"/>
          </p:nvGrpSpPr>
          <p:grpSpPr>
            <a:xfrm>
              <a:off x="12757283" y="1133664"/>
              <a:ext cx="375500" cy="339168"/>
              <a:chOff x="6072040" y="3376043"/>
              <a:chExt cx="1227920" cy="1109109"/>
            </a:xfrm>
          </p:grpSpPr>
          <p:sp>
            <p:nvSpPr>
              <p:cNvPr id="314" name="Rechthoek 313">
                <a:extLst>
                  <a:ext uri="{FF2B5EF4-FFF2-40B4-BE49-F238E27FC236}">
                    <a16:creationId xmlns:a16="http://schemas.microsoft.com/office/drawing/2014/main" id="{52C17AE5-499D-4017-B722-DEAE42FC0CDA}"/>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315" name="Rechthoek 314">
                <a:extLst>
                  <a:ext uri="{FF2B5EF4-FFF2-40B4-BE49-F238E27FC236}">
                    <a16:creationId xmlns:a16="http://schemas.microsoft.com/office/drawing/2014/main" id="{7550212A-C269-4E88-96ED-000C4E4C6DB6}"/>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cxnSp>
            <p:nvCxnSpPr>
              <p:cNvPr id="316" name="Rechte verbindingslijn 315">
                <a:extLst>
                  <a:ext uri="{FF2B5EF4-FFF2-40B4-BE49-F238E27FC236}">
                    <a16:creationId xmlns:a16="http://schemas.microsoft.com/office/drawing/2014/main" id="{63BF9A70-5588-4611-A6DE-E94E398023F4}"/>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7" name="Rechte verbindingslijn 316">
                <a:extLst>
                  <a:ext uri="{FF2B5EF4-FFF2-40B4-BE49-F238E27FC236}">
                    <a16:creationId xmlns:a16="http://schemas.microsoft.com/office/drawing/2014/main" id="{4F48CFFD-AEF0-4263-822E-D252DF5AD37A}"/>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8" name="Rechte verbindingslijn 317">
                <a:extLst>
                  <a:ext uri="{FF2B5EF4-FFF2-40B4-BE49-F238E27FC236}">
                    <a16:creationId xmlns:a16="http://schemas.microsoft.com/office/drawing/2014/main" id="{ECCA4748-71A8-457A-BD04-A3C11B49C624}"/>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9" name="Rechte verbindingslijn 318">
                <a:extLst>
                  <a:ext uri="{FF2B5EF4-FFF2-40B4-BE49-F238E27FC236}">
                    <a16:creationId xmlns:a16="http://schemas.microsoft.com/office/drawing/2014/main" id="{0F5B8577-53AD-4910-B42D-15BF7A8519D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0" name="Rechte verbindingslijn 319">
                <a:extLst>
                  <a:ext uri="{FF2B5EF4-FFF2-40B4-BE49-F238E27FC236}">
                    <a16:creationId xmlns:a16="http://schemas.microsoft.com/office/drawing/2014/main" id="{9A8A13C5-4F83-4566-867D-3F3C23387C8A}"/>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21" name="Rechthoek 320">
                <a:extLst>
                  <a:ext uri="{FF2B5EF4-FFF2-40B4-BE49-F238E27FC236}">
                    <a16:creationId xmlns:a16="http://schemas.microsoft.com/office/drawing/2014/main" id="{572F692C-78CF-4974-BF48-FC2F263B860F}"/>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7912102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 / TABEL 4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3934476"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61E38D31-9450-4D59-BEE1-833BCDF219F0}"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EKST / TABEL 4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5015238"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
        <p:nvSpPr>
          <p:cNvPr id="38" name="Tijdelijke aanduiding voor tabel 8">
            <a:extLst>
              <a:ext uri="{FF2B5EF4-FFF2-40B4-BE49-F238E27FC236}">
                <a16:creationId xmlns:a16="http://schemas.microsoft.com/office/drawing/2014/main" id="{BC74F94D-24E2-4689-BA9F-19729FCE63A5}"/>
              </a:ext>
            </a:extLst>
          </p:cNvPr>
          <p:cNvSpPr>
            <a:spLocks noGrp="1"/>
          </p:cNvSpPr>
          <p:nvPr>
            <p:ph type="tbl" sz="quarter" idx="17" hasCustomPrompt="1"/>
          </p:nvPr>
        </p:nvSpPr>
        <p:spPr>
          <a:xfrm>
            <a:off x="5555239" y="1459114"/>
            <a:ext cx="2868382" cy="1878839"/>
          </a:xfrm>
          <a:solidFill>
            <a:schemeClr val="bg1">
              <a:lumMod val="95000"/>
            </a:schemeClr>
          </a:solidFill>
        </p:spPr>
        <p:txBody>
          <a:bodyPr lIns="432000" tIns="360000" rIns="432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39" name="Tijdelijke aanduiding voor tabel 8">
            <a:extLst>
              <a:ext uri="{FF2B5EF4-FFF2-40B4-BE49-F238E27FC236}">
                <a16:creationId xmlns:a16="http://schemas.microsoft.com/office/drawing/2014/main" id="{CAA8F510-F931-426F-B509-59B6B83A05C8}"/>
              </a:ext>
            </a:extLst>
          </p:cNvPr>
          <p:cNvSpPr>
            <a:spLocks noGrp="1"/>
          </p:cNvSpPr>
          <p:nvPr>
            <p:ph type="tbl" sz="quarter" idx="18" hasCustomPrompt="1"/>
          </p:nvPr>
        </p:nvSpPr>
        <p:spPr>
          <a:xfrm>
            <a:off x="8783616" y="1459114"/>
            <a:ext cx="2868382" cy="1878839"/>
          </a:xfrm>
          <a:solidFill>
            <a:schemeClr val="bg1">
              <a:lumMod val="95000"/>
            </a:schemeClr>
          </a:solidFill>
        </p:spPr>
        <p:txBody>
          <a:bodyPr lIns="432000" tIns="360000" rIns="432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0" name="Tijdelijke aanduiding voor tabel 8">
            <a:extLst>
              <a:ext uri="{FF2B5EF4-FFF2-40B4-BE49-F238E27FC236}">
                <a16:creationId xmlns:a16="http://schemas.microsoft.com/office/drawing/2014/main" id="{FDB6B68B-3679-4BF8-9C7A-212A5B9E0F36}"/>
              </a:ext>
            </a:extLst>
          </p:cNvPr>
          <p:cNvSpPr>
            <a:spLocks noGrp="1"/>
          </p:cNvSpPr>
          <p:nvPr>
            <p:ph type="tbl" sz="quarter" idx="19" hasCustomPrompt="1"/>
          </p:nvPr>
        </p:nvSpPr>
        <p:spPr>
          <a:xfrm>
            <a:off x="5555239" y="3699001"/>
            <a:ext cx="2868382" cy="1878839"/>
          </a:xfrm>
          <a:solidFill>
            <a:schemeClr val="bg1">
              <a:lumMod val="95000"/>
            </a:schemeClr>
          </a:solidFill>
        </p:spPr>
        <p:txBody>
          <a:bodyPr lIns="432000" tIns="360000" rIns="432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1" name="Tijdelijke aanduiding voor tabel 8">
            <a:extLst>
              <a:ext uri="{FF2B5EF4-FFF2-40B4-BE49-F238E27FC236}">
                <a16:creationId xmlns:a16="http://schemas.microsoft.com/office/drawing/2014/main" id="{9E5A0EB4-00D4-48A2-AC79-7D5EFF095F9E}"/>
              </a:ext>
            </a:extLst>
          </p:cNvPr>
          <p:cNvSpPr>
            <a:spLocks noGrp="1"/>
          </p:cNvSpPr>
          <p:nvPr>
            <p:ph type="tbl" sz="quarter" idx="20" hasCustomPrompt="1"/>
          </p:nvPr>
        </p:nvSpPr>
        <p:spPr>
          <a:xfrm>
            <a:off x="8783616" y="3699001"/>
            <a:ext cx="2868382" cy="1878839"/>
          </a:xfrm>
          <a:solidFill>
            <a:schemeClr val="bg1">
              <a:lumMod val="95000"/>
            </a:schemeClr>
          </a:solidFill>
        </p:spPr>
        <p:txBody>
          <a:bodyPr lIns="432000" tIns="360000" rIns="432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230" name="Instructie">
            <a:extLst>
              <a:ext uri="{FF2B5EF4-FFF2-40B4-BE49-F238E27FC236}">
                <a16:creationId xmlns:a16="http://schemas.microsoft.com/office/drawing/2014/main" id="{E9DB7AAF-F157-411D-BE6F-1B6226450D53}"/>
              </a:ext>
            </a:extLst>
          </p:cNvPr>
          <p:cNvGrpSpPr/>
          <p:nvPr userDrawn="1"/>
        </p:nvGrpSpPr>
        <p:grpSpPr>
          <a:xfrm>
            <a:off x="-3437546" y="1436"/>
            <a:ext cx="3201327" cy="6041867"/>
            <a:chOff x="-3437547" y="1434"/>
            <a:chExt cx="3201327" cy="6041867"/>
          </a:xfrm>
        </p:grpSpPr>
        <p:cxnSp>
          <p:nvCxnSpPr>
            <p:cNvPr id="231" name="Rechte verbindingslijn 230">
              <a:extLst>
                <a:ext uri="{FF2B5EF4-FFF2-40B4-BE49-F238E27FC236}">
                  <a16:creationId xmlns:a16="http://schemas.microsoft.com/office/drawing/2014/main" id="{E6C685BD-6D5D-4C40-ADFB-7D131DF63F34}"/>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32" name="Ovaal 231">
              <a:extLst>
                <a:ext uri="{FF2B5EF4-FFF2-40B4-BE49-F238E27FC236}">
                  <a16:creationId xmlns:a16="http://schemas.microsoft.com/office/drawing/2014/main" id="{7D339716-93F8-497E-AD1D-4F8C2ED0CAEA}"/>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33" name="Rechthoek 232">
              <a:extLst>
                <a:ext uri="{FF2B5EF4-FFF2-40B4-BE49-F238E27FC236}">
                  <a16:creationId xmlns:a16="http://schemas.microsoft.com/office/drawing/2014/main" id="{107ED551-5375-43FA-A36E-6EDFCB22B9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033" marR="0" lvl="5" indent="-265033" algn="l" defTabSz="914126"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4" name="Ovaal 233">
              <a:extLst>
                <a:ext uri="{FF2B5EF4-FFF2-40B4-BE49-F238E27FC236}">
                  <a16:creationId xmlns:a16="http://schemas.microsoft.com/office/drawing/2014/main" id="{C7031A80-F089-42F2-BCDE-32EA689FFB75}"/>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35" name="Rechthoek 234">
              <a:extLst>
                <a:ext uri="{FF2B5EF4-FFF2-40B4-BE49-F238E27FC236}">
                  <a16:creationId xmlns:a16="http://schemas.microsoft.com/office/drawing/2014/main" id="{2A96AE26-95A7-454F-B920-6C00E9D07BCF}"/>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033" marR="0" lvl="6" indent="-265033" algn="l" defTabSz="914126"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6" name="Ovaal 235">
              <a:extLst>
                <a:ext uri="{FF2B5EF4-FFF2-40B4-BE49-F238E27FC236}">
                  <a16:creationId xmlns:a16="http://schemas.microsoft.com/office/drawing/2014/main" id="{67901273-5A96-4009-A4D4-B127228327ED}"/>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37" name="Rechthoek 236">
              <a:extLst>
                <a:ext uri="{FF2B5EF4-FFF2-40B4-BE49-F238E27FC236}">
                  <a16:creationId xmlns:a16="http://schemas.microsoft.com/office/drawing/2014/main" id="{EB56D44A-B6EF-432A-BCA7-E5D6CD07B621}"/>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126"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38" name="Ovaal 237">
              <a:extLst>
                <a:ext uri="{FF2B5EF4-FFF2-40B4-BE49-F238E27FC236}">
                  <a16:creationId xmlns:a16="http://schemas.microsoft.com/office/drawing/2014/main" id="{F2BC1661-3BE4-4D93-876C-CE65BA5277BE}"/>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39" name="Rechthoek 238">
              <a:extLst>
                <a:ext uri="{FF2B5EF4-FFF2-40B4-BE49-F238E27FC236}">
                  <a16:creationId xmlns:a16="http://schemas.microsoft.com/office/drawing/2014/main" id="{C17C32F7-ECBE-4195-995A-6FDA25D738A9}"/>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126"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999" i="1" kern="1200" noProof="0">
                  <a:solidFill>
                    <a:schemeClr val="tx1"/>
                  </a:solidFill>
                  <a:latin typeface="+mn-lt"/>
                  <a:ea typeface="+mn-ea"/>
                  <a:cs typeface="+mn-cs"/>
                </a:rPr>
                <a:t>Quote tekst (20pt)</a:t>
              </a:r>
            </a:p>
          </p:txBody>
        </p:sp>
        <p:sp>
          <p:nvSpPr>
            <p:cNvPr id="240" name="Rechthoek 239">
              <a:extLst>
                <a:ext uri="{FF2B5EF4-FFF2-40B4-BE49-F238E27FC236}">
                  <a16:creationId xmlns:a16="http://schemas.microsoft.com/office/drawing/2014/main" id="{C6C7FA13-9E79-49B8-84E7-8B8E3651ECF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41" name="Ovaal 240">
              <a:extLst>
                <a:ext uri="{FF2B5EF4-FFF2-40B4-BE49-F238E27FC236}">
                  <a16:creationId xmlns:a16="http://schemas.microsoft.com/office/drawing/2014/main" id="{3AFD6850-542F-4DBD-8D11-D924DF7B7575}"/>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42" name="Rechte verbindingslijn 241">
              <a:extLst>
                <a:ext uri="{FF2B5EF4-FFF2-40B4-BE49-F238E27FC236}">
                  <a16:creationId xmlns:a16="http://schemas.microsoft.com/office/drawing/2014/main" id="{3F0E6AC4-1258-41E3-9AD9-20B6F5FEF697}"/>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43" name="Groep 242">
              <a:extLst>
                <a:ext uri="{FF2B5EF4-FFF2-40B4-BE49-F238E27FC236}">
                  <a16:creationId xmlns:a16="http://schemas.microsoft.com/office/drawing/2014/main" id="{753D4BFA-D6BE-4728-923B-43B7E92E71FD}"/>
                </a:ext>
              </a:extLst>
            </p:cNvPr>
            <p:cNvGrpSpPr/>
            <p:nvPr userDrawn="1"/>
          </p:nvGrpSpPr>
          <p:grpSpPr>
            <a:xfrm>
              <a:off x="-3437547" y="1295337"/>
              <a:ext cx="2933825" cy="558875"/>
              <a:chOff x="-3419346" y="368233"/>
              <a:chExt cx="3904920" cy="743862"/>
            </a:xfrm>
          </p:grpSpPr>
          <p:sp>
            <p:nvSpPr>
              <p:cNvPr id="260" name="Rechthoek 259">
                <a:extLst>
                  <a:ext uri="{FF2B5EF4-FFF2-40B4-BE49-F238E27FC236}">
                    <a16:creationId xmlns:a16="http://schemas.microsoft.com/office/drawing/2014/main" id="{75B86434-B724-4A6F-B46D-3943EE9D78C1}"/>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61" name="Rechte verbindingslijn 260">
                <a:extLst>
                  <a:ext uri="{FF2B5EF4-FFF2-40B4-BE49-F238E27FC236}">
                    <a16:creationId xmlns:a16="http://schemas.microsoft.com/office/drawing/2014/main" id="{14776DF3-4ABF-41DE-9661-99A87D23C4AC}"/>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Rechte verbindingslijn 261">
                <a:extLst>
                  <a:ext uri="{FF2B5EF4-FFF2-40B4-BE49-F238E27FC236}">
                    <a16:creationId xmlns:a16="http://schemas.microsoft.com/office/drawing/2014/main" id="{D43A93A9-37FF-4A75-A17C-30672962BC6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3" name="Rechthoek 262">
                <a:extLst>
                  <a:ext uri="{FF2B5EF4-FFF2-40B4-BE49-F238E27FC236}">
                    <a16:creationId xmlns:a16="http://schemas.microsoft.com/office/drawing/2014/main" id="{5DB219BD-09F5-4A14-8FA3-F695B471341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64" name="Groep 263">
                <a:extLst>
                  <a:ext uri="{FF2B5EF4-FFF2-40B4-BE49-F238E27FC236}">
                    <a16:creationId xmlns:a16="http://schemas.microsoft.com/office/drawing/2014/main" id="{2B64E856-E73E-4843-A808-B7DC9284370E}"/>
                  </a:ext>
                </a:extLst>
              </p:cNvPr>
              <p:cNvGrpSpPr/>
              <p:nvPr userDrawn="1"/>
            </p:nvGrpSpPr>
            <p:grpSpPr>
              <a:xfrm>
                <a:off x="-3002834" y="720303"/>
                <a:ext cx="182598" cy="143759"/>
                <a:chOff x="-3310843" y="700986"/>
                <a:chExt cx="182598" cy="143759"/>
              </a:xfrm>
            </p:grpSpPr>
            <p:grpSp>
              <p:nvGrpSpPr>
                <p:cNvPr id="303" name="Groep 302">
                  <a:extLst>
                    <a:ext uri="{FF2B5EF4-FFF2-40B4-BE49-F238E27FC236}">
                      <a16:creationId xmlns:a16="http://schemas.microsoft.com/office/drawing/2014/main" id="{5518A022-8663-4285-83DB-D691D0403B7C}"/>
                    </a:ext>
                  </a:extLst>
                </p:cNvPr>
                <p:cNvGrpSpPr/>
                <p:nvPr userDrawn="1"/>
              </p:nvGrpSpPr>
              <p:grpSpPr>
                <a:xfrm>
                  <a:off x="-3310843" y="700986"/>
                  <a:ext cx="182598" cy="143759"/>
                  <a:chOff x="-3310843" y="700986"/>
                  <a:chExt cx="182598" cy="143759"/>
                </a:xfrm>
              </p:grpSpPr>
              <p:cxnSp>
                <p:nvCxnSpPr>
                  <p:cNvPr id="307" name="Rechte verbindingslijn 306">
                    <a:extLst>
                      <a:ext uri="{FF2B5EF4-FFF2-40B4-BE49-F238E27FC236}">
                        <a16:creationId xmlns:a16="http://schemas.microsoft.com/office/drawing/2014/main" id="{FBD7D34C-9EB3-442C-BA12-235892C9BEC2}"/>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08" name="Rechte verbindingslijn 307">
                    <a:extLst>
                      <a:ext uri="{FF2B5EF4-FFF2-40B4-BE49-F238E27FC236}">
                        <a16:creationId xmlns:a16="http://schemas.microsoft.com/office/drawing/2014/main" id="{1391E6BF-5165-4FCC-B51C-15D5EEBCCFFA}"/>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09" name="Rechte verbindingslijn 308">
                    <a:extLst>
                      <a:ext uri="{FF2B5EF4-FFF2-40B4-BE49-F238E27FC236}">
                        <a16:creationId xmlns:a16="http://schemas.microsoft.com/office/drawing/2014/main" id="{C3175579-EBF1-4CFD-A526-DD4A4A79AB2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10" name="Rechte verbindingslijn 309">
                    <a:extLst>
                      <a:ext uri="{FF2B5EF4-FFF2-40B4-BE49-F238E27FC236}">
                        <a16:creationId xmlns:a16="http://schemas.microsoft.com/office/drawing/2014/main" id="{DE9C818B-5CC1-49F0-8EF8-CD27B5182E8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11" name="Rechte verbindingslijn 310">
                    <a:extLst>
                      <a:ext uri="{FF2B5EF4-FFF2-40B4-BE49-F238E27FC236}">
                        <a16:creationId xmlns:a16="http://schemas.microsoft.com/office/drawing/2014/main" id="{523CFF2D-286D-465A-A92C-0D59E2B7C92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04" name="Groep 303">
                  <a:extLst>
                    <a:ext uri="{FF2B5EF4-FFF2-40B4-BE49-F238E27FC236}">
                      <a16:creationId xmlns:a16="http://schemas.microsoft.com/office/drawing/2014/main" id="{ED3B0C80-3D3E-4A37-80B2-259FB94956CF}"/>
                    </a:ext>
                  </a:extLst>
                </p:cNvPr>
                <p:cNvGrpSpPr/>
                <p:nvPr userDrawn="1"/>
              </p:nvGrpSpPr>
              <p:grpSpPr>
                <a:xfrm flipH="1">
                  <a:off x="-3310774" y="735854"/>
                  <a:ext cx="88801" cy="72568"/>
                  <a:chOff x="-2091059" y="1395403"/>
                  <a:chExt cx="157316" cy="128558"/>
                </a:xfrm>
              </p:grpSpPr>
              <p:sp>
                <p:nvSpPr>
                  <p:cNvPr id="305" name="Rechthoek 304">
                    <a:extLst>
                      <a:ext uri="{FF2B5EF4-FFF2-40B4-BE49-F238E27FC236}">
                        <a16:creationId xmlns:a16="http://schemas.microsoft.com/office/drawing/2014/main" id="{8A1811D5-35ED-49C4-A504-6F5D5B9E8E6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06" name="Pijl: punthaak 305">
                    <a:extLst>
                      <a:ext uri="{FF2B5EF4-FFF2-40B4-BE49-F238E27FC236}">
                        <a16:creationId xmlns:a16="http://schemas.microsoft.com/office/drawing/2014/main" id="{6E2E1F6D-E3EC-4D4D-BB32-BB499252BA9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65" name="Groep 264">
                <a:extLst>
                  <a:ext uri="{FF2B5EF4-FFF2-40B4-BE49-F238E27FC236}">
                    <a16:creationId xmlns:a16="http://schemas.microsoft.com/office/drawing/2014/main" id="{49FDB4DC-3EFB-41E0-A608-EC886B6D8FD7}"/>
                  </a:ext>
                </a:extLst>
              </p:cNvPr>
              <p:cNvGrpSpPr/>
              <p:nvPr userDrawn="1"/>
            </p:nvGrpSpPr>
            <p:grpSpPr>
              <a:xfrm>
                <a:off x="-3326107" y="720303"/>
                <a:ext cx="182598" cy="143759"/>
                <a:chOff x="-3634116" y="700986"/>
                <a:chExt cx="182598" cy="143759"/>
              </a:xfrm>
            </p:grpSpPr>
            <p:grpSp>
              <p:nvGrpSpPr>
                <p:cNvPr id="294" name="Groep 293">
                  <a:extLst>
                    <a:ext uri="{FF2B5EF4-FFF2-40B4-BE49-F238E27FC236}">
                      <a16:creationId xmlns:a16="http://schemas.microsoft.com/office/drawing/2014/main" id="{A5EA7900-2EE3-4140-9BD5-211D34986D25}"/>
                    </a:ext>
                  </a:extLst>
                </p:cNvPr>
                <p:cNvGrpSpPr/>
                <p:nvPr userDrawn="1"/>
              </p:nvGrpSpPr>
              <p:grpSpPr>
                <a:xfrm>
                  <a:off x="-3634116" y="700986"/>
                  <a:ext cx="182598" cy="143759"/>
                  <a:chOff x="-3634116" y="700986"/>
                  <a:chExt cx="182598" cy="143759"/>
                </a:xfrm>
              </p:grpSpPr>
              <p:cxnSp>
                <p:nvCxnSpPr>
                  <p:cNvPr id="298" name="Rechte verbindingslijn 297">
                    <a:extLst>
                      <a:ext uri="{FF2B5EF4-FFF2-40B4-BE49-F238E27FC236}">
                        <a16:creationId xmlns:a16="http://schemas.microsoft.com/office/drawing/2014/main" id="{71524C11-5CD4-4CF8-BA72-A7D0DDFCB02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99" name="Rechte verbindingslijn 298">
                    <a:extLst>
                      <a:ext uri="{FF2B5EF4-FFF2-40B4-BE49-F238E27FC236}">
                        <a16:creationId xmlns:a16="http://schemas.microsoft.com/office/drawing/2014/main" id="{1F43EE9D-BD2C-499B-B722-84EDF8C9DF34}"/>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00" name="Rechte verbindingslijn 299">
                    <a:extLst>
                      <a:ext uri="{FF2B5EF4-FFF2-40B4-BE49-F238E27FC236}">
                        <a16:creationId xmlns:a16="http://schemas.microsoft.com/office/drawing/2014/main" id="{BF814A4E-40CD-4B76-8174-4AD1200811D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01" name="Rechte verbindingslijn 300">
                    <a:extLst>
                      <a:ext uri="{FF2B5EF4-FFF2-40B4-BE49-F238E27FC236}">
                        <a16:creationId xmlns:a16="http://schemas.microsoft.com/office/drawing/2014/main" id="{8A7D2AE3-C908-4CC9-8A1B-69370A7D79A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02" name="Rechte verbindingslijn 301">
                    <a:extLst>
                      <a:ext uri="{FF2B5EF4-FFF2-40B4-BE49-F238E27FC236}">
                        <a16:creationId xmlns:a16="http://schemas.microsoft.com/office/drawing/2014/main" id="{5778AED6-898A-493C-A4F2-36457101DC6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95" name="Groep 294">
                  <a:extLst>
                    <a:ext uri="{FF2B5EF4-FFF2-40B4-BE49-F238E27FC236}">
                      <a16:creationId xmlns:a16="http://schemas.microsoft.com/office/drawing/2014/main" id="{C5555A22-02DA-4197-B9CB-9584B5976919}"/>
                    </a:ext>
                  </a:extLst>
                </p:cNvPr>
                <p:cNvGrpSpPr/>
                <p:nvPr userDrawn="1"/>
              </p:nvGrpSpPr>
              <p:grpSpPr>
                <a:xfrm>
                  <a:off x="-3634047" y="735854"/>
                  <a:ext cx="88801" cy="72568"/>
                  <a:chOff x="-2091059" y="1395403"/>
                  <a:chExt cx="157316" cy="128558"/>
                </a:xfrm>
              </p:grpSpPr>
              <p:sp>
                <p:nvSpPr>
                  <p:cNvPr id="296" name="Rechthoek 295">
                    <a:extLst>
                      <a:ext uri="{FF2B5EF4-FFF2-40B4-BE49-F238E27FC236}">
                        <a16:creationId xmlns:a16="http://schemas.microsoft.com/office/drawing/2014/main" id="{5D2B8588-2DB0-4EF0-942C-EA634D48958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97" name="Pijl: punthaak 296">
                    <a:extLst>
                      <a:ext uri="{FF2B5EF4-FFF2-40B4-BE49-F238E27FC236}">
                        <a16:creationId xmlns:a16="http://schemas.microsoft.com/office/drawing/2014/main" id="{6C6EF06C-F29C-442C-AF63-8334C3073AA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66" name="Rechte verbindingslijn 265">
                <a:extLst>
                  <a:ext uri="{FF2B5EF4-FFF2-40B4-BE49-F238E27FC236}">
                    <a16:creationId xmlns:a16="http://schemas.microsoft.com/office/drawing/2014/main" id="{36EC6C65-C6E4-430B-9F50-A9E5F3792E3E}"/>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67" name="Rechte verbindingslijn 266">
                <a:extLst>
                  <a:ext uri="{FF2B5EF4-FFF2-40B4-BE49-F238E27FC236}">
                    <a16:creationId xmlns:a16="http://schemas.microsoft.com/office/drawing/2014/main" id="{80BCC55C-4AEC-47D0-81FD-C4DBC10A25D6}"/>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68" name="Groep 267">
                <a:extLst>
                  <a:ext uri="{FF2B5EF4-FFF2-40B4-BE49-F238E27FC236}">
                    <a16:creationId xmlns:a16="http://schemas.microsoft.com/office/drawing/2014/main" id="{589CDE9B-39CF-4FC6-BB08-2E5A078BEA8D}"/>
                  </a:ext>
                </a:extLst>
              </p:cNvPr>
              <p:cNvGrpSpPr/>
              <p:nvPr userDrawn="1"/>
            </p:nvGrpSpPr>
            <p:grpSpPr>
              <a:xfrm>
                <a:off x="-2425037" y="370226"/>
                <a:ext cx="357690" cy="330595"/>
                <a:chOff x="-2721817" y="347336"/>
                <a:chExt cx="432805" cy="400021"/>
              </a:xfrm>
            </p:grpSpPr>
            <p:sp>
              <p:nvSpPr>
                <p:cNvPr id="283" name="Rechthoek 282">
                  <a:extLst>
                    <a:ext uri="{FF2B5EF4-FFF2-40B4-BE49-F238E27FC236}">
                      <a16:creationId xmlns:a16="http://schemas.microsoft.com/office/drawing/2014/main" id="{12C3A738-EF03-4375-97E9-A6C0FFA708E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84" name="Groep 283">
                  <a:extLst>
                    <a:ext uri="{FF2B5EF4-FFF2-40B4-BE49-F238E27FC236}">
                      <a16:creationId xmlns:a16="http://schemas.microsoft.com/office/drawing/2014/main" id="{FD357FE6-1C1B-4A26-9718-2E88DE1D3E23}"/>
                    </a:ext>
                  </a:extLst>
                </p:cNvPr>
                <p:cNvGrpSpPr/>
                <p:nvPr userDrawn="1"/>
              </p:nvGrpSpPr>
              <p:grpSpPr>
                <a:xfrm>
                  <a:off x="-2652453" y="431583"/>
                  <a:ext cx="294076" cy="231526"/>
                  <a:chOff x="-3634116" y="700986"/>
                  <a:chExt cx="182598" cy="143759"/>
                </a:xfrm>
              </p:grpSpPr>
              <p:grpSp>
                <p:nvGrpSpPr>
                  <p:cNvPr id="285" name="Groep 284">
                    <a:extLst>
                      <a:ext uri="{FF2B5EF4-FFF2-40B4-BE49-F238E27FC236}">
                        <a16:creationId xmlns:a16="http://schemas.microsoft.com/office/drawing/2014/main" id="{D845DBC7-CB8A-4EB4-8BFA-81609DCE3B42}"/>
                      </a:ext>
                    </a:extLst>
                  </p:cNvPr>
                  <p:cNvGrpSpPr/>
                  <p:nvPr userDrawn="1"/>
                </p:nvGrpSpPr>
                <p:grpSpPr>
                  <a:xfrm>
                    <a:off x="-3634116" y="700986"/>
                    <a:ext cx="182598" cy="143759"/>
                    <a:chOff x="-3634116" y="700986"/>
                    <a:chExt cx="182598" cy="143759"/>
                  </a:xfrm>
                </p:grpSpPr>
                <p:cxnSp>
                  <p:nvCxnSpPr>
                    <p:cNvPr id="289" name="Rechte verbindingslijn 288">
                      <a:extLst>
                        <a:ext uri="{FF2B5EF4-FFF2-40B4-BE49-F238E27FC236}">
                          <a16:creationId xmlns:a16="http://schemas.microsoft.com/office/drawing/2014/main" id="{9E81999D-2BEE-482C-83EA-D05781A982A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90" name="Rechte verbindingslijn 289">
                      <a:extLst>
                        <a:ext uri="{FF2B5EF4-FFF2-40B4-BE49-F238E27FC236}">
                          <a16:creationId xmlns:a16="http://schemas.microsoft.com/office/drawing/2014/main" id="{2A53F11F-FE0D-4C4F-9C71-97393225FFF3}"/>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91" name="Rechte verbindingslijn 290">
                      <a:extLst>
                        <a:ext uri="{FF2B5EF4-FFF2-40B4-BE49-F238E27FC236}">
                          <a16:creationId xmlns:a16="http://schemas.microsoft.com/office/drawing/2014/main" id="{22D43B22-E93D-4E81-975E-C609CEE3A28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92" name="Rechte verbindingslijn 291">
                      <a:extLst>
                        <a:ext uri="{FF2B5EF4-FFF2-40B4-BE49-F238E27FC236}">
                          <a16:creationId xmlns:a16="http://schemas.microsoft.com/office/drawing/2014/main" id="{D4639661-13B5-4DA3-9B19-75624C35C269}"/>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93" name="Rechte verbindingslijn 292">
                      <a:extLst>
                        <a:ext uri="{FF2B5EF4-FFF2-40B4-BE49-F238E27FC236}">
                          <a16:creationId xmlns:a16="http://schemas.microsoft.com/office/drawing/2014/main" id="{29B28214-51B7-4916-B84D-378362A84C9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86" name="Groep 285">
                    <a:extLst>
                      <a:ext uri="{FF2B5EF4-FFF2-40B4-BE49-F238E27FC236}">
                        <a16:creationId xmlns:a16="http://schemas.microsoft.com/office/drawing/2014/main" id="{7DDAC773-993F-416F-95B9-A87F4013B6C8}"/>
                      </a:ext>
                    </a:extLst>
                  </p:cNvPr>
                  <p:cNvGrpSpPr/>
                  <p:nvPr userDrawn="1"/>
                </p:nvGrpSpPr>
                <p:grpSpPr>
                  <a:xfrm>
                    <a:off x="-3634047" y="735854"/>
                    <a:ext cx="88801" cy="72568"/>
                    <a:chOff x="-2091059" y="1395403"/>
                    <a:chExt cx="157316" cy="128558"/>
                  </a:xfrm>
                </p:grpSpPr>
                <p:sp>
                  <p:nvSpPr>
                    <p:cNvPr id="287" name="Rechthoek 286">
                      <a:extLst>
                        <a:ext uri="{FF2B5EF4-FFF2-40B4-BE49-F238E27FC236}">
                          <a16:creationId xmlns:a16="http://schemas.microsoft.com/office/drawing/2014/main" id="{498A9B40-F916-4BCC-A67F-20F63969BD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8" name="Pijl: punthaak 287">
                      <a:extLst>
                        <a:ext uri="{FF2B5EF4-FFF2-40B4-BE49-F238E27FC236}">
                          <a16:creationId xmlns:a16="http://schemas.microsoft.com/office/drawing/2014/main" id="{17C536E6-AB16-4BF9-B7A4-010F8C7964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69" name="Groep 268">
                <a:extLst>
                  <a:ext uri="{FF2B5EF4-FFF2-40B4-BE49-F238E27FC236}">
                    <a16:creationId xmlns:a16="http://schemas.microsoft.com/office/drawing/2014/main" id="{27151BDB-8DEE-4B3D-BD95-892F4DB23B1D}"/>
                  </a:ext>
                </a:extLst>
              </p:cNvPr>
              <p:cNvGrpSpPr/>
              <p:nvPr userDrawn="1"/>
            </p:nvGrpSpPr>
            <p:grpSpPr>
              <a:xfrm>
                <a:off x="-2425037" y="781500"/>
                <a:ext cx="357690" cy="330595"/>
                <a:chOff x="-2721817" y="782525"/>
                <a:chExt cx="432805" cy="400021"/>
              </a:xfrm>
            </p:grpSpPr>
            <p:sp>
              <p:nvSpPr>
                <p:cNvPr id="272" name="Rechthoek 271">
                  <a:extLst>
                    <a:ext uri="{FF2B5EF4-FFF2-40B4-BE49-F238E27FC236}">
                      <a16:creationId xmlns:a16="http://schemas.microsoft.com/office/drawing/2014/main" id="{78016BDB-5322-4535-942F-5B6A920AB55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73" name="Groep 272">
                  <a:extLst>
                    <a:ext uri="{FF2B5EF4-FFF2-40B4-BE49-F238E27FC236}">
                      <a16:creationId xmlns:a16="http://schemas.microsoft.com/office/drawing/2014/main" id="{B73801C7-54D7-4A27-A8C1-2F5C1F7B0598}"/>
                    </a:ext>
                  </a:extLst>
                </p:cNvPr>
                <p:cNvGrpSpPr/>
                <p:nvPr userDrawn="1"/>
              </p:nvGrpSpPr>
              <p:grpSpPr>
                <a:xfrm>
                  <a:off x="-2652453" y="866772"/>
                  <a:ext cx="294076" cy="231526"/>
                  <a:chOff x="-3310843" y="700986"/>
                  <a:chExt cx="182598" cy="143759"/>
                </a:xfrm>
              </p:grpSpPr>
              <p:grpSp>
                <p:nvGrpSpPr>
                  <p:cNvPr id="274" name="Groep 273">
                    <a:extLst>
                      <a:ext uri="{FF2B5EF4-FFF2-40B4-BE49-F238E27FC236}">
                        <a16:creationId xmlns:a16="http://schemas.microsoft.com/office/drawing/2014/main" id="{095C0BCD-ED81-4023-81F3-05A91C04A9CC}"/>
                      </a:ext>
                    </a:extLst>
                  </p:cNvPr>
                  <p:cNvGrpSpPr/>
                  <p:nvPr userDrawn="1"/>
                </p:nvGrpSpPr>
                <p:grpSpPr>
                  <a:xfrm>
                    <a:off x="-3310843" y="700986"/>
                    <a:ext cx="182598" cy="143759"/>
                    <a:chOff x="-3310843" y="700986"/>
                    <a:chExt cx="182598" cy="143759"/>
                  </a:xfrm>
                </p:grpSpPr>
                <p:cxnSp>
                  <p:nvCxnSpPr>
                    <p:cNvPr id="278" name="Rechte verbindingslijn 277">
                      <a:extLst>
                        <a:ext uri="{FF2B5EF4-FFF2-40B4-BE49-F238E27FC236}">
                          <a16:creationId xmlns:a16="http://schemas.microsoft.com/office/drawing/2014/main" id="{54FF38E4-BACB-4F5B-BAC5-20CBC04F5F7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79" name="Rechte verbindingslijn 278">
                      <a:extLst>
                        <a:ext uri="{FF2B5EF4-FFF2-40B4-BE49-F238E27FC236}">
                          <a16:creationId xmlns:a16="http://schemas.microsoft.com/office/drawing/2014/main" id="{EFEC67E8-982D-4834-B338-E8C384C5099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80" name="Rechte verbindingslijn 279">
                      <a:extLst>
                        <a:ext uri="{FF2B5EF4-FFF2-40B4-BE49-F238E27FC236}">
                          <a16:creationId xmlns:a16="http://schemas.microsoft.com/office/drawing/2014/main" id="{63DDF9AB-62D3-429F-B75C-557A5AD9627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81" name="Rechte verbindingslijn 280">
                      <a:extLst>
                        <a:ext uri="{FF2B5EF4-FFF2-40B4-BE49-F238E27FC236}">
                          <a16:creationId xmlns:a16="http://schemas.microsoft.com/office/drawing/2014/main" id="{D5372101-9CE2-4C07-B442-61383BEB7EF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82" name="Rechte verbindingslijn 281">
                      <a:extLst>
                        <a:ext uri="{FF2B5EF4-FFF2-40B4-BE49-F238E27FC236}">
                          <a16:creationId xmlns:a16="http://schemas.microsoft.com/office/drawing/2014/main" id="{722592F8-635A-4DA9-9C6E-274CF2BA0FD0}"/>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75" name="Groep 274">
                    <a:extLst>
                      <a:ext uri="{FF2B5EF4-FFF2-40B4-BE49-F238E27FC236}">
                        <a16:creationId xmlns:a16="http://schemas.microsoft.com/office/drawing/2014/main" id="{8606DD50-A340-4C84-A168-32055E12D6EB}"/>
                      </a:ext>
                    </a:extLst>
                  </p:cNvPr>
                  <p:cNvGrpSpPr/>
                  <p:nvPr userDrawn="1"/>
                </p:nvGrpSpPr>
                <p:grpSpPr>
                  <a:xfrm flipH="1">
                    <a:off x="-3310774" y="735854"/>
                    <a:ext cx="88801" cy="72568"/>
                    <a:chOff x="-2091059" y="1395403"/>
                    <a:chExt cx="157316" cy="128558"/>
                  </a:xfrm>
                </p:grpSpPr>
                <p:sp>
                  <p:nvSpPr>
                    <p:cNvPr id="276" name="Rechthoek 275">
                      <a:extLst>
                        <a:ext uri="{FF2B5EF4-FFF2-40B4-BE49-F238E27FC236}">
                          <a16:creationId xmlns:a16="http://schemas.microsoft.com/office/drawing/2014/main" id="{30CB3723-0DF0-419D-A243-FC7837798E5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7" name="Pijl: punthaak 276">
                      <a:extLst>
                        <a:ext uri="{FF2B5EF4-FFF2-40B4-BE49-F238E27FC236}">
                          <a16:creationId xmlns:a16="http://schemas.microsoft.com/office/drawing/2014/main" id="{C928910E-32D1-45B7-BCAD-1F92B23697E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70" name="Rechthoek 269">
                <a:extLst>
                  <a:ext uri="{FF2B5EF4-FFF2-40B4-BE49-F238E27FC236}">
                    <a16:creationId xmlns:a16="http://schemas.microsoft.com/office/drawing/2014/main" id="{9A0AC279-9C64-40B5-A259-F91E97DD85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71" name="Rechthoek 270">
                <a:extLst>
                  <a:ext uri="{FF2B5EF4-FFF2-40B4-BE49-F238E27FC236}">
                    <a16:creationId xmlns:a16="http://schemas.microsoft.com/office/drawing/2014/main" id="{20034261-AFF3-4916-B8DE-4E12D0A49DC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44" name="Rechte verbindingslijn 243">
              <a:extLst>
                <a:ext uri="{FF2B5EF4-FFF2-40B4-BE49-F238E27FC236}">
                  <a16:creationId xmlns:a16="http://schemas.microsoft.com/office/drawing/2014/main" id="{5B91DA79-C12E-4AD1-A18A-C170B0579690}"/>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45" name="Rechthoek 244">
              <a:extLst>
                <a:ext uri="{FF2B5EF4-FFF2-40B4-BE49-F238E27FC236}">
                  <a16:creationId xmlns:a16="http://schemas.microsoft.com/office/drawing/2014/main" id="{47789934-DE87-41C7-9447-720FA8C053DC}"/>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747" marR="0" lvl="0"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46" name="Ovaal 245">
              <a:extLst>
                <a:ext uri="{FF2B5EF4-FFF2-40B4-BE49-F238E27FC236}">
                  <a16:creationId xmlns:a16="http://schemas.microsoft.com/office/drawing/2014/main" id="{71745DED-93DA-4FB1-86EC-0E2947444CDD}"/>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47" name="Rechthoek 246">
              <a:extLst>
                <a:ext uri="{FF2B5EF4-FFF2-40B4-BE49-F238E27FC236}">
                  <a16:creationId xmlns:a16="http://schemas.microsoft.com/office/drawing/2014/main" id="{753E4D0A-0F61-4C86-9240-87214F9AE5CD}"/>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493" marR="0" lvl="1" indent="-177747"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48" name="Ovaal 247">
              <a:extLst>
                <a:ext uri="{FF2B5EF4-FFF2-40B4-BE49-F238E27FC236}">
                  <a16:creationId xmlns:a16="http://schemas.microsoft.com/office/drawing/2014/main" id="{E1D8641A-9CAF-4311-9B49-A4127E0A5E35}"/>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49" name="Rechthoek 248">
              <a:extLst>
                <a:ext uri="{FF2B5EF4-FFF2-40B4-BE49-F238E27FC236}">
                  <a16:creationId xmlns:a16="http://schemas.microsoft.com/office/drawing/2014/main" id="{C8C85584-D0CC-42DF-BC71-FFE6436D58D3}"/>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653" marR="0" lvl="2" indent="-176160" algn="l" defTabSz="914126"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50" name="Ovaal 249">
              <a:extLst>
                <a:ext uri="{FF2B5EF4-FFF2-40B4-BE49-F238E27FC236}">
                  <a16:creationId xmlns:a16="http://schemas.microsoft.com/office/drawing/2014/main" id="{216B64B7-8299-4339-A6BE-65EB970D1BB8}"/>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51" name="Rechthoek 250">
              <a:extLst>
                <a:ext uri="{FF2B5EF4-FFF2-40B4-BE49-F238E27FC236}">
                  <a16:creationId xmlns:a16="http://schemas.microsoft.com/office/drawing/2014/main" id="{AE96D69C-11F6-4127-A6C6-E93C10351538}"/>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126"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52" name="Ovaal 251">
              <a:extLst>
                <a:ext uri="{FF2B5EF4-FFF2-40B4-BE49-F238E27FC236}">
                  <a16:creationId xmlns:a16="http://schemas.microsoft.com/office/drawing/2014/main" id="{314DE40F-F20A-4C14-A172-2A907AE2267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53" name="Rechthoek 252">
              <a:extLst>
                <a:ext uri="{FF2B5EF4-FFF2-40B4-BE49-F238E27FC236}">
                  <a16:creationId xmlns:a16="http://schemas.microsoft.com/office/drawing/2014/main" id="{007562AC-2303-409C-A14B-7342B0737ED4}"/>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54" name="Rechthoek 253">
              <a:extLst>
                <a:ext uri="{FF2B5EF4-FFF2-40B4-BE49-F238E27FC236}">
                  <a16:creationId xmlns:a16="http://schemas.microsoft.com/office/drawing/2014/main" id="{DB9A2DCC-E590-4FDC-A37C-3422D1E9667F}"/>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55" name="Rechte verbindingslijn 254">
              <a:extLst>
                <a:ext uri="{FF2B5EF4-FFF2-40B4-BE49-F238E27FC236}">
                  <a16:creationId xmlns:a16="http://schemas.microsoft.com/office/drawing/2014/main" id="{1D023111-277A-4944-B9A1-3507E7881513}"/>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56" name="Ovaal 255">
              <a:extLst>
                <a:ext uri="{FF2B5EF4-FFF2-40B4-BE49-F238E27FC236}">
                  <a16:creationId xmlns:a16="http://schemas.microsoft.com/office/drawing/2014/main" id="{DCC5CB5C-A7E7-46F5-B3DD-04EDDA8BB98E}"/>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57" name="Rechthoek 256">
              <a:extLst>
                <a:ext uri="{FF2B5EF4-FFF2-40B4-BE49-F238E27FC236}">
                  <a16:creationId xmlns:a16="http://schemas.microsoft.com/office/drawing/2014/main" id="{F5CA65F7-9207-45E4-8E8A-1DB91ACBC1C7}"/>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599" b="0" kern="1200" noProof="0">
                  <a:solidFill>
                    <a:schemeClr val="tx1"/>
                  </a:solidFill>
                  <a:latin typeface="+mn-lt"/>
                  <a:ea typeface="+mj-ea"/>
                  <a:cs typeface="+mj-cs"/>
                </a:rPr>
                <a:t>Titel (26pt)</a:t>
              </a:r>
            </a:p>
          </p:txBody>
        </p:sp>
        <p:sp>
          <p:nvSpPr>
            <p:cNvPr id="258" name="Ovaal 257">
              <a:extLst>
                <a:ext uri="{FF2B5EF4-FFF2-40B4-BE49-F238E27FC236}">
                  <a16:creationId xmlns:a16="http://schemas.microsoft.com/office/drawing/2014/main" id="{60EF0DB7-2981-4C0C-A3D2-5C6B7828F96E}"/>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9" name="Rechthoek 258">
              <a:extLst>
                <a:ext uri="{FF2B5EF4-FFF2-40B4-BE49-F238E27FC236}">
                  <a16:creationId xmlns:a16="http://schemas.microsoft.com/office/drawing/2014/main" id="{F057FF7E-881F-45CC-88D4-2E8D70EB1A39}"/>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126"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1999" b="0" kern="1200" noProof="0">
                  <a:solidFill>
                    <a:schemeClr val="accent1"/>
                  </a:solidFill>
                  <a:latin typeface="+mn-lt"/>
                  <a:ea typeface="+mn-ea"/>
                  <a:cs typeface="+mn-cs"/>
                </a:rPr>
                <a:t>Subtitel (20pt)</a:t>
              </a:r>
            </a:p>
          </p:txBody>
        </p:sp>
      </p:grpSp>
      <p:grpSp>
        <p:nvGrpSpPr>
          <p:cNvPr id="312" name="Instructie">
            <a:extLst>
              <a:ext uri="{FF2B5EF4-FFF2-40B4-BE49-F238E27FC236}">
                <a16:creationId xmlns:a16="http://schemas.microsoft.com/office/drawing/2014/main" id="{3E6CDCE8-9C1A-4209-A05D-0F7AB0C7BEC2}"/>
              </a:ext>
            </a:extLst>
          </p:cNvPr>
          <p:cNvGrpSpPr/>
          <p:nvPr userDrawn="1"/>
        </p:nvGrpSpPr>
        <p:grpSpPr>
          <a:xfrm>
            <a:off x="12391602" y="2"/>
            <a:ext cx="3183677" cy="2499789"/>
            <a:chOff x="12391601" y="0"/>
            <a:chExt cx="3183677" cy="2499789"/>
          </a:xfrm>
        </p:grpSpPr>
        <p:sp>
          <p:nvSpPr>
            <p:cNvPr id="313" name="Rechthoek 312">
              <a:extLst>
                <a:ext uri="{FF2B5EF4-FFF2-40B4-BE49-F238E27FC236}">
                  <a16:creationId xmlns:a16="http://schemas.microsoft.com/office/drawing/2014/main" id="{6920A5F9-38BC-405A-804E-D0E873A4CC0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314" name="Ovaal 313">
              <a:extLst>
                <a:ext uri="{FF2B5EF4-FFF2-40B4-BE49-F238E27FC236}">
                  <a16:creationId xmlns:a16="http://schemas.microsoft.com/office/drawing/2014/main" id="{A6B2C391-672F-4406-9505-DEF46CDAB81F}"/>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15" name="Rechte verbindingslijn 314">
              <a:extLst>
                <a:ext uri="{FF2B5EF4-FFF2-40B4-BE49-F238E27FC236}">
                  <a16:creationId xmlns:a16="http://schemas.microsoft.com/office/drawing/2014/main" id="{59D1BB86-93EE-4F49-A3B0-9CF5773DDEC5}"/>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316" name="Rechte verbindingslijn 315">
              <a:extLst>
                <a:ext uri="{FF2B5EF4-FFF2-40B4-BE49-F238E27FC236}">
                  <a16:creationId xmlns:a16="http://schemas.microsoft.com/office/drawing/2014/main" id="{16986D34-E1C9-4768-AA5F-9CCF2CC64EDA}"/>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317" name="Rechthoek 316">
              <a:extLst>
                <a:ext uri="{FF2B5EF4-FFF2-40B4-BE49-F238E27FC236}">
                  <a16:creationId xmlns:a16="http://schemas.microsoft.com/office/drawing/2014/main" id="{80C3275E-427E-4F57-AA86-8AFD3708469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318" name="Ovaal 317">
              <a:extLst>
                <a:ext uri="{FF2B5EF4-FFF2-40B4-BE49-F238E27FC236}">
                  <a16:creationId xmlns:a16="http://schemas.microsoft.com/office/drawing/2014/main" id="{3C000680-DAD4-4F26-A92C-DFD09F0250D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9" name="Rechthoek 318">
              <a:extLst>
                <a:ext uri="{FF2B5EF4-FFF2-40B4-BE49-F238E27FC236}">
                  <a16:creationId xmlns:a16="http://schemas.microsoft.com/office/drawing/2014/main" id="{D4ABAF02-5F5D-4FA2-8BD8-2E43E086F0F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20" name="Groep 319">
              <a:extLst>
                <a:ext uri="{FF2B5EF4-FFF2-40B4-BE49-F238E27FC236}">
                  <a16:creationId xmlns:a16="http://schemas.microsoft.com/office/drawing/2014/main" id="{DC9C785A-5E87-4A6B-8A1E-7BED55D126D9}"/>
                </a:ext>
              </a:extLst>
            </p:cNvPr>
            <p:cNvGrpSpPr/>
            <p:nvPr userDrawn="1"/>
          </p:nvGrpSpPr>
          <p:grpSpPr>
            <a:xfrm>
              <a:off x="12757282" y="2184550"/>
              <a:ext cx="825500" cy="209550"/>
              <a:chOff x="13504624" y="2482850"/>
              <a:chExt cx="825500" cy="209550"/>
            </a:xfrm>
          </p:grpSpPr>
          <p:sp>
            <p:nvSpPr>
              <p:cNvPr id="331" name="Rechthoek 330">
                <a:extLst>
                  <a:ext uri="{FF2B5EF4-FFF2-40B4-BE49-F238E27FC236}">
                    <a16:creationId xmlns:a16="http://schemas.microsoft.com/office/drawing/2014/main" id="{6502314D-9C1A-4A3F-AD62-1D6DC875150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332" name="Rechte verbindingslijn 331">
                <a:extLst>
                  <a:ext uri="{FF2B5EF4-FFF2-40B4-BE49-F238E27FC236}">
                    <a16:creationId xmlns:a16="http://schemas.microsoft.com/office/drawing/2014/main" id="{A8E1C660-F930-40FA-8788-C7F8E2E2FC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33" name="Gelijkbenige driehoek 332">
                <a:extLst>
                  <a:ext uri="{FF2B5EF4-FFF2-40B4-BE49-F238E27FC236}">
                    <a16:creationId xmlns:a16="http://schemas.microsoft.com/office/drawing/2014/main" id="{704CD03F-27AF-457C-BDE3-A91571FFDC2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321" name="Rechte verbindingslijn 320">
              <a:extLst>
                <a:ext uri="{FF2B5EF4-FFF2-40B4-BE49-F238E27FC236}">
                  <a16:creationId xmlns:a16="http://schemas.microsoft.com/office/drawing/2014/main" id="{16C9B4F3-5660-48AE-B2B0-115EE32E95C3}"/>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322" name="Tabel icoon">
              <a:extLst>
                <a:ext uri="{FF2B5EF4-FFF2-40B4-BE49-F238E27FC236}">
                  <a16:creationId xmlns:a16="http://schemas.microsoft.com/office/drawing/2014/main" id="{3AD7280B-CA10-417D-AD8B-9C0A15FC8837}"/>
                </a:ext>
              </a:extLst>
            </p:cNvPr>
            <p:cNvGrpSpPr/>
            <p:nvPr userDrawn="1"/>
          </p:nvGrpSpPr>
          <p:grpSpPr>
            <a:xfrm>
              <a:off x="12757283" y="1133664"/>
              <a:ext cx="375500" cy="339168"/>
              <a:chOff x="6072040" y="3376043"/>
              <a:chExt cx="1227920" cy="1109109"/>
            </a:xfrm>
          </p:grpSpPr>
          <p:sp>
            <p:nvSpPr>
              <p:cNvPr id="323" name="Rechthoek 322">
                <a:extLst>
                  <a:ext uri="{FF2B5EF4-FFF2-40B4-BE49-F238E27FC236}">
                    <a16:creationId xmlns:a16="http://schemas.microsoft.com/office/drawing/2014/main" id="{410C6B0F-C9DD-4634-9F26-0D66AB174194}"/>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324" name="Rechthoek 323">
                <a:extLst>
                  <a:ext uri="{FF2B5EF4-FFF2-40B4-BE49-F238E27FC236}">
                    <a16:creationId xmlns:a16="http://schemas.microsoft.com/office/drawing/2014/main" id="{948678FB-847A-41FF-9195-84A6FC5ECF1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cxnSp>
            <p:nvCxnSpPr>
              <p:cNvPr id="325" name="Rechte verbindingslijn 324">
                <a:extLst>
                  <a:ext uri="{FF2B5EF4-FFF2-40B4-BE49-F238E27FC236}">
                    <a16:creationId xmlns:a16="http://schemas.microsoft.com/office/drawing/2014/main" id="{D78B3CE6-06EB-4830-A143-984E35D9179A}"/>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6" name="Rechte verbindingslijn 325">
                <a:extLst>
                  <a:ext uri="{FF2B5EF4-FFF2-40B4-BE49-F238E27FC236}">
                    <a16:creationId xmlns:a16="http://schemas.microsoft.com/office/drawing/2014/main" id="{8A20F3A5-67E5-4428-8175-2B7A9E42632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7" name="Rechte verbindingslijn 326">
                <a:extLst>
                  <a:ext uri="{FF2B5EF4-FFF2-40B4-BE49-F238E27FC236}">
                    <a16:creationId xmlns:a16="http://schemas.microsoft.com/office/drawing/2014/main" id="{2A5B27AE-9E33-4DB0-AD80-0B3CB69FA5A9}"/>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8" name="Rechte verbindingslijn 327">
                <a:extLst>
                  <a:ext uri="{FF2B5EF4-FFF2-40B4-BE49-F238E27FC236}">
                    <a16:creationId xmlns:a16="http://schemas.microsoft.com/office/drawing/2014/main" id="{31EB11D2-91D1-4149-89C5-1F40DF5C036D}"/>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9" name="Rechte verbindingslijn 328">
                <a:extLst>
                  <a:ext uri="{FF2B5EF4-FFF2-40B4-BE49-F238E27FC236}">
                    <a16:creationId xmlns:a16="http://schemas.microsoft.com/office/drawing/2014/main" id="{4798BE63-A488-4485-BA78-F6FE6FBD7374}"/>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30" name="Rechthoek 329">
                <a:extLst>
                  <a:ext uri="{FF2B5EF4-FFF2-40B4-BE49-F238E27FC236}">
                    <a16:creationId xmlns:a16="http://schemas.microsoft.com/office/drawing/2014/main" id="{8AD466E9-BB10-4396-A03F-ED67DCB0F10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35377525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E23EF803-A7AE-44E3-ADBF-143B78195A56}"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abel</a:t>
            </a:r>
          </a:p>
        </p:txBody>
      </p:sp>
      <p:sp>
        <p:nvSpPr>
          <p:cNvPr id="22" name="Tijdelijke aanduiding voor tabel 8">
            <a:extLst>
              <a:ext uri="{FF2B5EF4-FFF2-40B4-BE49-F238E27FC236}">
                <a16:creationId xmlns:a16="http://schemas.microsoft.com/office/drawing/2014/main" id="{3A7B68F0-B315-4D78-8510-1A733C0EE1BD}"/>
              </a:ext>
            </a:extLst>
          </p:cNvPr>
          <p:cNvSpPr>
            <a:spLocks noGrp="1"/>
          </p:cNvSpPr>
          <p:nvPr>
            <p:ph type="tbl" sz="quarter" idx="17" hasCustomPrompt="1"/>
          </p:nvPr>
        </p:nvSpPr>
        <p:spPr>
          <a:xfrm>
            <a:off x="539750" y="1459112"/>
            <a:ext cx="11112251" cy="4119774"/>
          </a:xfrm>
          <a:solidFill>
            <a:schemeClr val="bg1">
              <a:lumMod val="95000"/>
            </a:schemeClr>
          </a:solidFill>
        </p:spPr>
        <p:txBody>
          <a:bodyPr tIns="16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21" name="Tijdelijke aanduiding voor tekst 43">
            <a:extLst>
              <a:ext uri="{FF2B5EF4-FFF2-40B4-BE49-F238E27FC236}">
                <a16:creationId xmlns:a16="http://schemas.microsoft.com/office/drawing/2014/main" id="{E9870227-35F5-4343-95B9-F4996570B217}"/>
              </a:ext>
            </a:extLst>
          </p:cNvPr>
          <p:cNvSpPr>
            <a:spLocks noGrp="1"/>
          </p:cNvSpPr>
          <p:nvPr>
            <p:ph type="body" sz="quarter" idx="15"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41" name="Instructie">
            <a:extLst>
              <a:ext uri="{FF2B5EF4-FFF2-40B4-BE49-F238E27FC236}">
                <a16:creationId xmlns:a16="http://schemas.microsoft.com/office/drawing/2014/main" id="{42FBC1ED-EE6F-4E5A-84CA-0283E514C9D5}"/>
              </a:ext>
            </a:extLst>
          </p:cNvPr>
          <p:cNvGrpSpPr/>
          <p:nvPr userDrawn="1"/>
        </p:nvGrpSpPr>
        <p:grpSpPr>
          <a:xfrm>
            <a:off x="12391602" y="2"/>
            <a:ext cx="3183677" cy="2499789"/>
            <a:chOff x="12391601" y="0"/>
            <a:chExt cx="3183677" cy="2499789"/>
          </a:xfrm>
        </p:grpSpPr>
        <p:sp>
          <p:nvSpPr>
            <p:cNvPr id="42" name="Rechthoek 41">
              <a:extLst>
                <a:ext uri="{FF2B5EF4-FFF2-40B4-BE49-F238E27FC236}">
                  <a16:creationId xmlns:a16="http://schemas.microsoft.com/office/drawing/2014/main" id="{DF4754D5-DE56-4EE2-A860-06CAD88F5DF8}"/>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43" name="Ovaal 42">
              <a:extLst>
                <a:ext uri="{FF2B5EF4-FFF2-40B4-BE49-F238E27FC236}">
                  <a16:creationId xmlns:a16="http://schemas.microsoft.com/office/drawing/2014/main" id="{B2EF2DAF-0E72-4527-BF24-D5972B43A1E1}"/>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4" name="Rechte verbindingslijn 43">
              <a:extLst>
                <a:ext uri="{FF2B5EF4-FFF2-40B4-BE49-F238E27FC236}">
                  <a16:creationId xmlns:a16="http://schemas.microsoft.com/office/drawing/2014/main" id="{297AAD0B-37E7-4686-941F-4662C812C44F}"/>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5" name="Rechte verbindingslijn 44">
              <a:extLst>
                <a:ext uri="{FF2B5EF4-FFF2-40B4-BE49-F238E27FC236}">
                  <a16:creationId xmlns:a16="http://schemas.microsoft.com/office/drawing/2014/main" id="{BC792BCC-6082-476C-B5AD-4EAE1520B86B}"/>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6" name="Rechthoek 45">
              <a:extLst>
                <a:ext uri="{FF2B5EF4-FFF2-40B4-BE49-F238E27FC236}">
                  <a16:creationId xmlns:a16="http://schemas.microsoft.com/office/drawing/2014/main" id="{4E6ED860-C858-4869-BE40-F32240A07ED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7" name="Ovaal 46">
              <a:extLst>
                <a:ext uri="{FF2B5EF4-FFF2-40B4-BE49-F238E27FC236}">
                  <a16:creationId xmlns:a16="http://schemas.microsoft.com/office/drawing/2014/main" id="{362ED69E-A120-4E71-927D-BE70F8696B7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 name="Rechthoek 47">
              <a:extLst>
                <a:ext uri="{FF2B5EF4-FFF2-40B4-BE49-F238E27FC236}">
                  <a16:creationId xmlns:a16="http://schemas.microsoft.com/office/drawing/2014/main" id="{EDD63F0A-B561-454B-850F-8C02C930AB73}"/>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9" name="Groep 48">
              <a:extLst>
                <a:ext uri="{FF2B5EF4-FFF2-40B4-BE49-F238E27FC236}">
                  <a16:creationId xmlns:a16="http://schemas.microsoft.com/office/drawing/2014/main" id="{6EF274DC-C092-405D-94A5-FC67534BB2E1}"/>
                </a:ext>
              </a:extLst>
            </p:cNvPr>
            <p:cNvGrpSpPr/>
            <p:nvPr userDrawn="1"/>
          </p:nvGrpSpPr>
          <p:grpSpPr>
            <a:xfrm>
              <a:off x="12757282" y="2184550"/>
              <a:ext cx="825500" cy="209550"/>
              <a:chOff x="13504624" y="2482850"/>
              <a:chExt cx="825500" cy="209550"/>
            </a:xfrm>
          </p:grpSpPr>
          <p:sp>
            <p:nvSpPr>
              <p:cNvPr id="60" name="Rechthoek 59">
                <a:extLst>
                  <a:ext uri="{FF2B5EF4-FFF2-40B4-BE49-F238E27FC236}">
                    <a16:creationId xmlns:a16="http://schemas.microsoft.com/office/drawing/2014/main" id="{19CB3C8A-E064-40B2-98F3-E454EAC98DA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61" name="Rechte verbindingslijn 60">
                <a:extLst>
                  <a:ext uri="{FF2B5EF4-FFF2-40B4-BE49-F238E27FC236}">
                    <a16:creationId xmlns:a16="http://schemas.microsoft.com/office/drawing/2014/main" id="{BAF23CE3-1113-4FE8-B53A-E5C0F149AD5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62" name="Gelijkbenige driehoek 61">
                <a:extLst>
                  <a:ext uri="{FF2B5EF4-FFF2-40B4-BE49-F238E27FC236}">
                    <a16:creationId xmlns:a16="http://schemas.microsoft.com/office/drawing/2014/main" id="{ED7A6F93-C3F6-4D35-A1D7-80FFF565838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50" name="Rechte verbindingslijn 49">
              <a:extLst>
                <a:ext uri="{FF2B5EF4-FFF2-40B4-BE49-F238E27FC236}">
                  <a16:creationId xmlns:a16="http://schemas.microsoft.com/office/drawing/2014/main" id="{DF05761D-C45F-481B-827F-A7C20E6BCA95}"/>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1" name="Tabel icoon">
              <a:extLst>
                <a:ext uri="{FF2B5EF4-FFF2-40B4-BE49-F238E27FC236}">
                  <a16:creationId xmlns:a16="http://schemas.microsoft.com/office/drawing/2014/main" id="{5EAD34A7-E242-4F6A-ACF1-864B15587138}"/>
                </a:ext>
              </a:extLst>
            </p:cNvPr>
            <p:cNvGrpSpPr/>
            <p:nvPr userDrawn="1"/>
          </p:nvGrpSpPr>
          <p:grpSpPr>
            <a:xfrm>
              <a:off x="12757283" y="1133664"/>
              <a:ext cx="375500" cy="339168"/>
              <a:chOff x="6072040" y="3376043"/>
              <a:chExt cx="1227920" cy="1109109"/>
            </a:xfrm>
          </p:grpSpPr>
          <p:sp>
            <p:nvSpPr>
              <p:cNvPr id="52" name="Rechthoek 51">
                <a:extLst>
                  <a:ext uri="{FF2B5EF4-FFF2-40B4-BE49-F238E27FC236}">
                    <a16:creationId xmlns:a16="http://schemas.microsoft.com/office/drawing/2014/main" id="{8CE3C954-D297-458D-A189-29A98D0C2EE1}"/>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53" name="Rechthoek 52">
                <a:extLst>
                  <a:ext uri="{FF2B5EF4-FFF2-40B4-BE49-F238E27FC236}">
                    <a16:creationId xmlns:a16="http://schemas.microsoft.com/office/drawing/2014/main" id="{BE3502DD-0DF7-4C04-A608-D6EF84CC022E}"/>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cxnSp>
            <p:nvCxnSpPr>
              <p:cNvPr id="54" name="Rechte verbindingslijn 53">
                <a:extLst>
                  <a:ext uri="{FF2B5EF4-FFF2-40B4-BE49-F238E27FC236}">
                    <a16:creationId xmlns:a16="http://schemas.microsoft.com/office/drawing/2014/main" id="{1CEC8736-D674-4573-BDE6-1D329D735175}"/>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5" name="Rechte verbindingslijn 54">
                <a:extLst>
                  <a:ext uri="{FF2B5EF4-FFF2-40B4-BE49-F238E27FC236}">
                    <a16:creationId xmlns:a16="http://schemas.microsoft.com/office/drawing/2014/main" id="{C5D8B1FD-8C8E-4A82-AC75-6A186F79209E}"/>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885D6CEC-C122-4568-BE44-17932EFFCDA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AD9B3590-09C3-4D85-B813-DDCBF88FAA5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7EE41E3A-9F52-47B8-A9AC-944E657D362B}"/>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59" name="Rechthoek 58">
                <a:extLst>
                  <a:ext uri="{FF2B5EF4-FFF2-40B4-BE49-F238E27FC236}">
                    <a16:creationId xmlns:a16="http://schemas.microsoft.com/office/drawing/2014/main" id="{C2F4FD23-A5FD-436B-AC3C-7BFB4B651544}"/>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8158171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EL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A851DC4F-11F3-4EDE-890D-598490EAF78C}"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ABEL 2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2" y="1459112"/>
            <a:ext cx="5015239" cy="4119774"/>
          </a:xfrm>
          <a:solidFill>
            <a:schemeClr val="bg1">
              <a:lumMod val="95000"/>
            </a:schemeClr>
          </a:solidFill>
        </p:spPr>
        <p:txBody>
          <a:bodyPr tIns="16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14" name="Tijdelijke aanduiding voor tabel 8">
            <a:extLst>
              <a:ext uri="{FF2B5EF4-FFF2-40B4-BE49-F238E27FC236}">
                <a16:creationId xmlns:a16="http://schemas.microsoft.com/office/drawing/2014/main" id="{A226F564-B653-436B-A00E-574B5C7449F3}"/>
              </a:ext>
            </a:extLst>
          </p:cNvPr>
          <p:cNvSpPr>
            <a:spLocks noGrp="1"/>
          </p:cNvSpPr>
          <p:nvPr>
            <p:ph type="tbl" sz="quarter" idx="18" hasCustomPrompt="1"/>
          </p:nvPr>
        </p:nvSpPr>
        <p:spPr>
          <a:xfrm>
            <a:off x="540381" y="1459112"/>
            <a:ext cx="5015239" cy="4119774"/>
          </a:xfrm>
          <a:solidFill>
            <a:schemeClr val="bg1">
              <a:lumMod val="95000"/>
            </a:schemeClr>
          </a:solidFill>
        </p:spPr>
        <p:txBody>
          <a:bodyPr tIns="16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45" name="Instructie">
            <a:extLst>
              <a:ext uri="{FF2B5EF4-FFF2-40B4-BE49-F238E27FC236}">
                <a16:creationId xmlns:a16="http://schemas.microsoft.com/office/drawing/2014/main" id="{8A0C0D31-D75C-446A-BB9E-A076D8C77657}"/>
              </a:ext>
            </a:extLst>
          </p:cNvPr>
          <p:cNvGrpSpPr/>
          <p:nvPr userDrawn="1"/>
        </p:nvGrpSpPr>
        <p:grpSpPr>
          <a:xfrm>
            <a:off x="12391602" y="2"/>
            <a:ext cx="3183677" cy="2499789"/>
            <a:chOff x="12391601" y="0"/>
            <a:chExt cx="3183677" cy="2499789"/>
          </a:xfrm>
        </p:grpSpPr>
        <p:sp>
          <p:nvSpPr>
            <p:cNvPr id="46" name="Rechthoek 45">
              <a:extLst>
                <a:ext uri="{FF2B5EF4-FFF2-40B4-BE49-F238E27FC236}">
                  <a16:creationId xmlns:a16="http://schemas.microsoft.com/office/drawing/2014/main" id="{B91290DC-856A-433E-BFD5-F7E7E9C60F3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47" name="Ovaal 46">
              <a:extLst>
                <a:ext uri="{FF2B5EF4-FFF2-40B4-BE49-F238E27FC236}">
                  <a16:creationId xmlns:a16="http://schemas.microsoft.com/office/drawing/2014/main" id="{70CC8C3A-960B-4D17-9755-4A2479A43500}"/>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8" name="Rechte verbindingslijn 47">
              <a:extLst>
                <a:ext uri="{FF2B5EF4-FFF2-40B4-BE49-F238E27FC236}">
                  <a16:creationId xmlns:a16="http://schemas.microsoft.com/office/drawing/2014/main" id="{2B36F137-5F0D-4ADC-80FB-927F46A8EA1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9" name="Rechte verbindingslijn 48">
              <a:extLst>
                <a:ext uri="{FF2B5EF4-FFF2-40B4-BE49-F238E27FC236}">
                  <a16:creationId xmlns:a16="http://schemas.microsoft.com/office/drawing/2014/main" id="{B931654A-0EC1-49B4-8053-F30B802B63B1}"/>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50" name="Rechthoek 49">
              <a:extLst>
                <a:ext uri="{FF2B5EF4-FFF2-40B4-BE49-F238E27FC236}">
                  <a16:creationId xmlns:a16="http://schemas.microsoft.com/office/drawing/2014/main" id="{F5CA018A-CCA7-425F-97A0-BD3B72B22C3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51" name="Ovaal 50">
              <a:extLst>
                <a:ext uri="{FF2B5EF4-FFF2-40B4-BE49-F238E27FC236}">
                  <a16:creationId xmlns:a16="http://schemas.microsoft.com/office/drawing/2014/main" id="{C90BF624-314A-4C15-A3AE-64C4AE648F50}"/>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52" name="Rechthoek 51">
              <a:extLst>
                <a:ext uri="{FF2B5EF4-FFF2-40B4-BE49-F238E27FC236}">
                  <a16:creationId xmlns:a16="http://schemas.microsoft.com/office/drawing/2014/main" id="{CB5C31F9-49E1-4FFD-8549-ECA3E5901AC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53" name="Groep 52">
              <a:extLst>
                <a:ext uri="{FF2B5EF4-FFF2-40B4-BE49-F238E27FC236}">
                  <a16:creationId xmlns:a16="http://schemas.microsoft.com/office/drawing/2014/main" id="{30BA01A7-81DD-4656-A23E-F192B0BE5E03}"/>
                </a:ext>
              </a:extLst>
            </p:cNvPr>
            <p:cNvGrpSpPr/>
            <p:nvPr userDrawn="1"/>
          </p:nvGrpSpPr>
          <p:grpSpPr>
            <a:xfrm>
              <a:off x="12757282" y="2184550"/>
              <a:ext cx="825500" cy="209550"/>
              <a:chOff x="13504624" y="2482850"/>
              <a:chExt cx="825500" cy="209550"/>
            </a:xfrm>
          </p:grpSpPr>
          <p:sp>
            <p:nvSpPr>
              <p:cNvPr id="64" name="Rechthoek 63">
                <a:extLst>
                  <a:ext uri="{FF2B5EF4-FFF2-40B4-BE49-F238E27FC236}">
                    <a16:creationId xmlns:a16="http://schemas.microsoft.com/office/drawing/2014/main" id="{1E736A58-EB82-4B13-9BB8-BAFBD0A520D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65" name="Rechte verbindingslijn 64">
                <a:extLst>
                  <a:ext uri="{FF2B5EF4-FFF2-40B4-BE49-F238E27FC236}">
                    <a16:creationId xmlns:a16="http://schemas.microsoft.com/office/drawing/2014/main" id="{8F907CA0-E66A-4404-B31E-EE3522B7D8E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66" name="Gelijkbenige driehoek 65">
                <a:extLst>
                  <a:ext uri="{FF2B5EF4-FFF2-40B4-BE49-F238E27FC236}">
                    <a16:creationId xmlns:a16="http://schemas.microsoft.com/office/drawing/2014/main" id="{5B071A01-3045-476F-BDF5-D617A1657D1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54" name="Rechte verbindingslijn 53">
              <a:extLst>
                <a:ext uri="{FF2B5EF4-FFF2-40B4-BE49-F238E27FC236}">
                  <a16:creationId xmlns:a16="http://schemas.microsoft.com/office/drawing/2014/main" id="{8701935B-ED1E-42CF-BFCB-40C74CDC616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5" name="Tabel icoon">
              <a:extLst>
                <a:ext uri="{FF2B5EF4-FFF2-40B4-BE49-F238E27FC236}">
                  <a16:creationId xmlns:a16="http://schemas.microsoft.com/office/drawing/2014/main" id="{7F103449-72D5-4E5E-A74E-E20BBA11BF27}"/>
                </a:ext>
              </a:extLst>
            </p:cNvPr>
            <p:cNvGrpSpPr/>
            <p:nvPr userDrawn="1"/>
          </p:nvGrpSpPr>
          <p:grpSpPr>
            <a:xfrm>
              <a:off x="12757283" y="1133664"/>
              <a:ext cx="375500" cy="339168"/>
              <a:chOff x="6072040" y="3376043"/>
              <a:chExt cx="1227920" cy="1109109"/>
            </a:xfrm>
          </p:grpSpPr>
          <p:sp>
            <p:nvSpPr>
              <p:cNvPr id="56" name="Rechthoek 55">
                <a:extLst>
                  <a:ext uri="{FF2B5EF4-FFF2-40B4-BE49-F238E27FC236}">
                    <a16:creationId xmlns:a16="http://schemas.microsoft.com/office/drawing/2014/main" id="{F25AF511-6A90-4A1C-95A5-720F9DC59D8F}"/>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57" name="Rechthoek 56">
                <a:extLst>
                  <a:ext uri="{FF2B5EF4-FFF2-40B4-BE49-F238E27FC236}">
                    <a16:creationId xmlns:a16="http://schemas.microsoft.com/office/drawing/2014/main" id="{437D3D54-530E-4568-ACDA-E74DC82FB04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cxnSp>
            <p:nvCxnSpPr>
              <p:cNvPr id="58" name="Rechte verbindingslijn 57">
                <a:extLst>
                  <a:ext uri="{FF2B5EF4-FFF2-40B4-BE49-F238E27FC236}">
                    <a16:creationId xmlns:a16="http://schemas.microsoft.com/office/drawing/2014/main" id="{DF9254E2-11B8-4621-B19A-737008A6D0A3}"/>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9" name="Rechte verbindingslijn 58">
                <a:extLst>
                  <a:ext uri="{FF2B5EF4-FFF2-40B4-BE49-F238E27FC236}">
                    <a16:creationId xmlns:a16="http://schemas.microsoft.com/office/drawing/2014/main" id="{2AD9DDE3-43CC-4A25-9142-864E7BC1A68D}"/>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0E7D6EE7-389B-469B-B664-3F09DA01611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D805E76C-5B31-4B5C-84AA-31CE6A29789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90891540-F250-4BD9-ABE7-74D25A6D2012}"/>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F1B0D6FD-047A-48FB-852A-E861943C4035}"/>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17640576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EL 6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4F56621A-0D69-4AA6-B441-F59D823615C0}"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TABEL 6X</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0" y="333899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7828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38" name="Rechthoek 37">
              <a:extLst>
                <a:ext uri="{FF2B5EF4-FFF2-40B4-BE49-F238E27FC236}">
                  <a16:creationId xmlns:a16="http://schemas.microsoft.com/office/drawing/2014/main" id="{BAA97654-86F5-45C9-B8DC-C6648BCE9369}"/>
                </a:ext>
              </a:extLst>
            </p:cNvPr>
            <p:cNvSpPr/>
            <p:nvPr userDrawn="1"/>
          </p:nvSpPr>
          <p:spPr>
            <a:xfrm>
              <a:off x="4004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
        <p:nvSpPr>
          <p:cNvPr id="30" name="Tijdelijke aanduiding voor tabel 8">
            <a:extLst>
              <a:ext uri="{FF2B5EF4-FFF2-40B4-BE49-F238E27FC236}">
                <a16:creationId xmlns:a16="http://schemas.microsoft.com/office/drawing/2014/main" id="{80107622-679C-4B64-AA31-F30D636B17F5}"/>
              </a:ext>
            </a:extLst>
          </p:cNvPr>
          <p:cNvSpPr>
            <a:spLocks noGrp="1"/>
          </p:cNvSpPr>
          <p:nvPr>
            <p:ph type="tbl" sz="quarter" idx="17" hasCustomPrompt="1"/>
          </p:nvPr>
        </p:nvSpPr>
        <p:spPr>
          <a:xfrm>
            <a:off x="539749" y="1459114"/>
            <a:ext cx="3464251" cy="1878839"/>
          </a:xfrm>
          <a:solidFill>
            <a:schemeClr val="bg1">
              <a:lumMod val="95000"/>
            </a:schemeClr>
          </a:solidFill>
        </p:spPr>
        <p:txBody>
          <a:bodyPr lIns="720000" tIns="360000" rIns="7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34" name="Tijdelijke aanduiding voor tabel 8">
            <a:extLst>
              <a:ext uri="{FF2B5EF4-FFF2-40B4-BE49-F238E27FC236}">
                <a16:creationId xmlns:a16="http://schemas.microsoft.com/office/drawing/2014/main" id="{182F6DBE-CDDA-4656-9BC7-F8AE251C1B1B}"/>
              </a:ext>
            </a:extLst>
          </p:cNvPr>
          <p:cNvSpPr>
            <a:spLocks noGrp="1"/>
          </p:cNvSpPr>
          <p:nvPr>
            <p:ph type="tbl" sz="quarter" idx="18" hasCustomPrompt="1"/>
          </p:nvPr>
        </p:nvSpPr>
        <p:spPr>
          <a:xfrm>
            <a:off x="4363748" y="1459114"/>
            <a:ext cx="3464251" cy="1878839"/>
          </a:xfrm>
          <a:solidFill>
            <a:schemeClr val="bg1">
              <a:lumMod val="95000"/>
            </a:schemeClr>
          </a:solidFill>
        </p:spPr>
        <p:txBody>
          <a:bodyPr lIns="720000" tIns="360000" rIns="7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1" name="Tijdelijke aanduiding voor tabel 8">
            <a:extLst>
              <a:ext uri="{FF2B5EF4-FFF2-40B4-BE49-F238E27FC236}">
                <a16:creationId xmlns:a16="http://schemas.microsoft.com/office/drawing/2014/main" id="{15D495A5-2912-4282-BCD4-3A183BAFFDCB}"/>
              </a:ext>
            </a:extLst>
          </p:cNvPr>
          <p:cNvSpPr>
            <a:spLocks noGrp="1"/>
          </p:cNvSpPr>
          <p:nvPr>
            <p:ph type="tbl" sz="quarter" idx="19" hasCustomPrompt="1"/>
          </p:nvPr>
        </p:nvSpPr>
        <p:spPr>
          <a:xfrm>
            <a:off x="8187746" y="1459114"/>
            <a:ext cx="3464251" cy="1878839"/>
          </a:xfrm>
          <a:solidFill>
            <a:schemeClr val="bg1">
              <a:lumMod val="95000"/>
            </a:schemeClr>
          </a:solidFill>
        </p:spPr>
        <p:txBody>
          <a:bodyPr lIns="720000" tIns="360000" rIns="7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2" name="Tijdelijke aanduiding voor tabel 8">
            <a:extLst>
              <a:ext uri="{FF2B5EF4-FFF2-40B4-BE49-F238E27FC236}">
                <a16:creationId xmlns:a16="http://schemas.microsoft.com/office/drawing/2014/main" id="{073422C5-11F8-403A-B63D-02CF5E5EC9FE}"/>
              </a:ext>
            </a:extLst>
          </p:cNvPr>
          <p:cNvSpPr>
            <a:spLocks noGrp="1"/>
          </p:cNvSpPr>
          <p:nvPr>
            <p:ph type="tbl" sz="quarter" idx="20" hasCustomPrompt="1"/>
          </p:nvPr>
        </p:nvSpPr>
        <p:spPr>
          <a:xfrm>
            <a:off x="539749" y="3699001"/>
            <a:ext cx="3464251" cy="1878839"/>
          </a:xfrm>
          <a:solidFill>
            <a:schemeClr val="bg1">
              <a:lumMod val="95000"/>
            </a:schemeClr>
          </a:solidFill>
        </p:spPr>
        <p:txBody>
          <a:bodyPr lIns="720000" tIns="360000" rIns="7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3" name="Tijdelijke aanduiding voor tabel 8">
            <a:extLst>
              <a:ext uri="{FF2B5EF4-FFF2-40B4-BE49-F238E27FC236}">
                <a16:creationId xmlns:a16="http://schemas.microsoft.com/office/drawing/2014/main" id="{0D40636B-2477-4352-B8C2-76C3F881622A}"/>
              </a:ext>
            </a:extLst>
          </p:cNvPr>
          <p:cNvSpPr>
            <a:spLocks noGrp="1"/>
          </p:cNvSpPr>
          <p:nvPr>
            <p:ph type="tbl" sz="quarter" idx="21" hasCustomPrompt="1"/>
          </p:nvPr>
        </p:nvSpPr>
        <p:spPr>
          <a:xfrm>
            <a:off x="4363748" y="3699001"/>
            <a:ext cx="3464251" cy="1878839"/>
          </a:xfrm>
          <a:solidFill>
            <a:schemeClr val="bg1">
              <a:lumMod val="95000"/>
            </a:schemeClr>
          </a:solidFill>
        </p:spPr>
        <p:txBody>
          <a:bodyPr lIns="720000" tIns="360000" rIns="7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4" name="Tijdelijke aanduiding voor tabel 8">
            <a:extLst>
              <a:ext uri="{FF2B5EF4-FFF2-40B4-BE49-F238E27FC236}">
                <a16:creationId xmlns:a16="http://schemas.microsoft.com/office/drawing/2014/main" id="{AD8194A7-CE39-4217-886D-D9AFC72F0DA9}"/>
              </a:ext>
            </a:extLst>
          </p:cNvPr>
          <p:cNvSpPr>
            <a:spLocks noGrp="1"/>
          </p:cNvSpPr>
          <p:nvPr>
            <p:ph type="tbl" sz="quarter" idx="22" hasCustomPrompt="1"/>
          </p:nvPr>
        </p:nvSpPr>
        <p:spPr>
          <a:xfrm>
            <a:off x="8187746" y="3699001"/>
            <a:ext cx="3464251" cy="1878839"/>
          </a:xfrm>
          <a:solidFill>
            <a:schemeClr val="bg1">
              <a:lumMod val="95000"/>
            </a:schemeClr>
          </a:solidFill>
        </p:spPr>
        <p:txBody>
          <a:bodyPr lIns="720000" tIns="360000" rIns="720000"/>
          <a:lstStyle>
            <a:lvl1pPr marL="0" marR="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126"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71" name="Instructie">
            <a:extLst>
              <a:ext uri="{FF2B5EF4-FFF2-40B4-BE49-F238E27FC236}">
                <a16:creationId xmlns:a16="http://schemas.microsoft.com/office/drawing/2014/main" id="{EE3F0FC0-35AF-4755-A0CA-49C25EA6A326}"/>
              </a:ext>
            </a:extLst>
          </p:cNvPr>
          <p:cNvGrpSpPr/>
          <p:nvPr userDrawn="1"/>
        </p:nvGrpSpPr>
        <p:grpSpPr>
          <a:xfrm>
            <a:off x="12391602" y="2"/>
            <a:ext cx="3183677" cy="2499789"/>
            <a:chOff x="12391601" y="0"/>
            <a:chExt cx="3183677" cy="2499789"/>
          </a:xfrm>
        </p:grpSpPr>
        <p:sp>
          <p:nvSpPr>
            <p:cNvPr id="72" name="Rechthoek 71">
              <a:extLst>
                <a:ext uri="{FF2B5EF4-FFF2-40B4-BE49-F238E27FC236}">
                  <a16:creationId xmlns:a16="http://schemas.microsoft.com/office/drawing/2014/main" id="{E731DB2F-CC10-4081-99AF-A03609A7342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73" name="Ovaal 72">
              <a:extLst>
                <a:ext uri="{FF2B5EF4-FFF2-40B4-BE49-F238E27FC236}">
                  <a16:creationId xmlns:a16="http://schemas.microsoft.com/office/drawing/2014/main" id="{2E402626-25E7-42AC-9226-03F71DF72111}"/>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74" name="Rechte verbindingslijn 73">
              <a:extLst>
                <a:ext uri="{FF2B5EF4-FFF2-40B4-BE49-F238E27FC236}">
                  <a16:creationId xmlns:a16="http://schemas.microsoft.com/office/drawing/2014/main" id="{63185E89-B85A-4882-9991-56ADB67D2E04}"/>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75" name="Rechte verbindingslijn 74">
              <a:extLst>
                <a:ext uri="{FF2B5EF4-FFF2-40B4-BE49-F238E27FC236}">
                  <a16:creationId xmlns:a16="http://schemas.microsoft.com/office/drawing/2014/main" id="{FE5F08F2-9D3B-4B3C-B5F2-901F91B37D6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76" name="Rechthoek 75">
              <a:extLst>
                <a:ext uri="{FF2B5EF4-FFF2-40B4-BE49-F238E27FC236}">
                  <a16:creationId xmlns:a16="http://schemas.microsoft.com/office/drawing/2014/main" id="{CB281058-440C-4B63-AC05-F320CE1A1C5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77" name="Ovaal 76">
              <a:extLst>
                <a:ext uri="{FF2B5EF4-FFF2-40B4-BE49-F238E27FC236}">
                  <a16:creationId xmlns:a16="http://schemas.microsoft.com/office/drawing/2014/main" id="{DF63A5BD-86BD-40E5-9F7D-D1DD789DED73}"/>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8" name="Rechthoek 77">
              <a:extLst>
                <a:ext uri="{FF2B5EF4-FFF2-40B4-BE49-F238E27FC236}">
                  <a16:creationId xmlns:a16="http://schemas.microsoft.com/office/drawing/2014/main" id="{60E5AA8A-4D01-4A21-BECB-1B65DEFBBFA7}"/>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9" name="Groep 78">
              <a:extLst>
                <a:ext uri="{FF2B5EF4-FFF2-40B4-BE49-F238E27FC236}">
                  <a16:creationId xmlns:a16="http://schemas.microsoft.com/office/drawing/2014/main" id="{F744C072-389E-4370-9918-1814ACC4565C}"/>
                </a:ext>
              </a:extLst>
            </p:cNvPr>
            <p:cNvGrpSpPr/>
            <p:nvPr userDrawn="1"/>
          </p:nvGrpSpPr>
          <p:grpSpPr>
            <a:xfrm>
              <a:off x="12757282" y="2184550"/>
              <a:ext cx="825500" cy="209550"/>
              <a:chOff x="13504624" y="2482850"/>
              <a:chExt cx="825500" cy="209550"/>
            </a:xfrm>
          </p:grpSpPr>
          <p:sp>
            <p:nvSpPr>
              <p:cNvPr id="90" name="Rechthoek 89">
                <a:extLst>
                  <a:ext uri="{FF2B5EF4-FFF2-40B4-BE49-F238E27FC236}">
                    <a16:creationId xmlns:a16="http://schemas.microsoft.com/office/drawing/2014/main" id="{87F12D03-5527-489C-8820-79315F9017B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91" name="Rechte verbindingslijn 90">
                <a:extLst>
                  <a:ext uri="{FF2B5EF4-FFF2-40B4-BE49-F238E27FC236}">
                    <a16:creationId xmlns:a16="http://schemas.microsoft.com/office/drawing/2014/main" id="{694010AB-7F5A-402D-81BA-2786D1D95BA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92" name="Gelijkbenige driehoek 91">
                <a:extLst>
                  <a:ext uri="{FF2B5EF4-FFF2-40B4-BE49-F238E27FC236}">
                    <a16:creationId xmlns:a16="http://schemas.microsoft.com/office/drawing/2014/main" id="{B6A59092-6CEE-4817-AE38-60EEFFCB102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80" name="Rechte verbindingslijn 79">
              <a:extLst>
                <a:ext uri="{FF2B5EF4-FFF2-40B4-BE49-F238E27FC236}">
                  <a16:creationId xmlns:a16="http://schemas.microsoft.com/office/drawing/2014/main" id="{C9013B4A-5641-46AA-8094-5C5A18A2326E}"/>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81" name="Tabel icoon">
              <a:extLst>
                <a:ext uri="{FF2B5EF4-FFF2-40B4-BE49-F238E27FC236}">
                  <a16:creationId xmlns:a16="http://schemas.microsoft.com/office/drawing/2014/main" id="{A84CC061-8ECC-4E9B-8A7A-B6A5644CCF55}"/>
                </a:ext>
              </a:extLst>
            </p:cNvPr>
            <p:cNvGrpSpPr/>
            <p:nvPr userDrawn="1"/>
          </p:nvGrpSpPr>
          <p:grpSpPr>
            <a:xfrm>
              <a:off x="12757283" y="1133664"/>
              <a:ext cx="375500" cy="339168"/>
              <a:chOff x="6072040" y="3376043"/>
              <a:chExt cx="1227920" cy="1109109"/>
            </a:xfrm>
          </p:grpSpPr>
          <p:sp>
            <p:nvSpPr>
              <p:cNvPr id="82" name="Rechthoek 81">
                <a:extLst>
                  <a:ext uri="{FF2B5EF4-FFF2-40B4-BE49-F238E27FC236}">
                    <a16:creationId xmlns:a16="http://schemas.microsoft.com/office/drawing/2014/main" id="{E05CC56B-7646-455D-8CAD-63B57DF1245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83" name="Rechthoek 82">
                <a:extLst>
                  <a:ext uri="{FF2B5EF4-FFF2-40B4-BE49-F238E27FC236}">
                    <a16:creationId xmlns:a16="http://schemas.microsoft.com/office/drawing/2014/main" id="{305CF445-927E-45C9-82BA-54235C8D23A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cxnSp>
            <p:nvCxnSpPr>
              <p:cNvPr id="84" name="Rechte verbindingslijn 83">
                <a:extLst>
                  <a:ext uri="{FF2B5EF4-FFF2-40B4-BE49-F238E27FC236}">
                    <a16:creationId xmlns:a16="http://schemas.microsoft.com/office/drawing/2014/main" id="{4EF85484-F8F0-43DE-84CC-9CC51305D36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5" name="Rechte verbindingslijn 84">
                <a:extLst>
                  <a:ext uri="{FF2B5EF4-FFF2-40B4-BE49-F238E27FC236}">
                    <a16:creationId xmlns:a16="http://schemas.microsoft.com/office/drawing/2014/main" id="{BF2B1DD3-BD4E-4A6A-B961-161E853EC50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6" name="Rechte verbindingslijn 85">
                <a:extLst>
                  <a:ext uri="{FF2B5EF4-FFF2-40B4-BE49-F238E27FC236}">
                    <a16:creationId xmlns:a16="http://schemas.microsoft.com/office/drawing/2014/main" id="{410335EB-C74C-47C4-898D-7B011AECD9FF}"/>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7" name="Rechte verbindingslijn 86">
                <a:extLst>
                  <a:ext uri="{FF2B5EF4-FFF2-40B4-BE49-F238E27FC236}">
                    <a16:creationId xmlns:a16="http://schemas.microsoft.com/office/drawing/2014/main" id="{0321AD66-BF8E-4353-8B9C-12B3BBA1108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8" name="Rechte verbindingslijn 87">
                <a:extLst>
                  <a:ext uri="{FF2B5EF4-FFF2-40B4-BE49-F238E27FC236}">
                    <a16:creationId xmlns:a16="http://schemas.microsoft.com/office/drawing/2014/main" id="{3E678D10-BF29-493C-8A31-1571E6A65867}"/>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89" name="Rechthoek 88">
                <a:extLst>
                  <a:ext uri="{FF2B5EF4-FFF2-40B4-BE49-F238E27FC236}">
                    <a16:creationId xmlns:a16="http://schemas.microsoft.com/office/drawing/2014/main" id="{D794D67A-1AA5-4FEC-AF2C-CF111E2080AD}"/>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Tree>
    <p:extLst>
      <p:ext uri="{BB962C8B-B14F-4D97-AF65-F5344CB8AC3E}">
        <p14:creationId xmlns:p14="http://schemas.microsoft.com/office/powerpoint/2010/main" val="21715989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8" name="Tijdelijke aanduiding voor media 7">
            <a:extLst>
              <a:ext uri="{FF2B5EF4-FFF2-40B4-BE49-F238E27FC236}">
                <a16:creationId xmlns:a16="http://schemas.microsoft.com/office/drawing/2014/main" id="{BE6A6D5B-9ECB-44A7-854F-A4E3691CCAC3}"/>
              </a:ext>
            </a:extLst>
          </p:cNvPr>
          <p:cNvSpPr>
            <a:spLocks noGrp="1"/>
          </p:cNvSpPr>
          <p:nvPr>
            <p:ph type="media" sz="quarter" idx="16" hasCustomPrompt="1"/>
          </p:nvPr>
        </p:nvSpPr>
        <p:spPr>
          <a:xfrm>
            <a:off x="0" y="0"/>
            <a:ext cx="12192000" cy="6858000"/>
          </a:xfrm>
          <a:solidFill>
            <a:schemeClr val="bg1">
              <a:lumMod val="95000"/>
            </a:schemeClr>
          </a:solidFill>
        </p:spPr>
        <p:txBody>
          <a:bodyPr tIns="3024000"/>
          <a:lstStyle>
            <a:lvl1pPr marL="0" indent="0" algn="ctr">
              <a:buNone/>
              <a:defRPr sz="1200" i="1">
                <a:solidFill>
                  <a:schemeClr val="bg1">
                    <a:lumMod val="50000"/>
                  </a:schemeClr>
                </a:solidFill>
              </a:defRPr>
            </a:lvl1pPr>
          </a:lstStyle>
          <a:p>
            <a:r>
              <a:rPr lang="nl-NL" noProof="0"/>
              <a:t>Klik op onderstaand pictogram om een video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554F4FC1-5EE3-4D3A-91D8-99B30F57A4AC}" type="datetime4">
              <a:rPr lang="nl-NL" smtClean="0"/>
              <a:t>24 oktober 2023</a:t>
            </a:fld>
            <a:endParaRPr lang="nl-NL" noProof="0"/>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7952874" y="7108010"/>
            <a:ext cx="3699126" cy="368122"/>
          </a:xfrm>
          <a:prstGeom prst="rect">
            <a:avLst/>
          </a:prstGeom>
        </p:spPr>
        <p:txBody>
          <a:bodyPr/>
          <a:lstStyle>
            <a:lvl1pPr algn="r">
              <a:defRPr sz="1100"/>
            </a:lvl1p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1741399" y="7133798"/>
            <a:ext cx="264977" cy="158273"/>
          </a:xfrm>
          <a:prstGeom prst="rect">
            <a:avLst/>
          </a:prstGeom>
        </p:spPr>
        <p:txBody>
          <a:bodyPr/>
          <a:lstStyle>
            <a:lvl1pPr algn="r">
              <a:defRPr/>
            </a:lvl1pPr>
          </a:lstStyle>
          <a:p>
            <a:fld id="{8D374ABD-355D-4B52-8A38-020B3DD5CC75}" type="slidenum">
              <a:rPr lang="nl-NL" smtClean="0"/>
              <a:pPr/>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VIDEO</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nl-NL" noProof="0"/>
              <a:t> </a:t>
            </a:r>
          </a:p>
        </p:txBody>
      </p:sp>
      <p:grpSp>
        <p:nvGrpSpPr>
          <p:cNvPr id="37" name="Instructie">
            <a:extLst>
              <a:ext uri="{FF2B5EF4-FFF2-40B4-BE49-F238E27FC236}">
                <a16:creationId xmlns:a16="http://schemas.microsoft.com/office/drawing/2014/main" id="{B2A2EEEF-6899-43EA-A420-2F27C18CCE18}"/>
              </a:ext>
            </a:extLst>
          </p:cNvPr>
          <p:cNvGrpSpPr/>
          <p:nvPr userDrawn="1"/>
        </p:nvGrpSpPr>
        <p:grpSpPr>
          <a:xfrm>
            <a:off x="12391601" y="1"/>
            <a:ext cx="3183678" cy="3883011"/>
            <a:chOff x="12391601" y="0"/>
            <a:chExt cx="3183678" cy="3883011"/>
          </a:xfrm>
        </p:grpSpPr>
        <p:grpSp>
          <p:nvGrpSpPr>
            <p:cNvPr id="38" name="Groep 37">
              <a:extLst>
                <a:ext uri="{FF2B5EF4-FFF2-40B4-BE49-F238E27FC236}">
                  <a16:creationId xmlns:a16="http://schemas.microsoft.com/office/drawing/2014/main" id="{777F5D38-8845-435C-8625-F82501433ED5}"/>
                </a:ext>
              </a:extLst>
            </p:cNvPr>
            <p:cNvGrpSpPr/>
            <p:nvPr userDrawn="1"/>
          </p:nvGrpSpPr>
          <p:grpSpPr>
            <a:xfrm>
              <a:off x="12757282" y="3100116"/>
              <a:ext cx="1499406" cy="678267"/>
              <a:chOff x="12757283" y="3120781"/>
              <a:chExt cx="1499406" cy="678267"/>
            </a:xfrm>
          </p:grpSpPr>
          <p:sp>
            <p:nvSpPr>
              <p:cNvPr id="62" name="Rechthoek 61">
                <a:extLst>
                  <a:ext uri="{FF2B5EF4-FFF2-40B4-BE49-F238E27FC236}">
                    <a16:creationId xmlns:a16="http://schemas.microsoft.com/office/drawing/2014/main" id="{71F9E537-8C64-4FD1-AA88-58151D5CABCB}"/>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63" name="Rechthoek 62">
                <a:extLst>
                  <a:ext uri="{FF2B5EF4-FFF2-40B4-BE49-F238E27FC236}">
                    <a16:creationId xmlns:a16="http://schemas.microsoft.com/office/drawing/2014/main" id="{FEFFC45A-A206-4EBE-8313-320389848735}"/>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64" name="Tekstvak 63">
                <a:extLst>
                  <a:ext uri="{FF2B5EF4-FFF2-40B4-BE49-F238E27FC236}">
                    <a16:creationId xmlns:a16="http://schemas.microsoft.com/office/drawing/2014/main" id="{180EB770-FA7A-45A2-8B7E-0021C17B03D6}"/>
                  </a:ext>
                </a:extLst>
              </p:cNvPr>
              <p:cNvSpPr txBox="1"/>
              <p:nvPr userDrawn="1"/>
            </p:nvSpPr>
            <p:spPr>
              <a:xfrm>
                <a:off x="12997648" y="3159891"/>
                <a:ext cx="957818" cy="203133"/>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65" name="Tekstvak 64">
                <a:extLst>
                  <a:ext uri="{FF2B5EF4-FFF2-40B4-BE49-F238E27FC236}">
                    <a16:creationId xmlns:a16="http://schemas.microsoft.com/office/drawing/2014/main" id="{95D1FF77-1B90-464F-9AB4-9D164C639A55}"/>
                  </a:ext>
                </a:extLst>
              </p:cNvPr>
              <p:cNvSpPr txBox="1"/>
              <p:nvPr userDrawn="1"/>
            </p:nvSpPr>
            <p:spPr>
              <a:xfrm>
                <a:off x="12984219" y="3481017"/>
                <a:ext cx="1165564" cy="203133"/>
              </a:xfrm>
              <a:prstGeom prst="rect">
                <a:avLst/>
              </a:prstGeom>
              <a:noFill/>
            </p:spPr>
            <p:txBody>
              <a:bodyPr wrap="square" rtlCol="0">
                <a:spAutoFit/>
              </a:bodyPr>
              <a:lstStyle/>
              <a:p>
                <a:pPr marL="0" algn="l" defTabSz="1217147"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66" name="Picture 3">
                <a:extLst>
                  <a:ext uri="{FF2B5EF4-FFF2-40B4-BE49-F238E27FC236}">
                    <a16:creationId xmlns:a16="http://schemas.microsoft.com/office/drawing/2014/main" id="{8DEFE058-EE60-456D-876D-9F60956A98EF}"/>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Gelijkbenige driehoek 66">
                <a:extLst>
                  <a:ext uri="{FF2B5EF4-FFF2-40B4-BE49-F238E27FC236}">
                    <a16:creationId xmlns:a16="http://schemas.microsoft.com/office/drawing/2014/main" id="{85ED4A2E-5B7D-4ADF-AA34-41CCC0F3C1CB}"/>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68" name="Groep 67">
                <a:extLst>
                  <a:ext uri="{FF2B5EF4-FFF2-40B4-BE49-F238E27FC236}">
                    <a16:creationId xmlns:a16="http://schemas.microsoft.com/office/drawing/2014/main" id="{501F1A80-AFBE-44E4-8DE0-1587BC6DC44F}"/>
                  </a:ext>
                </a:extLst>
              </p:cNvPr>
              <p:cNvGrpSpPr/>
              <p:nvPr userDrawn="1"/>
            </p:nvGrpSpPr>
            <p:grpSpPr>
              <a:xfrm>
                <a:off x="12822311" y="3178534"/>
                <a:ext cx="182309" cy="163794"/>
                <a:chOff x="12832541" y="3162395"/>
                <a:chExt cx="219532" cy="197236"/>
              </a:xfrm>
            </p:grpSpPr>
            <p:sp>
              <p:nvSpPr>
                <p:cNvPr id="73" name="Rechthoek 72">
                  <a:extLst>
                    <a:ext uri="{FF2B5EF4-FFF2-40B4-BE49-F238E27FC236}">
                      <a16:creationId xmlns:a16="http://schemas.microsoft.com/office/drawing/2014/main" id="{22A2F926-5BF1-4F88-947D-DD978CE25ABA}"/>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74" name="Rechthoek 73">
                  <a:extLst>
                    <a:ext uri="{FF2B5EF4-FFF2-40B4-BE49-F238E27FC236}">
                      <a16:creationId xmlns:a16="http://schemas.microsoft.com/office/drawing/2014/main" id="{8BC638EB-CDD3-4E48-A9A1-6086279A0595}"/>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75" name="Rechthoek 74">
                  <a:extLst>
                    <a:ext uri="{FF2B5EF4-FFF2-40B4-BE49-F238E27FC236}">
                      <a16:creationId xmlns:a16="http://schemas.microsoft.com/office/drawing/2014/main" id="{2F2E1424-81F9-42BF-A20F-F20BD4641436}"/>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nvGrpSpPr>
              <p:cNvPr id="69" name="Groep 68">
                <a:extLst>
                  <a:ext uri="{FF2B5EF4-FFF2-40B4-BE49-F238E27FC236}">
                    <a16:creationId xmlns:a16="http://schemas.microsoft.com/office/drawing/2014/main" id="{A1B093F0-00B4-4923-B76A-129C63B1890C}"/>
                  </a:ext>
                </a:extLst>
              </p:cNvPr>
              <p:cNvGrpSpPr/>
              <p:nvPr userDrawn="1"/>
            </p:nvGrpSpPr>
            <p:grpSpPr>
              <a:xfrm>
                <a:off x="12822311" y="3480352"/>
                <a:ext cx="182309" cy="163794"/>
                <a:chOff x="12832541" y="3162395"/>
                <a:chExt cx="219532" cy="197236"/>
              </a:xfrm>
            </p:grpSpPr>
            <p:sp>
              <p:nvSpPr>
                <p:cNvPr id="70" name="Rechthoek 69">
                  <a:extLst>
                    <a:ext uri="{FF2B5EF4-FFF2-40B4-BE49-F238E27FC236}">
                      <a16:creationId xmlns:a16="http://schemas.microsoft.com/office/drawing/2014/main" id="{229BC8A6-D2B3-4F65-9241-59C2DA929F4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71" name="Rechthoek 70">
                  <a:extLst>
                    <a:ext uri="{FF2B5EF4-FFF2-40B4-BE49-F238E27FC236}">
                      <a16:creationId xmlns:a16="http://schemas.microsoft.com/office/drawing/2014/main" id="{F6D5CA3A-51CD-498E-8746-0869C11EEBAF}"/>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72" name="Rechthoek 71">
                  <a:extLst>
                    <a:ext uri="{FF2B5EF4-FFF2-40B4-BE49-F238E27FC236}">
                      <a16:creationId xmlns:a16="http://schemas.microsoft.com/office/drawing/2014/main" id="{D608BBC9-1001-4E66-A312-6088C407AFB4}"/>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sp>
          <p:nvSpPr>
            <p:cNvPr id="40" name="Rechthoek 39">
              <a:extLst>
                <a:ext uri="{FF2B5EF4-FFF2-40B4-BE49-F238E27FC236}">
                  <a16:creationId xmlns:a16="http://schemas.microsoft.com/office/drawing/2014/main" id="{C0C7C318-3E96-4B81-ACB4-7C36BF46974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Video invoegen/veranderen</a:t>
              </a:r>
            </a:p>
          </p:txBody>
        </p:sp>
        <p:sp>
          <p:nvSpPr>
            <p:cNvPr id="41" name="Ovaal 40">
              <a:extLst>
                <a:ext uri="{FF2B5EF4-FFF2-40B4-BE49-F238E27FC236}">
                  <a16:creationId xmlns:a16="http://schemas.microsoft.com/office/drawing/2014/main" id="{D0743919-FB33-451B-8DC4-F2B387D8CEF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2" name="Rechte verbindingslijn 41">
              <a:extLst>
                <a:ext uri="{FF2B5EF4-FFF2-40B4-BE49-F238E27FC236}">
                  <a16:creationId xmlns:a16="http://schemas.microsoft.com/office/drawing/2014/main" id="{A1EB5A75-89AB-4158-BF50-215212A08A01}"/>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3" name="Rechte verbindingslijn 42">
              <a:extLst>
                <a:ext uri="{FF2B5EF4-FFF2-40B4-BE49-F238E27FC236}">
                  <a16:creationId xmlns:a16="http://schemas.microsoft.com/office/drawing/2014/main" id="{B0B3092D-0DFD-4D6E-9146-A41AA2C4735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4" name="Rechthoek 43">
              <a:extLst>
                <a:ext uri="{FF2B5EF4-FFF2-40B4-BE49-F238E27FC236}">
                  <a16:creationId xmlns:a16="http://schemas.microsoft.com/office/drawing/2014/main" id="{D1F3E125-8E03-486C-B4D8-8D9811393DEB}"/>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video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video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45" name="Rechte verbindingslijn 44">
              <a:extLst>
                <a:ext uri="{FF2B5EF4-FFF2-40B4-BE49-F238E27FC236}">
                  <a16:creationId xmlns:a16="http://schemas.microsoft.com/office/drawing/2014/main" id="{0E12CFCD-3A49-4E90-AD60-63DF6D637287}"/>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46" name="Ovaal 45">
              <a:extLst>
                <a:ext uri="{FF2B5EF4-FFF2-40B4-BE49-F238E27FC236}">
                  <a16:creationId xmlns:a16="http://schemas.microsoft.com/office/drawing/2014/main" id="{B6877113-4806-4C8A-AF8A-DC1F93F8FBEF}"/>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7" name="Rechthoek 46">
              <a:extLst>
                <a:ext uri="{FF2B5EF4-FFF2-40B4-BE49-F238E27FC236}">
                  <a16:creationId xmlns:a16="http://schemas.microsoft.com/office/drawing/2014/main" id="{F01103AC-E18C-44A5-BA89-6A49E2A01F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video</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 name="Groep 47">
              <a:extLst>
                <a:ext uri="{FF2B5EF4-FFF2-40B4-BE49-F238E27FC236}">
                  <a16:creationId xmlns:a16="http://schemas.microsoft.com/office/drawing/2014/main" id="{C12A0970-B4FD-4023-B57B-3980B33E6B3D}"/>
                </a:ext>
              </a:extLst>
            </p:cNvPr>
            <p:cNvGrpSpPr/>
            <p:nvPr userDrawn="1"/>
          </p:nvGrpSpPr>
          <p:grpSpPr>
            <a:xfrm>
              <a:off x="12757282" y="2184550"/>
              <a:ext cx="825500" cy="209550"/>
              <a:chOff x="13504624" y="2482850"/>
              <a:chExt cx="825500" cy="209550"/>
            </a:xfrm>
          </p:grpSpPr>
          <p:sp>
            <p:nvSpPr>
              <p:cNvPr id="56" name="Rechthoek 55">
                <a:extLst>
                  <a:ext uri="{FF2B5EF4-FFF2-40B4-BE49-F238E27FC236}">
                    <a16:creationId xmlns:a16="http://schemas.microsoft.com/office/drawing/2014/main" id="{36AC0901-09AF-4907-8355-39CA730014D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57" name="Rechte verbindingslijn 56">
                <a:extLst>
                  <a:ext uri="{FF2B5EF4-FFF2-40B4-BE49-F238E27FC236}">
                    <a16:creationId xmlns:a16="http://schemas.microsoft.com/office/drawing/2014/main" id="{2EE6CC0C-00EB-4E2B-A3D5-47B1FADD317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58" name="Gelijkbenige driehoek 57">
                <a:extLst>
                  <a:ext uri="{FF2B5EF4-FFF2-40B4-BE49-F238E27FC236}">
                    <a16:creationId xmlns:a16="http://schemas.microsoft.com/office/drawing/2014/main" id="{E6CDECED-9158-47AD-9032-44003A5B8C1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49" name="Ovaal 48">
              <a:extLst>
                <a:ext uri="{FF2B5EF4-FFF2-40B4-BE49-F238E27FC236}">
                  <a16:creationId xmlns:a16="http://schemas.microsoft.com/office/drawing/2014/main" id="{78BCD690-05FD-4530-813A-8676AE32715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50" name="Rechthoek 49">
              <a:extLst>
                <a:ext uri="{FF2B5EF4-FFF2-40B4-BE49-F238E27FC236}">
                  <a16:creationId xmlns:a16="http://schemas.microsoft.com/office/drawing/2014/main" id="{1C57B8CD-55B0-4BE8-9A34-4803A8723C58}"/>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video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51" name="Rechte verbindingslijn 50">
              <a:extLst>
                <a:ext uri="{FF2B5EF4-FFF2-40B4-BE49-F238E27FC236}">
                  <a16:creationId xmlns:a16="http://schemas.microsoft.com/office/drawing/2014/main" id="{761C4B32-44A6-4B00-805F-C7B6DB018D5F}"/>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2" name="Video icoon">
              <a:extLst>
                <a:ext uri="{FF2B5EF4-FFF2-40B4-BE49-F238E27FC236}">
                  <a16:creationId xmlns:a16="http://schemas.microsoft.com/office/drawing/2014/main" id="{91A37CCC-AF39-465F-BEA1-73B0A456E011}"/>
                </a:ext>
              </a:extLst>
            </p:cNvPr>
            <p:cNvGrpSpPr/>
            <p:nvPr userDrawn="1"/>
          </p:nvGrpSpPr>
          <p:grpSpPr>
            <a:xfrm>
              <a:off x="12757282" y="1122460"/>
              <a:ext cx="326087" cy="328143"/>
              <a:chOff x="8066315" y="1676399"/>
              <a:chExt cx="1371600" cy="1380253"/>
            </a:xfrm>
          </p:grpSpPr>
          <p:sp>
            <p:nvSpPr>
              <p:cNvPr id="53" name="Rechthoek 52">
                <a:extLst>
                  <a:ext uri="{FF2B5EF4-FFF2-40B4-BE49-F238E27FC236}">
                    <a16:creationId xmlns:a16="http://schemas.microsoft.com/office/drawing/2014/main" id="{8ECF6D49-2487-49C3-B7E5-83526196CF45}"/>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54" name="Vrije vorm 112">
                <a:extLst>
                  <a:ext uri="{FF2B5EF4-FFF2-40B4-BE49-F238E27FC236}">
                    <a16:creationId xmlns:a16="http://schemas.microsoft.com/office/drawing/2014/main" id="{412C8A5D-7A14-4590-B55F-183B23A72F12}"/>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sp>
            <p:nvSpPr>
              <p:cNvPr id="55" name="Vrije vorm 113">
                <a:extLst>
                  <a:ext uri="{FF2B5EF4-FFF2-40B4-BE49-F238E27FC236}">
                    <a16:creationId xmlns:a16="http://schemas.microsoft.com/office/drawing/2014/main" id="{E67C5FB5-833D-438E-A7D8-2E3FFB73E3E2}"/>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399" noProof="0"/>
              </a:p>
            </p:txBody>
          </p:sp>
        </p:grpSp>
      </p:grpSp>
      <p:grpSp>
        <p:nvGrpSpPr>
          <p:cNvPr id="7" name="Groep 6">
            <a:extLst>
              <a:ext uri="{FF2B5EF4-FFF2-40B4-BE49-F238E27FC236}">
                <a16:creationId xmlns:a16="http://schemas.microsoft.com/office/drawing/2014/main" id="{BEFF6C6F-6B4A-4D33-A5D7-E56B6DFBFF7A}"/>
              </a:ext>
            </a:extLst>
          </p:cNvPr>
          <p:cNvGrpSpPr/>
          <p:nvPr userDrawn="1"/>
        </p:nvGrpSpPr>
        <p:grpSpPr>
          <a:xfrm>
            <a:off x="12391602" y="3998810"/>
            <a:ext cx="3183677" cy="2859190"/>
            <a:chOff x="12391601" y="3998810"/>
            <a:chExt cx="3183677" cy="2859190"/>
          </a:xfrm>
        </p:grpSpPr>
        <p:sp>
          <p:nvSpPr>
            <p:cNvPr id="80" name="Rechthoek 79">
              <a:extLst>
                <a:ext uri="{FF2B5EF4-FFF2-40B4-BE49-F238E27FC236}">
                  <a16:creationId xmlns:a16="http://schemas.microsoft.com/office/drawing/2014/main" id="{9D5C4836-49E1-437D-A0AC-11DEE1B33CAE}"/>
                </a:ext>
              </a:extLst>
            </p:cNvPr>
            <p:cNvSpPr/>
            <p:nvPr userDrawn="1"/>
          </p:nvSpPr>
          <p:spPr>
            <a:xfrm>
              <a:off x="12397262" y="3998810"/>
              <a:ext cx="3178016" cy="191611"/>
            </a:xfrm>
            <a:prstGeom prst="rect">
              <a:avLst/>
            </a:prstGeom>
            <a:noFill/>
            <a:ln w="25400" cap="flat" cmpd="sng" algn="ctr">
              <a:noFill/>
              <a:prstDash val="solid"/>
            </a:ln>
            <a:effectLst/>
          </p:spPr>
          <p:txBody>
            <a:bodyPr lIns="0" tIns="0" rIns="0" bIns="0" rtlCol="0" anchor="ctr"/>
            <a:lstStyle/>
            <a:p>
              <a:pPr marL="0" marR="0" lvl="0" indent="0" defTabSz="914126"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Video automatisch laten afspelen</a:t>
              </a:r>
            </a:p>
          </p:txBody>
        </p:sp>
        <p:sp>
          <p:nvSpPr>
            <p:cNvPr id="81" name="Ovaal 80">
              <a:extLst>
                <a:ext uri="{FF2B5EF4-FFF2-40B4-BE49-F238E27FC236}">
                  <a16:creationId xmlns:a16="http://schemas.microsoft.com/office/drawing/2014/main" id="{F4410F6C-0971-4B24-A4E0-A9F0C8FC1665}"/>
                </a:ext>
              </a:extLst>
            </p:cNvPr>
            <p:cNvSpPr/>
            <p:nvPr userDrawn="1"/>
          </p:nvSpPr>
          <p:spPr>
            <a:xfrm>
              <a:off x="12391601" y="436530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2" name="Rechte verbindingslijn 81">
              <a:extLst>
                <a:ext uri="{FF2B5EF4-FFF2-40B4-BE49-F238E27FC236}">
                  <a16:creationId xmlns:a16="http://schemas.microsoft.com/office/drawing/2014/main" id="{223CA539-791E-464C-8AF4-4FF2D5BB1978}"/>
                </a:ext>
              </a:extLst>
            </p:cNvPr>
            <p:cNvCxnSpPr>
              <a:cxnSpLocks/>
            </p:cNvCxnSpPr>
            <p:nvPr userDrawn="1"/>
          </p:nvCxnSpPr>
          <p:spPr>
            <a:xfrm>
              <a:off x="12397261" y="4240445"/>
              <a:ext cx="3178017" cy="0"/>
            </a:xfrm>
            <a:prstGeom prst="line">
              <a:avLst/>
            </a:prstGeom>
            <a:noFill/>
            <a:ln w="3175" cap="flat" cmpd="sng" algn="ctr">
              <a:solidFill>
                <a:schemeClr val="bg1">
                  <a:lumMod val="50000"/>
                </a:schemeClr>
              </a:solidFill>
              <a:prstDash val="solid"/>
            </a:ln>
            <a:effectLst/>
          </p:spPr>
        </p:cxnSp>
        <p:sp>
          <p:nvSpPr>
            <p:cNvPr id="84" name="Rechthoek 83">
              <a:extLst>
                <a:ext uri="{FF2B5EF4-FFF2-40B4-BE49-F238E27FC236}">
                  <a16:creationId xmlns:a16="http://schemas.microsoft.com/office/drawing/2014/main" id="{AD26DEDE-987C-4ABA-B8EC-8D14D6B40409}"/>
                </a:ext>
              </a:extLst>
            </p:cNvPr>
            <p:cNvSpPr/>
            <p:nvPr userDrawn="1"/>
          </p:nvSpPr>
          <p:spPr>
            <a:xfrm>
              <a:off x="12757282" y="4431362"/>
              <a:ext cx="2817995" cy="595423"/>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video door er op te klikk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video – Afspel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bij ‘Begin’ het keuze menu open door op het pijltje naar beneden te klikken.</a:t>
              </a:r>
            </a:p>
          </p:txBody>
        </p:sp>
        <p:pic>
          <p:nvPicPr>
            <p:cNvPr id="2" name="Afbeelding 1">
              <a:extLst>
                <a:ext uri="{FF2B5EF4-FFF2-40B4-BE49-F238E27FC236}">
                  <a16:creationId xmlns:a16="http://schemas.microsoft.com/office/drawing/2014/main" id="{09DAFE33-AC6E-4D6F-B14F-56F3A9758AF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12757281" y="5888445"/>
              <a:ext cx="1518277" cy="860372"/>
            </a:xfrm>
            <a:prstGeom prst="rect">
              <a:avLst/>
            </a:prstGeom>
          </p:spPr>
        </p:pic>
        <p:pic>
          <p:nvPicPr>
            <p:cNvPr id="3" name="Afbeelding 2">
              <a:extLst>
                <a:ext uri="{FF2B5EF4-FFF2-40B4-BE49-F238E27FC236}">
                  <a16:creationId xmlns:a16="http://schemas.microsoft.com/office/drawing/2014/main" id="{60153270-ACD1-4483-9549-881A0264CEA9}"/>
                </a:ext>
              </a:extLst>
            </p:cNvPr>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12761416" y="5127585"/>
              <a:ext cx="628605" cy="206109"/>
            </a:xfrm>
            <a:prstGeom prst="rect">
              <a:avLst/>
            </a:prstGeom>
          </p:spPr>
        </p:pic>
        <p:sp>
          <p:nvSpPr>
            <p:cNvPr id="113" name="Ovaal 112">
              <a:extLst>
                <a:ext uri="{FF2B5EF4-FFF2-40B4-BE49-F238E27FC236}">
                  <a16:creationId xmlns:a16="http://schemas.microsoft.com/office/drawing/2014/main" id="{6D67AD96-9036-4375-9159-F3D26402DB8E}"/>
                </a:ext>
              </a:extLst>
            </p:cNvPr>
            <p:cNvSpPr/>
            <p:nvPr userDrawn="1"/>
          </p:nvSpPr>
          <p:spPr>
            <a:xfrm>
              <a:off x="12391601" y="557995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cxnSp>
          <p:nvCxnSpPr>
            <p:cNvPr id="114" name="Rechte verbindingslijn 113">
              <a:extLst>
                <a:ext uri="{FF2B5EF4-FFF2-40B4-BE49-F238E27FC236}">
                  <a16:creationId xmlns:a16="http://schemas.microsoft.com/office/drawing/2014/main" id="{6B105775-15A2-4253-BF55-3E264D54FD11}"/>
                </a:ext>
              </a:extLst>
            </p:cNvPr>
            <p:cNvCxnSpPr>
              <a:cxnSpLocks/>
            </p:cNvCxnSpPr>
            <p:nvPr userDrawn="1"/>
          </p:nvCxnSpPr>
          <p:spPr>
            <a:xfrm>
              <a:off x="12397261" y="5455095"/>
              <a:ext cx="3178017" cy="0"/>
            </a:xfrm>
            <a:prstGeom prst="line">
              <a:avLst/>
            </a:prstGeom>
            <a:noFill/>
            <a:ln w="3175" cap="flat" cmpd="sng" algn="ctr">
              <a:solidFill>
                <a:schemeClr val="bg1">
                  <a:lumMod val="50000"/>
                </a:schemeClr>
              </a:solidFill>
              <a:prstDash val="solid"/>
            </a:ln>
            <a:effectLst/>
          </p:spPr>
        </p:cxnSp>
        <p:sp>
          <p:nvSpPr>
            <p:cNvPr id="115" name="Rechthoek 114">
              <a:extLst>
                <a:ext uri="{FF2B5EF4-FFF2-40B4-BE49-F238E27FC236}">
                  <a16:creationId xmlns:a16="http://schemas.microsoft.com/office/drawing/2014/main" id="{E70B9610-5594-43B7-93B3-ECE3B8E0C0FE}"/>
                </a:ext>
              </a:extLst>
            </p:cNvPr>
            <p:cNvSpPr/>
            <p:nvPr userDrawn="1"/>
          </p:nvSpPr>
          <p:spPr>
            <a:xfrm>
              <a:off x="12757282" y="5646012"/>
              <a:ext cx="2817995" cy="167949"/>
            </a:xfrm>
            <a:prstGeom prst="rect">
              <a:avLst/>
            </a:prstGeom>
            <a:noFill/>
            <a:ln w="25400" cap="flat" cmpd="sng" algn="ctr">
              <a:noFill/>
              <a:prstDash val="solid"/>
            </a:ln>
            <a:effectLst/>
          </p:spPr>
          <p:txBody>
            <a:bodyPr lIns="0" tIns="0" rIns="0" bIns="0" rtlCol="0" anchor="t"/>
            <a:lstStyle/>
            <a:p>
              <a:pPr marL="0" marR="0" lvl="0" indent="0" defTabSz="914126"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in het keuze menu op ‘Automatisch’ </a:t>
              </a:r>
            </a:p>
          </p:txBody>
        </p:sp>
        <p:cxnSp>
          <p:nvCxnSpPr>
            <p:cNvPr id="116" name="Rechte verbindingslijn 115">
              <a:extLst>
                <a:ext uri="{FF2B5EF4-FFF2-40B4-BE49-F238E27FC236}">
                  <a16:creationId xmlns:a16="http://schemas.microsoft.com/office/drawing/2014/main" id="{425F5135-4E4D-46DC-AA50-6C6D60AB5276}"/>
                </a:ext>
              </a:extLst>
            </p:cNvPr>
            <p:cNvCxnSpPr>
              <a:cxnSpLocks/>
            </p:cNvCxnSpPr>
            <p:nvPr userDrawn="1"/>
          </p:nvCxnSpPr>
          <p:spPr>
            <a:xfrm>
              <a:off x="12397261" y="6858000"/>
              <a:ext cx="3178017" cy="0"/>
            </a:xfrm>
            <a:prstGeom prst="line">
              <a:avLst/>
            </a:prstGeom>
            <a:noFill/>
            <a:ln w="3175" cap="flat" cmpd="sng" algn="ctr">
              <a:solidFill>
                <a:schemeClr val="bg1">
                  <a:lumMod val="50000"/>
                </a:schemeClr>
              </a:solidFill>
              <a:prstDash val="solid"/>
            </a:ln>
            <a:effectLst/>
          </p:spPr>
        </p:cxnSp>
      </p:grpSp>
    </p:spTree>
    <p:extLst>
      <p:ext uri="{BB962C8B-B14F-4D97-AF65-F5344CB8AC3E}">
        <p14:creationId xmlns:p14="http://schemas.microsoft.com/office/powerpoint/2010/main" val="19980798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C6592555-338D-4329-B07B-535F7FE84779}"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539999" y="6489321"/>
            <a:ext cx="9478328" cy="224300"/>
          </a:xfrm>
          <a:prstGeom prst="rect">
            <a:avLst/>
          </a:prstGeom>
        </p:spPr>
        <p:txBody>
          <a:body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 y="6489321"/>
            <a:ext cx="539998" cy="224300"/>
          </a:xfrm>
          <a:prstGeom prst="rect">
            <a:avLst/>
          </a:prstGeom>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1999"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1"/>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71981" rIns="71981" bIns="71981" numCol="1" spcCol="0" rtlCol="0" fromWordArt="0" anchor="ctr" anchorCtr="0" forceAA="0" compatLnSpc="1">
            <a:prstTxWarp prst="textNoShape">
              <a:avLst/>
            </a:prstTxWarp>
            <a:noAutofit/>
          </a:bodyPr>
          <a:lstStyle/>
          <a:p>
            <a:pPr lvl="0" algn="ctr"/>
            <a:r>
              <a:rPr lang="nl-NL" sz="2799" b="0" cap="all" baseline="0" noProof="0">
                <a:solidFill>
                  <a:schemeClr val="accent1"/>
                </a:solidFill>
                <a:latin typeface="+mn-lt"/>
              </a:rPr>
              <a:t>ALLEEN TITEL</a:t>
            </a:r>
          </a:p>
        </p:txBody>
      </p:sp>
      <p:sp>
        <p:nvSpPr>
          <p:cNvPr id="19" name="Tijdelijke aanduiding voor tekst 43">
            <a:extLst>
              <a:ext uri="{FF2B5EF4-FFF2-40B4-BE49-F238E27FC236}">
                <a16:creationId xmlns:a16="http://schemas.microsoft.com/office/drawing/2014/main" id="{10D5AB53-53B8-4CBF-8A13-9A3F3A740454}"/>
              </a:ext>
            </a:extLst>
          </p:cNvPr>
          <p:cNvSpPr>
            <a:spLocks noGrp="1"/>
          </p:cNvSpPr>
          <p:nvPr>
            <p:ph type="body" sz="quarter" idx="15" hasCustomPrompt="1"/>
          </p:nvPr>
        </p:nvSpPr>
        <p:spPr>
          <a:xfrm>
            <a:off x="540001"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Tree>
    <p:extLst>
      <p:ext uri="{BB962C8B-B14F-4D97-AF65-F5344CB8AC3E}">
        <p14:creationId xmlns:p14="http://schemas.microsoft.com/office/powerpoint/2010/main" val="1420519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a:xfrm>
            <a:off x="501651" y="533574"/>
            <a:ext cx="11133221" cy="327975"/>
          </a:xfrm>
        </p:spPr>
        <p:txBody>
          <a:bodyPr>
            <a:spAutoFit/>
          </a:bodyPr>
          <a:lstStyle/>
          <a:p>
            <a:r>
              <a:rPr lang="nl-NL"/>
              <a:t>Klik om de stijl te bewerken</a:t>
            </a:r>
            <a:endParaRPr lang="en-US"/>
          </a:p>
        </p:txBody>
      </p:sp>
      <p:sp>
        <p:nvSpPr>
          <p:cNvPr id="3" name="Content Placeholder 2"/>
          <p:cNvSpPr>
            <a:spLocks noGrp="1"/>
          </p:cNvSpPr>
          <p:nvPr>
            <p:ph sz="half" idx="1"/>
          </p:nvPr>
        </p:nvSpPr>
        <p:spPr>
          <a:xfrm>
            <a:off x="502661" y="1708492"/>
            <a:ext cx="11133220" cy="333065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28" name="Tekstvak 27"/>
          <p:cNvSpPr txBox="1"/>
          <p:nvPr userDrawn="1"/>
        </p:nvSpPr>
        <p:spPr>
          <a:xfrm>
            <a:off x="-113405" y="-421449"/>
            <a:ext cx="2714368" cy="294084"/>
          </a:xfrm>
          <a:prstGeom prst="rect">
            <a:avLst/>
          </a:prstGeom>
          <a:noFill/>
        </p:spPr>
        <p:txBody>
          <a:bodyPr wrap="square" lIns="77877" tIns="38940" rIns="77877" bIns="38940" rtlCol="0">
            <a:spAutoFit/>
          </a:bodyPr>
          <a:lstStyle/>
          <a:p>
            <a:pPr defTabSz="779144" fontAlgn="auto">
              <a:spcBef>
                <a:spcPts val="0"/>
              </a:spcBef>
              <a:spcAft>
                <a:spcPts val="0"/>
              </a:spcAft>
            </a:pPr>
            <a:r>
              <a:rPr lang="en-GB" sz="1400" err="1">
                <a:solidFill>
                  <a:srgbClr val="818181"/>
                </a:solidFill>
                <a:latin typeface="Calibri" panose="020F0502020204030204"/>
              </a:rPr>
              <a:t>Titel</a:t>
            </a:r>
            <a:r>
              <a:rPr lang="en-GB" sz="1400">
                <a:solidFill>
                  <a:srgbClr val="818181"/>
                </a:solidFill>
                <a:latin typeface="Calibri" panose="020F0502020204030204"/>
              </a:rPr>
              <a:t> en Object</a:t>
            </a:r>
          </a:p>
        </p:txBody>
      </p:sp>
      <p:sp>
        <p:nvSpPr>
          <p:cNvPr id="100"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a:t>Subtitel</a:t>
            </a:r>
            <a:endParaRPr lang="en-US"/>
          </a:p>
        </p:txBody>
      </p:sp>
      <p:sp>
        <p:nvSpPr>
          <p:cNvPr id="119" name="Content Placeholder 2"/>
          <p:cNvSpPr>
            <a:spLocks noGrp="1"/>
          </p:cNvSpPr>
          <p:nvPr>
            <p:ph sz="half" idx="14"/>
          </p:nvPr>
        </p:nvSpPr>
        <p:spPr>
          <a:xfrm>
            <a:off x="502661" y="5172796"/>
            <a:ext cx="11133220" cy="169277"/>
          </a:xfrm>
        </p:spPr>
        <p:txBody>
          <a:bodyPr>
            <a:spAutoFit/>
          </a:bodyPr>
          <a:lstStyle>
            <a:lvl1pPr>
              <a:defRPr sz="1100">
                <a:solidFill>
                  <a:schemeClr val="accent1"/>
                </a:solidFill>
              </a:defRPr>
            </a:lvl1pPr>
            <a:lvl2pPr>
              <a:defRPr sz="1100">
                <a:solidFill>
                  <a:schemeClr val="accent1"/>
                </a:solidFill>
              </a:defRPr>
            </a:lvl2pPr>
            <a:lvl3pPr>
              <a:defRPr sz="1100">
                <a:solidFill>
                  <a:schemeClr val="accent1"/>
                </a:solidFill>
              </a:defRPr>
            </a:lvl3pPr>
            <a:lvl4pPr>
              <a:defRPr sz="1100">
                <a:solidFill>
                  <a:schemeClr val="accent1"/>
                </a:solidFill>
              </a:defRPr>
            </a:lvl4pPr>
            <a:lvl5pPr>
              <a:defRPr sz="1100">
                <a:solidFill>
                  <a:schemeClr val="accent1"/>
                </a:solidFill>
              </a:defRPr>
            </a:lvl5pPr>
          </a:lstStyle>
          <a:p>
            <a:pPr lvl="0"/>
            <a:r>
              <a:rPr lang="nl-NL"/>
              <a:t>Klik om de modelstijlen te bewerken</a:t>
            </a:r>
          </a:p>
        </p:txBody>
      </p:sp>
      <p:grpSp>
        <p:nvGrpSpPr>
          <p:cNvPr id="120" name="Groep 119"/>
          <p:cNvGrpSpPr/>
          <p:nvPr userDrawn="1"/>
        </p:nvGrpSpPr>
        <p:grpSpPr>
          <a:xfrm>
            <a:off x="-3471143" y="-46317"/>
            <a:ext cx="3471145" cy="6908385"/>
            <a:chOff x="-2603359" y="-46322"/>
            <a:chExt cx="2603359" cy="6908385"/>
          </a:xfrm>
        </p:grpSpPr>
        <p:sp>
          <p:nvSpPr>
            <p:cNvPr id="121" name="Afgeronde rechthoek 120"/>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err="1">
                  <a:solidFill>
                    <a:srgbClr val="FFFFFF"/>
                  </a:solidFill>
                </a:rPr>
                <a:t>Cyaan</a:t>
              </a:r>
              <a:endParaRPr lang="en-GB" sz="900">
                <a:solidFill>
                  <a:srgbClr val="FFFFFF"/>
                </a:solidFill>
              </a:endParaRPr>
            </a:p>
          </p:txBody>
        </p:sp>
        <p:sp>
          <p:nvSpPr>
            <p:cNvPr id="122" name="Tekstvak 29"/>
            <p:cNvSpPr txBox="1"/>
            <p:nvPr userDrawn="1"/>
          </p:nvSpPr>
          <p:spPr>
            <a:xfrm>
              <a:off x="-1493489" y="834757"/>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70 , G 181, B 212</a:t>
              </a:r>
            </a:p>
          </p:txBody>
        </p:sp>
        <p:sp>
          <p:nvSpPr>
            <p:cNvPr id="123"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a:solidFill>
                    <a:srgbClr val="FFFFFF"/>
                  </a:solidFill>
                </a:rPr>
                <a:t>Red</a:t>
              </a:r>
            </a:p>
          </p:txBody>
        </p:sp>
        <p:sp>
          <p:nvSpPr>
            <p:cNvPr id="124"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a:solidFill>
                    <a:srgbClr val="FFFFFF"/>
                  </a:solidFill>
                </a:rPr>
                <a:t>Black</a:t>
              </a:r>
            </a:p>
          </p:txBody>
        </p:sp>
        <p:sp>
          <p:nvSpPr>
            <p:cNvPr id="125"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a:solidFill>
                    <a:srgbClr val="FFFFFF"/>
                  </a:solidFill>
                </a:rPr>
                <a:t>Orange</a:t>
              </a:r>
            </a:p>
          </p:txBody>
        </p:sp>
        <p:sp>
          <p:nvSpPr>
            <p:cNvPr id="126" name="Afgeronde rechthoek 125"/>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a:solidFill>
                    <a:srgbClr val="FFFFFF"/>
                  </a:solidFill>
                </a:rPr>
                <a:t>Petrol blue</a:t>
              </a:r>
            </a:p>
          </p:txBody>
        </p:sp>
        <p:sp>
          <p:nvSpPr>
            <p:cNvPr id="127" name="Rechthoek 126"/>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defTabSz="779144" fontAlgn="auto">
                <a:spcBef>
                  <a:spcPts val="0"/>
                </a:spcBef>
                <a:spcAft>
                  <a:spcPts val="0"/>
                </a:spcAft>
              </a:pPr>
              <a:r>
                <a:rPr lang="nl-NL" sz="1800">
                  <a:solidFill>
                    <a:srgbClr val="818181"/>
                  </a:solidFill>
                </a:rPr>
                <a:t>RGB-KLEUREN</a:t>
              </a:r>
            </a:p>
          </p:txBody>
        </p:sp>
        <p:cxnSp>
          <p:nvCxnSpPr>
            <p:cNvPr id="128" name="Rechte verbindingslijn 127"/>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a:solidFill>
                    <a:srgbClr val="FFFFFF"/>
                  </a:solidFill>
                </a:rPr>
                <a:t>Green</a:t>
              </a:r>
            </a:p>
          </p:txBody>
        </p:sp>
        <p:sp>
          <p:nvSpPr>
            <p:cNvPr id="130" name="Tekstvak 29"/>
            <p:cNvSpPr txBox="1"/>
            <p:nvPr userDrawn="1"/>
          </p:nvSpPr>
          <p:spPr>
            <a:xfrm>
              <a:off x="-1493489" y="1211703"/>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204 , G 0, B 0</a:t>
              </a:r>
            </a:p>
          </p:txBody>
        </p:sp>
        <p:sp>
          <p:nvSpPr>
            <p:cNvPr id="131" name="Tekstvak 29"/>
            <p:cNvSpPr txBox="1"/>
            <p:nvPr userDrawn="1"/>
          </p:nvSpPr>
          <p:spPr>
            <a:xfrm>
              <a:off x="-1493489" y="1588650"/>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0 , G 0, B 0</a:t>
              </a:r>
            </a:p>
          </p:txBody>
        </p:sp>
        <p:sp>
          <p:nvSpPr>
            <p:cNvPr id="132" name="Tekstvak 29"/>
            <p:cNvSpPr txBox="1"/>
            <p:nvPr userDrawn="1"/>
          </p:nvSpPr>
          <p:spPr>
            <a:xfrm>
              <a:off x="-1493489" y="1965597"/>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229 , G 123, B 003</a:t>
              </a:r>
            </a:p>
          </p:txBody>
        </p:sp>
        <p:sp>
          <p:nvSpPr>
            <p:cNvPr id="133" name="Tekstvak 29"/>
            <p:cNvSpPr txBox="1"/>
            <p:nvPr userDrawn="1"/>
          </p:nvSpPr>
          <p:spPr>
            <a:xfrm>
              <a:off x="-1493489" y="2342545"/>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065 , G 127, B 162</a:t>
              </a:r>
            </a:p>
          </p:txBody>
        </p:sp>
        <p:sp>
          <p:nvSpPr>
            <p:cNvPr id="134" name="Tekstvak 29"/>
            <p:cNvSpPr txBox="1"/>
            <p:nvPr userDrawn="1"/>
          </p:nvSpPr>
          <p:spPr>
            <a:xfrm>
              <a:off x="-1493489" y="2719491"/>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134 , G 135, B 034</a:t>
              </a:r>
            </a:p>
          </p:txBody>
        </p:sp>
        <p:sp>
          <p:nvSpPr>
            <p:cNvPr id="135" name="Afgeronde rechthoek 134"/>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a:solidFill>
                    <a:srgbClr val="FFFFFF"/>
                  </a:solidFill>
                </a:rPr>
                <a:t>Grey</a:t>
              </a:r>
            </a:p>
          </p:txBody>
        </p:sp>
        <p:sp>
          <p:nvSpPr>
            <p:cNvPr id="136" name="Tekstvak 29"/>
            <p:cNvSpPr txBox="1"/>
            <p:nvPr userDrawn="1"/>
          </p:nvSpPr>
          <p:spPr>
            <a:xfrm>
              <a:off x="-1493489" y="457809"/>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129 , G 129, B 129</a:t>
              </a:r>
            </a:p>
          </p:txBody>
        </p:sp>
        <p:sp>
          <p:nvSpPr>
            <p:cNvPr id="137"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a:solidFill>
                    <a:srgbClr val="FFFFFF"/>
                  </a:solidFill>
                </a:rPr>
                <a:t>Purple</a:t>
              </a:r>
            </a:p>
          </p:txBody>
        </p:sp>
        <p:sp>
          <p:nvSpPr>
            <p:cNvPr id="138"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en-GB" sz="900">
                  <a:solidFill>
                    <a:srgbClr val="FFFFFF"/>
                  </a:solidFill>
                </a:rPr>
                <a:t>Light Grey</a:t>
              </a:r>
            </a:p>
          </p:txBody>
        </p:sp>
        <p:sp>
          <p:nvSpPr>
            <p:cNvPr id="139" name="Tekstvak 29"/>
            <p:cNvSpPr txBox="1"/>
            <p:nvPr userDrawn="1"/>
          </p:nvSpPr>
          <p:spPr>
            <a:xfrm>
              <a:off x="-1493489" y="3096438"/>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082 , G 083, B 135</a:t>
              </a:r>
            </a:p>
          </p:txBody>
        </p:sp>
        <p:sp>
          <p:nvSpPr>
            <p:cNvPr id="140" name="Tekstvak 29"/>
            <p:cNvSpPr txBox="1"/>
            <p:nvPr userDrawn="1"/>
          </p:nvSpPr>
          <p:spPr>
            <a:xfrm>
              <a:off x="-1493489" y="3473388"/>
              <a:ext cx="1355354" cy="230832"/>
            </a:xfrm>
            <a:prstGeom prst="rect">
              <a:avLst/>
            </a:prstGeom>
            <a:noFill/>
          </p:spPr>
          <p:txBody>
            <a:bodyPr wrap="square" rtlCol="0">
              <a:spAutoFit/>
            </a:bodyPr>
            <a:lstStyle/>
            <a:p>
              <a:pPr defTabSz="303000" fontAlgn="auto">
                <a:spcBef>
                  <a:spcPts val="0"/>
                </a:spcBef>
                <a:spcAft>
                  <a:spcPts val="0"/>
                </a:spcAft>
              </a:pPr>
              <a:r>
                <a:rPr lang="en-US" sz="900" b="0">
                  <a:solidFill>
                    <a:srgbClr val="818181"/>
                  </a:solidFill>
                  <a:latin typeface="Calibri" panose="020F0502020204030204"/>
                </a:rPr>
                <a:t>R 178 , G 178, 178</a:t>
              </a:r>
            </a:p>
          </p:txBody>
        </p:sp>
        <p:grpSp>
          <p:nvGrpSpPr>
            <p:cNvPr id="141" name="Groep 140"/>
            <p:cNvGrpSpPr/>
            <p:nvPr userDrawn="1"/>
          </p:nvGrpSpPr>
          <p:grpSpPr>
            <a:xfrm>
              <a:off x="-2459680" y="5020705"/>
              <a:ext cx="2314960" cy="1841358"/>
              <a:chOff x="8427776" y="4654945"/>
              <a:chExt cx="2314960" cy="1841358"/>
            </a:xfrm>
          </p:grpSpPr>
          <p:grpSp>
            <p:nvGrpSpPr>
              <p:cNvPr id="142" name="Groep 141"/>
              <p:cNvGrpSpPr/>
              <p:nvPr userDrawn="1"/>
            </p:nvGrpSpPr>
            <p:grpSpPr>
              <a:xfrm>
                <a:off x="8432864" y="4781014"/>
                <a:ext cx="2309872" cy="1592662"/>
                <a:chOff x="-3092517" y="-83840"/>
                <a:chExt cx="3136706" cy="2509126"/>
              </a:xfrm>
            </p:grpSpPr>
            <p:sp>
              <p:nvSpPr>
                <p:cNvPr id="145"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fontAlgn="auto"/>
                  <a:r>
                    <a:rPr lang="en-GB" sz="1600">
                      <a:solidFill>
                        <a:srgbClr val="818181"/>
                      </a:solidFill>
                    </a:rPr>
                    <a:t>Typ-tekst (18 pt.)</a:t>
                  </a:r>
                </a:p>
              </p:txBody>
            </p:sp>
            <p:sp>
              <p:nvSpPr>
                <p:cNvPr id="146" name="Ovaal 145"/>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nl-NL" sz="900" b="0">
                      <a:solidFill>
                        <a:srgbClr val="FFFFFF"/>
                      </a:solidFill>
                    </a:rPr>
                    <a:t>3</a:t>
                  </a:r>
                </a:p>
              </p:txBody>
            </p:sp>
            <p:sp>
              <p:nvSpPr>
                <p:cNvPr id="147" name="Ovaal 146"/>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nl-NL" sz="900" b="0">
                      <a:solidFill>
                        <a:srgbClr val="FFFFFF"/>
                      </a:solidFill>
                    </a:rPr>
                    <a:t>4</a:t>
                  </a:r>
                </a:p>
              </p:txBody>
            </p:sp>
            <p:sp>
              <p:nvSpPr>
                <p:cNvPr id="148" name="Ovaal 147"/>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nl-NL" sz="900" b="0">
                      <a:solidFill>
                        <a:srgbClr val="FFFFFF"/>
                      </a:solidFill>
                    </a:rPr>
                    <a:t>5</a:t>
                  </a:r>
                </a:p>
              </p:txBody>
            </p:sp>
            <p:sp>
              <p:nvSpPr>
                <p:cNvPr id="149"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82809" lvl="1" indent="-156911" defTabSz="779144" fontAlgn="auto">
                    <a:lnSpc>
                      <a:spcPct val="100000"/>
                    </a:lnSpc>
                    <a:spcBef>
                      <a:spcPts val="0"/>
                    </a:spcBef>
                    <a:buClr>
                      <a:srgbClr val="818181"/>
                    </a:buClr>
                    <a:buSzPct val="100000"/>
                    <a:buFont typeface="Arial" panose="020B0604020202020204" pitchFamily="34" charset="0"/>
                    <a:buChar char="•"/>
                  </a:pPr>
                  <a:r>
                    <a:rPr lang="en-GB" sz="1600" b="0">
                      <a:solidFill>
                        <a:srgbClr val="818181"/>
                      </a:solidFill>
                    </a:rPr>
                    <a:t>Bullet (16 pt.)</a:t>
                  </a:r>
                </a:p>
              </p:txBody>
            </p:sp>
            <p:sp>
              <p:nvSpPr>
                <p:cNvPr id="150"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2956" lvl="2" indent="-150148" defTabSz="779144" fontAlgn="auto">
                    <a:lnSpc>
                      <a:spcPct val="100000"/>
                    </a:lnSpc>
                    <a:spcBef>
                      <a:spcPts val="0"/>
                    </a:spcBef>
                    <a:spcAft>
                      <a:spcPts val="512"/>
                    </a:spcAft>
                    <a:buClr>
                      <a:srgbClr val="818181"/>
                    </a:buClr>
                    <a:buFont typeface="Arial" panose="020B0604020202020204" pitchFamily="34" charset="0"/>
                    <a:buChar char="•"/>
                    <a:tabLst>
                      <a:tab pos="3744218" algn="l"/>
                    </a:tabLst>
                  </a:pPr>
                  <a:r>
                    <a:rPr lang="en-GB" sz="1400" b="0">
                      <a:solidFill>
                        <a:srgbClr val="818181"/>
                      </a:solidFill>
                    </a:rPr>
                    <a:t>Sub-bullet (14 pt.)</a:t>
                  </a:r>
                </a:p>
              </p:txBody>
            </p:sp>
            <p:sp>
              <p:nvSpPr>
                <p:cNvPr id="151"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fontAlgn="auto"/>
                  <a:r>
                    <a:rPr lang="en-GB" sz="1600" b="1" err="1">
                      <a:solidFill>
                        <a:srgbClr val="818181"/>
                      </a:solidFill>
                    </a:rPr>
                    <a:t>Titel</a:t>
                  </a:r>
                  <a:r>
                    <a:rPr lang="en-GB" sz="1600" b="1">
                      <a:solidFill>
                        <a:srgbClr val="818181"/>
                      </a:solidFill>
                    </a:rPr>
                    <a:t> bold (32 pt.)</a:t>
                  </a:r>
                </a:p>
              </p:txBody>
            </p:sp>
            <p:sp>
              <p:nvSpPr>
                <p:cNvPr id="152" name="Ovaal 151"/>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nl-NL" sz="900" b="0">
                      <a:solidFill>
                        <a:srgbClr val="FFFFFF"/>
                      </a:solidFill>
                    </a:rPr>
                    <a:t>1</a:t>
                  </a:r>
                </a:p>
              </p:txBody>
            </p:sp>
            <p:sp>
              <p:nvSpPr>
                <p:cNvPr id="153" name="Ovaal 152"/>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9144" fontAlgn="auto">
                    <a:spcBef>
                      <a:spcPts val="0"/>
                    </a:spcBef>
                    <a:spcAft>
                      <a:spcPts val="0"/>
                    </a:spcAft>
                  </a:pPr>
                  <a:r>
                    <a:rPr lang="nl-NL" sz="900" b="0">
                      <a:solidFill>
                        <a:srgbClr val="FFFFFF"/>
                      </a:solidFill>
                    </a:rPr>
                    <a:t>2</a:t>
                  </a:r>
                </a:p>
              </p:txBody>
            </p:sp>
            <p:sp>
              <p:nvSpPr>
                <p:cNvPr id="154"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1112" defTabSz="779144" fontAlgn="auto">
                    <a:lnSpc>
                      <a:spcPct val="100000"/>
                    </a:lnSpc>
                    <a:spcBef>
                      <a:spcPts val="0"/>
                    </a:spcBef>
                    <a:buClr>
                      <a:srgbClr val="818181"/>
                    </a:buClr>
                    <a:buSzPct val="100000"/>
                    <a:buFont typeface="Arial" panose="020B0604020202020204" pitchFamily="34" charset="0"/>
                    <a:buNone/>
                  </a:pPr>
                  <a:r>
                    <a:rPr lang="en-GB" sz="1600" err="1">
                      <a:solidFill>
                        <a:srgbClr val="818181"/>
                      </a:solidFill>
                    </a:rPr>
                    <a:t>Subtitel</a:t>
                  </a:r>
                  <a:r>
                    <a:rPr lang="en-GB" sz="1600">
                      <a:solidFill>
                        <a:srgbClr val="818181"/>
                      </a:solidFill>
                    </a:rPr>
                    <a:t> (16 pt.)</a:t>
                  </a:r>
                </a:p>
              </p:txBody>
            </p:sp>
          </p:grpSp>
          <p:cxnSp>
            <p:nvCxnSpPr>
              <p:cNvPr id="143" name="Rechte verbindingslijn 142"/>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Rechte verbindingslijn 143"/>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4" name="Footer Placeholder 4"/>
          <p:cNvSpPr>
            <a:spLocks noGrp="1"/>
          </p:cNvSpPr>
          <p:nvPr>
            <p:ph type="ftr" sz="quarter" idx="3"/>
          </p:nvPr>
        </p:nvSpPr>
        <p:spPr>
          <a:xfrm>
            <a:off x="3793964" y="6401879"/>
            <a:ext cx="4719051" cy="201751"/>
          </a:xfrm>
          <a:prstGeom prst="rect">
            <a:avLst/>
          </a:prstGeom>
        </p:spPr>
        <p:txBody>
          <a:bodyPr vert="horz" wrap="square" lIns="0" tIns="38940" rIns="77877" bIns="38940" rtlCol="0" anchor="ctr">
            <a:spAutoFit/>
          </a:bodyPr>
          <a:lstStyle>
            <a:lvl1pPr algn="ctr">
              <a:defRPr sz="800">
                <a:solidFill>
                  <a:schemeClr val="tx1"/>
                </a:solidFill>
              </a:defRPr>
            </a:lvl1pPr>
          </a:lstStyle>
          <a:p>
            <a:endParaRPr lang="en-US">
              <a:solidFill>
                <a:srgbClr val="818181"/>
              </a:solidFill>
            </a:endParaRPr>
          </a:p>
        </p:txBody>
      </p:sp>
      <p:sp>
        <p:nvSpPr>
          <p:cNvPr id="45" name="Slide Number Placeholder 5"/>
          <p:cNvSpPr>
            <a:spLocks noGrp="1"/>
          </p:cNvSpPr>
          <p:nvPr>
            <p:ph type="sldNum" sz="quarter" idx="4"/>
          </p:nvPr>
        </p:nvSpPr>
        <p:spPr>
          <a:xfrm>
            <a:off x="502654" y="6401879"/>
            <a:ext cx="566821" cy="201751"/>
          </a:xfrm>
          <a:prstGeom prst="rect">
            <a:avLst/>
          </a:prstGeom>
        </p:spPr>
        <p:txBody>
          <a:bodyPr vert="horz" lIns="77877" tIns="38940" rIns="77877" bIns="38940" rtlCol="0" anchor="ctr">
            <a:spAutoFit/>
          </a:bodyPr>
          <a:lstStyle>
            <a:lvl1pPr algn="l">
              <a:defRPr sz="800" b="1">
                <a:solidFill>
                  <a:schemeClr val="tx1"/>
                </a:solidFill>
              </a:defRPr>
            </a:lvl1pPr>
          </a:lstStyle>
          <a:p>
            <a:fld id="{8A87A398-2B52-41CE-AD18-FB681F1DBEA6}" type="slidenum">
              <a:rPr lang="en-US" smtClean="0">
                <a:solidFill>
                  <a:srgbClr val="818181"/>
                </a:solidFill>
              </a:rPr>
              <a:pPr/>
              <a:t>‹#›</a:t>
            </a:fld>
            <a:endParaRPr lang="en-US">
              <a:solidFill>
                <a:srgbClr val="818181"/>
              </a:solidFill>
            </a:endParaRPr>
          </a:p>
        </p:txBody>
      </p:sp>
    </p:spTree>
    <p:extLst>
      <p:ext uri="{BB962C8B-B14F-4D97-AF65-F5344CB8AC3E}">
        <p14:creationId xmlns:p14="http://schemas.microsoft.com/office/powerpoint/2010/main" val="14466730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00% tekst">
    <p:spTree>
      <p:nvGrpSpPr>
        <p:cNvPr id="1" name=""/>
        <p:cNvGrpSpPr/>
        <p:nvPr/>
      </p:nvGrpSpPr>
      <p:grpSpPr>
        <a:xfrm>
          <a:off x="0" y="0"/>
          <a:ext cx="0" cy="0"/>
          <a:chOff x="0" y="0"/>
          <a:chExt cx="0" cy="0"/>
        </a:xfrm>
      </p:grpSpPr>
      <p:sp>
        <p:nvSpPr>
          <p:cNvPr id="2" name="Titel 1"/>
          <p:cNvSpPr>
            <a:spLocks noGrp="1"/>
          </p:cNvSpPr>
          <p:nvPr>
            <p:ph type="title"/>
          </p:nvPr>
        </p:nvSpPr>
        <p:spPr>
          <a:xfrm>
            <a:off x="385781" y="95697"/>
            <a:ext cx="10744108" cy="584775"/>
          </a:xfrm>
        </p:spPr>
        <p:txBody>
          <a:bodyPr/>
          <a:lstStyle/>
          <a:p>
            <a:r>
              <a:rPr lang="nl-NL"/>
              <a:t>Klik om de stijl te bewerken</a:t>
            </a:r>
            <a:endParaRPr lang="en-US"/>
          </a:p>
        </p:txBody>
      </p:sp>
      <p:sp>
        <p:nvSpPr>
          <p:cNvPr id="3" name="Tijdelijke aanduiding voor verticale tekst 2"/>
          <p:cNvSpPr>
            <a:spLocks noGrp="1"/>
          </p:cNvSpPr>
          <p:nvPr>
            <p:ph type="body" orient="vert" idx="1"/>
          </p:nvPr>
        </p:nvSpPr>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6" name="Tijdelijke aanduiding voor dianummer 12"/>
          <p:cNvSpPr txBox="1">
            <a:spLocks/>
          </p:cNvSpPr>
          <p:nvPr userDrawn="1"/>
        </p:nvSpPr>
        <p:spPr>
          <a:xfrm>
            <a:off x="11129889" y="6584401"/>
            <a:ext cx="453709" cy="236061"/>
          </a:xfrm>
          <a:prstGeom prst="rect">
            <a:avLst/>
          </a:prstGeom>
        </p:spPr>
        <p:txBody>
          <a:bodyPr vert="horz" lIns="0" tIns="45713" rIns="0" bIns="45713" rtlCol="0" anchor="ctr"/>
          <a:lstStyle>
            <a:defPPr>
              <a:defRPr lang="nl-NL"/>
            </a:defPPr>
            <a:lvl1pPr marL="0" algn="r" defTabSz="914255" rtl="0" eaLnBrk="1" latinLnBrk="0" hangingPunct="1">
              <a:defRPr sz="1200" b="1" kern="1200">
                <a:solidFill>
                  <a:schemeClr val="bg1"/>
                </a:solidFill>
                <a:latin typeface="+mn-lt"/>
                <a:ea typeface="+mn-ea"/>
                <a:cs typeface="+mn-cs"/>
              </a:defRPr>
            </a:lvl1pPr>
            <a:lvl2pPr marL="457127" algn="l" defTabSz="914255" rtl="0" eaLnBrk="1" latinLnBrk="0" hangingPunct="1">
              <a:defRPr sz="1900" kern="1200">
                <a:solidFill>
                  <a:schemeClr val="tx1"/>
                </a:solidFill>
                <a:latin typeface="+mn-lt"/>
                <a:ea typeface="+mn-ea"/>
                <a:cs typeface="+mn-cs"/>
              </a:defRPr>
            </a:lvl2pPr>
            <a:lvl3pPr marL="914255" algn="l" defTabSz="914255" rtl="0" eaLnBrk="1" latinLnBrk="0" hangingPunct="1">
              <a:defRPr sz="1900" kern="1200">
                <a:solidFill>
                  <a:schemeClr val="tx1"/>
                </a:solidFill>
                <a:latin typeface="+mn-lt"/>
                <a:ea typeface="+mn-ea"/>
                <a:cs typeface="+mn-cs"/>
              </a:defRPr>
            </a:lvl3pPr>
            <a:lvl4pPr marL="1371381" algn="l" defTabSz="914255" rtl="0" eaLnBrk="1" latinLnBrk="0" hangingPunct="1">
              <a:defRPr sz="1900" kern="1200">
                <a:solidFill>
                  <a:schemeClr val="tx1"/>
                </a:solidFill>
                <a:latin typeface="+mn-lt"/>
                <a:ea typeface="+mn-ea"/>
                <a:cs typeface="+mn-cs"/>
              </a:defRPr>
            </a:lvl4pPr>
            <a:lvl5pPr marL="1828508" algn="l" defTabSz="914255" rtl="0" eaLnBrk="1" latinLnBrk="0" hangingPunct="1">
              <a:defRPr sz="1900" kern="1200">
                <a:solidFill>
                  <a:schemeClr val="tx1"/>
                </a:solidFill>
                <a:latin typeface="+mn-lt"/>
                <a:ea typeface="+mn-ea"/>
                <a:cs typeface="+mn-cs"/>
              </a:defRPr>
            </a:lvl5pPr>
            <a:lvl6pPr marL="2285635" algn="l" defTabSz="914255" rtl="0" eaLnBrk="1" latinLnBrk="0" hangingPunct="1">
              <a:defRPr sz="1900" kern="1200">
                <a:solidFill>
                  <a:schemeClr val="tx1"/>
                </a:solidFill>
                <a:latin typeface="+mn-lt"/>
                <a:ea typeface="+mn-ea"/>
                <a:cs typeface="+mn-cs"/>
              </a:defRPr>
            </a:lvl6pPr>
            <a:lvl7pPr marL="2742763" algn="l" defTabSz="914255" rtl="0" eaLnBrk="1" latinLnBrk="0" hangingPunct="1">
              <a:defRPr sz="1900" kern="1200">
                <a:solidFill>
                  <a:schemeClr val="tx1"/>
                </a:solidFill>
                <a:latin typeface="+mn-lt"/>
                <a:ea typeface="+mn-ea"/>
                <a:cs typeface="+mn-cs"/>
              </a:defRPr>
            </a:lvl7pPr>
            <a:lvl8pPr marL="3199889" algn="l" defTabSz="914255" rtl="0" eaLnBrk="1" latinLnBrk="0" hangingPunct="1">
              <a:defRPr sz="1900" kern="1200">
                <a:solidFill>
                  <a:schemeClr val="tx1"/>
                </a:solidFill>
                <a:latin typeface="+mn-lt"/>
                <a:ea typeface="+mn-ea"/>
                <a:cs typeface="+mn-cs"/>
              </a:defRPr>
            </a:lvl8pPr>
            <a:lvl9pPr marL="3657016" algn="l" defTabSz="914255" rtl="0" eaLnBrk="1" latinLnBrk="0" hangingPunct="1">
              <a:defRPr sz="1900" kern="1200">
                <a:solidFill>
                  <a:schemeClr val="tx1"/>
                </a:solidFill>
                <a:latin typeface="+mn-lt"/>
                <a:ea typeface="+mn-ea"/>
                <a:cs typeface="+mn-cs"/>
              </a:defRPr>
            </a:lvl9pPr>
          </a:lstStyle>
          <a:p>
            <a:fld id="{BCEB47A6-CBA8-4F99-AA9E-77FC284047B7}" type="slidenum">
              <a:rPr lang="en-US" smtClean="0">
                <a:solidFill>
                  <a:srgbClr val="FFFFFF"/>
                </a:solidFill>
              </a:rPr>
              <a:pPr/>
              <a:t>‹#›</a:t>
            </a:fld>
            <a:endParaRPr lang="en-US">
              <a:solidFill>
                <a:srgbClr val="FFFFFF"/>
              </a:solidFill>
            </a:endParaRPr>
          </a:p>
        </p:txBody>
      </p:sp>
      <p:sp>
        <p:nvSpPr>
          <p:cNvPr id="5" name="Slide Number Placeholder 5"/>
          <p:cNvSpPr>
            <a:spLocks noGrp="1"/>
          </p:cNvSpPr>
          <p:nvPr>
            <p:ph type="sldNum" sz="quarter" idx="4"/>
          </p:nvPr>
        </p:nvSpPr>
        <p:spPr>
          <a:xfrm>
            <a:off x="503575" y="6379643"/>
            <a:ext cx="567856" cy="246221"/>
          </a:xfrm>
          <a:prstGeom prst="rect">
            <a:avLst/>
          </a:prstGeom>
        </p:spPr>
        <p:txBody>
          <a:bodyPr vert="horz" lIns="91440" tIns="45720" rIns="91440" bIns="45720" rtlCol="0" anchor="ctr">
            <a:spAutoFit/>
          </a:bodyPr>
          <a:lstStyle>
            <a:lvl1pPr algn="l">
              <a:defRPr sz="1000" b="0">
                <a:solidFill>
                  <a:schemeClr val="tx1"/>
                </a:solidFill>
              </a:defRPr>
            </a:lvl1pPr>
          </a:lstStyle>
          <a:p>
            <a:fld id="{8A87A398-2B52-41CE-AD18-FB681F1DBEA6}" type="slidenum">
              <a:rPr lang="nl-NL" smtClean="0">
                <a:solidFill>
                  <a:srgbClr val="616161"/>
                </a:solidFill>
              </a:rPr>
              <a:pPr/>
              <a:t>‹#›</a:t>
            </a:fld>
            <a:endParaRPr lang="nl-NL">
              <a:solidFill>
                <a:srgbClr val="616161"/>
              </a:solidFill>
            </a:endParaRPr>
          </a:p>
        </p:txBody>
      </p:sp>
    </p:spTree>
    <p:extLst>
      <p:ext uri="{BB962C8B-B14F-4D97-AF65-F5344CB8AC3E}">
        <p14:creationId xmlns:p14="http://schemas.microsoft.com/office/powerpoint/2010/main" val="40670098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oud van twee - groen">
    <p:spTree>
      <p:nvGrpSpPr>
        <p:cNvPr id="1" name=""/>
        <p:cNvGrpSpPr/>
        <p:nvPr/>
      </p:nvGrpSpPr>
      <p:grpSpPr>
        <a:xfrm>
          <a:off x="0" y="0"/>
          <a:ext cx="0" cy="0"/>
          <a:chOff x="0" y="0"/>
          <a:chExt cx="0" cy="0"/>
        </a:xfrm>
      </p:grpSpPr>
      <p:grpSp>
        <p:nvGrpSpPr>
          <p:cNvPr id="10" name="Groep 9"/>
          <p:cNvGrpSpPr/>
          <p:nvPr userDrawn="1"/>
        </p:nvGrpSpPr>
        <p:grpSpPr>
          <a:xfrm>
            <a:off x="8026593" y="1534407"/>
            <a:ext cx="3609281" cy="4474402"/>
            <a:chOff x="6014916" y="1914964"/>
            <a:chExt cx="2706961" cy="4474402"/>
          </a:xfrm>
          <a:solidFill>
            <a:schemeClr val="accent4"/>
          </a:solidFill>
        </p:grpSpPr>
        <p:sp>
          <p:nvSpPr>
            <p:cNvPr id="11" name="Vrije vorm 10"/>
            <p:cNvSpPr/>
            <p:nvPr/>
          </p:nvSpPr>
          <p:spPr>
            <a:xfrm>
              <a:off x="8377238" y="1914964"/>
              <a:ext cx="344639" cy="337506"/>
            </a:xfrm>
            <a:custGeom>
              <a:avLst/>
              <a:gdLst>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79937 w 2607128"/>
                <a:gd name="connsiteY7" fmla="*/ 176943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64946 w 2607128"/>
                <a:gd name="connsiteY7" fmla="*/ 181940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264946 w 2607128"/>
                <a:gd name="connsiteY6" fmla="*/ 181940 h 279788"/>
                <a:gd name="connsiteX7" fmla="*/ 2404269 w 2607128"/>
                <a:gd name="connsiteY7" fmla="*/ 111570 h 279788"/>
                <a:gd name="connsiteX8" fmla="*/ 2563503 w 2607128"/>
                <a:gd name="connsiteY8" fmla="*/ 436 h 279788"/>
                <a:gd name="connsiteX9" fmla="*/ 2570319 w 2607128"/>
                <a:gd name="connsiteY9" fmla="*/ 95 h 279788"/>
                <a:gd name="connsiteX0" fmla="*/ 305373 w 342182"/>
                <a:gd name="connsiteY0" fmla="*/ 95 h 279788"/>
                <a:gd name="connsiteX1" fmla="*/ 342182 w 342182"/>
                <a:gd name="connsiteY1" fmla="*/ 76704 h 279788"/>
                <a:gd name="connsiteX2" fmla="*/ 342182 w 342182"/>
                <a:gd name="connsiteY2" fmla="*/ 279788 h 279788"/>
                <a:gd name="connsiteX3" fmla="*/ 339262 w 342182"/>
                <a:gd name="connsiteY3" fmla="*/ 265325 h 279788"/>
                <a:gd name="connsiteX4" fmla="*/ 213326 w 342182"/>
                <a:gd name="connsiteY4" fmla="*/ 181849 h 279788"/>
                <a:gd name="connsiteX5" fmla="*/ 0 w 342182"/>
                <a:gd name="connsiteY5" fmla="*/ 181940 h 279788"/>
                <a:gd name="connsiteX6" fmla="*/ 139323 w 342182"/>
                <a:gd name="connsiteY6" fmla="*/ 111570 h 279788"/>
                <a:gd name="connsiteX7" fmla="*/ 298557 w 342182"/>
                <a:gd name="connsiteY7" fmla="*/ 436 h 279788"/>
                <a:gd name="connsiteX8" fmla="*/ 305373 w 342182"/>
                <a:gd name="connsiteY8" fmla="*/ 95 h 279788"/>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65325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41681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4424 w 347020"/>
                <a:gd name="connsiteY3" fmla="*/ 267744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4639"/>
                <a:gd name="connsiteY0" fmla="*/ 95 h 337506"/>
                <a:gd name="connsiteX1" fmla="*/ 342182 w 344639"/>
                <a:gd name="connsiteY1" fmla="*/ 76704 h 337506"/>
                <a:gd name="connsiteX2" fmla="*/ 344639 w 344639"/>
                <a:gd name="connsiteY2" fmla="*/ 337506 h 337506"/>
                <a:gd name="connsiteX3" fmla="*/ 334424 w 344639"/>
                <a:gd name="connsiteY3" fmla="*/ 267744 h 337506"/>
                <a:gd name="connsiteX4" fmla="*/ 213326 w 344639"/>
                <a:gd name="connsiteY4" fmla="*/ 181849 h 337506"/>
                <a:gd name="connsiteX5" fmla="*/ 0 w 344639"/>
                <a:gd name="connsiteY5" fmla="*/ 181940 h 337506"/>
                <a:gd name="connsiteX6" fmla="*/ 139323 w 344639"/>
                <a:gd name="connsiteY6" fmla="*/ 111570 h 337506"/>
                <a:gd name="connsiteX7" fmla="*/ 298557 w 344639"/>
                <a:gd name="connsiteY7" fmla="*/ 436 h 337506"/>
                <a:gd name="connsiteX8" fmla="*/ 305373 w 344639"/>
                <a:gd name="connsiteY8" fmla="*/ 95 h 33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639" h="337506">
                  <a:moveTo>
                    <a:pt x="305373" y="95"/>
                  </a:moveTo>
                  <a:cubicBezTo>
                    <a:pt x="317643" y="1117"/>
                    <a:pt x="342182" y="11331"/>
                    <a:pt x="342182" y="76704"/>
                  </a:cubicBezTo>
                  <a:cubicBezTo>
                    <a:pt x="343795" y="156494"/>
                    <a:pt x="343026" y="257716"/>
                    <a:pt x="344639" y="337506"/>
                  </a:cubicBezTo>
                  <a:cubicBezTo>
                    <a:pt x="340440" y="321396"/>
                    <a:pt x="338623" y="283854"/>
                    <a:pt x="334424" y="267744"/>
                  </a:cubicBezTo>
                  <a:cubicBezTo>
                    <a:pt x="313676" y="218689"/>
                    <a:pt x="269940" y="181849"/>
                    <a:pt x="213326" y="181849"/>
                  </a:cubicBezTo>
                  <a:lnTo>
                    <a:pt x="0" y="181940"/>
                  </a:lnTo>
                  <a:cubicBezTo>
                    <a:pt x="0" y="181940"/>
                    <a:pt x="100061" y="170406"/>
                    <a:pt x="139323" y="111570"/>
                  </a:cubicBezTo>
                  <a:cubicBezTo>
                    <a:pt x="139323" y="111570"/>
                    <a:pt x="235299" y="436"/>
                    <a:pt x="298557" y="436"/>
                  </a:cubicBezTo>
                  <a:cubicBezTo>
                    <a:pt x="298557" y="436"/>
                    <a:pt x="301284" y="-245"/>
                    <a:pt x="305373" y="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2" name="Afgeronde rechthoek 11"/>
            <p:cNvSpPr/>
            <p:nvPr/>
          </p:nvSpPr>
          <p:spPr>
            <a:xfrm>
              <a:off x="6014916" y="2088295"/>
              <a:ext cx="2706885" cy="4301071"/>
            </a:xfrm>
            <a:prstGeom prst="roundRect">
              <a:avLst>
                <a:gd name="adj" fmla="val 481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8" name="Afgeronde rechthoek 7"/>
          <p:cNvSpPr/>
          <p:nvPr userDrawn="1"/>
        </p:nvSpPr>
        <p:spPr>
          <a:xfrm>
            <a:off x="658302" y="1708486"/>
            <a:ext cx="7136801" cy="4268241"/>
          </a:xfrm>
          <a:prstGeom prst="roundRect">
            <a:avLst>
              <a:gd name="adj" fmla="val 3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 name="Title 1"/>
          <p:cNvSpPr>
            <a:spLocks noGrp="1"/>
          </p:cNvSpPr>
          <p:nvPr>
            <p:ph type="title"/>
          </p:nvPr>
        </p:nvSpPr>
        <p:spPr>
          <a:xfrm>
            <a:off x="502652" y="533569"/>
            <a:ext cx="11133221" cy="584775"/>
          </a:xfrm>
          <a:noFill/>
        </p:spPr>
        <p:txBody>
          <a:bodyPr>
            <a:spAutoFit/>
          </a:bodyPr>
          <a:lstStyle>
            <a:lvl1pPr>
              <a:defRPr>
                <a:solidFill>
                  <a:schemeClr val="accent4"/>
                </a:solidFill>
              </a:defRPr>
            </a:lvl1pPr>
          </a:lstStyle>
          <a:p>
            <a:r>
              <a:rPr lang="nl-NL" noProof="0"/>
              <a:t>Klik om de stijl te bewerken</a:t>
            </a:r>
          </a:p>
        </p:txBody>
      </p:sp>
      <p:sp>
        <p:nvSpPr>
          <p:cNvPr id="13" name="Tekstvak 12"/>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Inhoud van twee</a:t>
            </a:r>
            <a:r>
              <a:rPr lang="nl-NL" sz="1600" b="1" baseline="0" noProof="0">
                <a:solidFill>
                  <a:schemeClr val="tx1"/>
                </a:solidFill>
              </a:rPr>
              <a:t> - groen</a:t>
            </a:r>
            <a:endParaRPr lang="nl-NL" sz="1600" b="1" noProof="0">
              <a:solidFill>
                <a:schemeClr val="tx1"/>
              </a:solidFill>
            </a:endParaRPr>
          </a:p>
        </p:txBody>
      </p:sp>
      <p:sp>
        <p:nvSpPr>
          <p:cNvPr id="46"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47" name="Content Placeholder 2"/>
          <p:cNvSpPr>
            <a:spLocks noGrp="1"/>
          </p:cNvSpPr>
          <p:nvPr>
            <p:ph sz="half" idx="1"/>
          </p:nvPr>
        </p:nvSpPr>
        <p:spPr>
          <a:xfrm>
            <a:off x="762066" y="1708486"/>
            <a:ext cx="6916300" cy="389718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48" name="Content Placeholder 3"/>
          <p:cNvSpPr>
            <a:spLocks noGrp="1"/>
          </p:cNvSpPr>
          <p:nvPr>
            <p:ph sz="half" idx="2"/>
          </p:nvPr>
        </p:nvSpPr>
        <p:spPr bwMode="gray">
          <a:xfrm>
            <a:off x="8130359" y="1708485"/>
            <a:ext cx="3387191" cy="307777"/>
          </a:xfrm>
        </p:spPr>
        <p:txBody>
          <a:bodyPr>
            <a:spAutoFit/>
          </a:bodyPr>
          <a:lstStyle>
            <a:lvl1pP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p:txBody>
      </p:sp>
      <p:sp>
        <p:nvSpPr>
          <p:cNvPr id="50" name="Content Placeholder 3"/>
          <p:cNvSpPr>
            <a:spLocks noGrp="1"/>
          </p:cNvSpPr>
          <p:nvPr>
            <p:ph sz="half" idx="15"/>
          </p:nvPr>
        </p:nvSpPr>
        <p:spPr bwMode="gray">
          <a:xfrm>
            <a:off x="8130359" y="2315817"/>
            <a:ext cx="3387191" cy="3766524"/>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grpSp>
        <p:nvGrpSpPr>
          <p:cNvPr id="72" name="Groep 71"/>
          <p:cNvGrpSpPr/>
          <p:nvPr userDrawn="1"/>
        </p:nvGrpSpPr>
        <p:grpSpPr>
          <a:xfrm>
            <a:off x="-3279573" y="5020705"/>
            <a:ext cx="3086613" cy="1841358"/>
            <a:chOff x="8427776" y="4654945"/>
            <a:chExt cx="2314960" cy="1841358"/>
          </a:xfrm>
        </p:grpSpPr>
        <p:grpSp>
          <p:nvGrpSpPr>
            <p:cNvPr id="73" name="Groep 72"/>
            <p:cNvGrpSpPr/>
            <p:nvPr userDrawn="1"/>
          </p:nvGrpSpPr>
          <p:grpSpPr>
            <a:xfrm>
              <a:off x="8432864" y="4781014"/>
              <a:ext cx="2309872" cy="1592662"/>
              <a:chOff x="-3092517" y="-83840"/>
              <a:chExt cx="3136706" cy="2509126"/>
            </a:xfrm>
          </p:grpSpPr>
          <p:sp>
            <p:nvSpPr>
              <p:cNvPr id="76"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7" name="Ovaal 76"/>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78" name="Ovaal 77"/>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79" name="Ovaal 78"/>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0"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1"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2"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3" name="Ovaal 82"/>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84" name="Ovaal 83"/>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85"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74" name="Rechte verbindingslijn 73"/>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Rechte verbindingslijn 74"/>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87"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88" name="Tijdelijke aanduiding voor tekst 46"/>
          <p:cNvSpPr>
            <a:spLocks noGrp="1"/>
          </p:cNvSpPr>
          <p:nvPr userDrawn="1">
            <p:ph type="body" sz="quarter" idx="14" hasCustomPrompt="1"/>
          </p:nvPr>
        </p:nvSpPr>
        <p:spPr>
          <a:xfrm>
            <a:off x="762066" y="5611213"/>
            <a:ext cx="6916300" cy="476671"/>
          </a:xfrm>
        </p:spPr>
        <p:txBody>
          <a:bodyPr/>
          <a:lstStyle>
            <a:lvl1pPr>
              <a:lnSpc>
                <a:spcPts val="1100"/>
              </a:lnSpc>
              <a:defRPr sz="1000" i="1">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Legenda</a:t>
            </a:r>
          </a:p>
        </p:txBody>
      </p:sp>
      <p:grpSp>
        <p:nvGrpSpPr>
          <p:cNvPr id="89" name="Groep 88"/>
          <p:cNvGrpSpPr/>
          <p:nvPr userDrawn="1"/>
        </p:nvGrpSpPr>
        <p:grpSpPr>
          <a:xfrm>
            <a:off x="-3471145" y="-46322"/>
            <a:ext cx="3471145" cy="3781320"/>
            <a:chOff x="-2603359" y="-46322"/>
            <a:chExt cx="2603359" cy="3781320"/>
          </a:xfrm>
        </p:grpSpPr>
        <p:sp>
          <p:nvSpPr>
            <p:cNvPr id="90" name="Afgeronde rechthoek 89"/>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91"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92"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93"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95" name="Afgeronde rechthoek 94"/>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96" name="Rechthoek 95"/>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97" name="Rechte verbindingslijn 96"/>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99"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0"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1"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2"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03"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04" name="Afgeronde rechthoek 103"/>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05"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6"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7"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08"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09"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2340391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oud van twee - paars">
    <p:spTree>
      <p:nvGrpSpPr>
        <p:cNvPr id="1" name=""/>
        <p:cNvGrpSpPr/>
        <p:nvPr/>
      </p:nvGrpSpPr>
      <p:grpSpPr>
        <a:xfrm>
          <a:off x="0" y="0"/>
          <a:ext cx="0" cy="0"/>
          <a:chOff x="0" y="0"/>
          <a:chExt cx="0" cy="0"/>
        </a:xfrm>
      </p:grpSpPr>
      <p:grpSp>
        <p:nvGrpSpPr>
          <p:cNvPr id="10" name="Groep 9"/>
          <p:cNvGrpSpPr/>
          <p:nvPr userDrawn="1"/>
        </p:nvGrpSpPr>
        <p:grpSpPr>
          <a:xfrm>
            <a:off x="8026593" y="1534407"/>
            <a:ext cx="3609281" cy="4474402"/>
            <a:chOff x="6014916" y="1914964"/>
            <a:chExt cx="2706961" cy="4474402"/>
          </a:xfrm>
          <a:solidFill>
            <a:schemeClr val="accent5"/>
          </a:solidFill>
        </p:grpSpPr>
        <p:sp>
          <p:nvSpPr>
            <p:cNvPr id="11" name="Vrije vorm 10"/>
            <p:cNvSpPr/>
            <p:nvPr/>
          </p:nvSpPr>
          <p:spPr>
            <a:xfrm>
              <a:off x="8377238" y="1914964"/>
              <a:ext cx="344639" cy="337506"/>
            </a:xfrm>
            <a:custGeom>
              <a:avLst/>
              <a:gdLst>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79937 w 2607128"/>
                <a:gd name="connsiteY7" fmla="*/ 176943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64946 w 2607128"/>
                <a:gd name="connsiteY7" fmla="*/ 181940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264946 w 2607128"/>
                <a:gd name="connsiteY6" fmla="*/ 181940 h 279788"/>
                <a:gd name="connsiteX7" fmla="*/ 2404269 w 2607128"/>
                <a:gd name="connsiteY7" fmla="*/ 111570 h 279788"/>
                <a:gd name="connsiteX8" fmla="*/ 2563503 w 2607128"/>
                <a:gd name="connsiteY8" fmla="*/ 436 h 279788"/>
                <a:gd name="connsiteX9" fmla="*/ 2570319 w 2607128"/>
                <a:gd name="connsiteY9" fmla="*/ 95 h 279788"/>
                <a:gd name="connsiteX0" fmla="*/ 305373 w 342182"/>
                <a:gd name="connsiteY0" fmla="*/ 95 h 279788"/>
                <a:gd name="connsiteX1" fmla="*/ 342182 w 342182"/>
                <a:gd name="connsiteY1" fmla="*/ 76704 h 279788"/>
                <a:gd name="connsiteX2" fmla="*/ 342182 w 342182"/>
                <a:gd name="connsiteY2" fmla="*/ 279788 h 279788"/>
                <a:gd name="connsiteX3" fmla="*/ 339262 w 342182"/>
                <a:gd name="connsiteY3" fmla="*/ 265325 h 279788"/>
                <a:gd name="connsiteX4" fmla="*/ 213326 w 342182"/>
                <a:gd name="connsiteY4" fmla="*/ 181849 h 279788"/>
                <a:gd name="connsiteX5" fmla="*/ 0 w 342182"/>
                <a:gd name="connsiteY5" fmla="*/ 181940 h 279788"/>
                <a:gd name="connsiteX6" fmla="*/ 139323 w 342182"/>
                <a:gd name="connsiteY6" fmla="*/ 111570 h 279788"/>
                <a:gd name="connsiteX7" fmla="*/ 298557 w 342182"/>
                <a:gd name="connsiteY7" fmla="*/ 436 h 279788"/>
                <a:gd name="connsiteX8" fmla="*/ 305373 w 342182"/>
                <a:gd name="connsiteY8" fmla="*/ 95 h 279788"/>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65325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41681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4424 w 347020"/>
                <a:gd name="connsiteY3" fmla="*/ 267744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4639"/>
                <a:gd name="connsiteY0" fmla="*/ 95 h 337506"/>
                <a:gd name="connsiteX1" fmla="*/ 342182 w 344639"/>
                <a:gd name="connsiteY1" fmla="*/ 76704 h 337506"/>
                <a:gd name="connsiteX2" fmla="*/ 344639 w 344639"/>
                <a:gd name="connsiteY2" fmla="*/ 337506 h 337506"/>
                <a:gd name="connsiteX3" fmla="*/ 334424 w 344639"/>
                <a:gd name="connsiteY3" fmla="*/ 267744 h 337506"/>
                <a:gd name="connsiteX4" fmla="*/ 213326 w 344639"/>
                <a:gd name="connsiteY4" fmla="*/ 181849 h 337506"/>
                <a:gd name="connsiteX5" fmla="*/ 0 w 344639"/>
                <a:gd name="connsiteY5" fmla="*/ 181940 h 337506"/>
                <a:gd name="connsiteX6" fmla="*/ 139323 w 344639"/>
                <a:gd name="connsiteY6" fmla="*/ 111570 h 337506"/>
                <a:gd name="connsiteX7" fmla="*/ 298557 w 344639"/>
                <a:gd name="connsiteY7" fmla="*/ 436 h 337506"/>
                <a:gd name="connsiteX8" fmla="*/ 305373 w 344639"/>
                <a:gd name="connsiteY8" fmla="*/ 95 h 33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639" h="337506">
                  <a:moveTo>
                    <a:pt x="305373" y="95"/>
                  </a:moveTo>
                  <a:cubicBezTo>
                    <a:pt x="317643" y="1117"/>
                    <a:pt x="342182" y="11331"/>
                    <a:pt x="342182" y="76704"/>
                  </a:cubicBezTo>
                  <a:cubicBezTo>
                    <a:pt x="343795" y="156494"/>
                    <a:pt x="343026" y="257716"/>
                    <a:pt x="344639" y="337506"/>
                  </a:cubicBezTo>
                  <a:cubicBezTo>
                    <a:pt x="340440" y="321396"/>
                    <a:pt x="338623" y="283854"/>
                    <a:pt x="334424" y="267744"/>
                  </a:cubicBezTo>
                  <a:cubicBezTo>
                    <a:pt x="313676" y="218689"/>
                    <a:pt x="269940" y="181849"/>
                    <a:pt x="213326" y="181849"/>
                  </a:cubicBezTo>
                  <a:lnTo>
                    <a:pt x="0" y="181940"/>
                  </a:lnTo>
                  <a:cubicBezTo>
                    <a:pt x="0" y="181940"/>
                    <a:pt x="100061" y="170406"/>
                    <a:pt x="139323" y="111570"/>
                  </a:cubicBezTo>
                  <a:cubicBezTo>
                    <a:pt x="139323" y="111570"/>
                    <a:pt x="235299" y="436"/>
                    <a:pt x="298557" y="436"/>
                  </a:cubicBezTo>
                  <a:cubicBezTo>
                    <a:pt x="298557" y="436"/>
                    <a:pt x="301284" y="-245"/>
                    <a:pt x="305373" y="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2" name="Afgeronde rechthoek 11"/>
            <p:cNvSpPr/>
            <p:nvPr/>
          </p:nvSpPr>
          <p:spPr>
            <a:xfrm>
              <a:off x="6014916" y="2088295"/>
              <a:ext cx="2706885" cy="4301071"/>
            </a:xfrm>
            <a:prstGeom prst="roundRect">
              <a:avLst>
                <a:gd name="adj" fmla="val 481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8" name="Afgeronde rechthoek 7"/>
          <p:cNvSpPr/>
          <p:nvPr userDrawn="1"/>
        </p:nvSpPr>
        <p:spPr>
          <a:xfrm>
            <a:off x="658302" y="1708486"/>
            <a:ext cx="7136801" cy="4268241"/>
          </a:xfrm>
          <a:prstGeom prst="roundRect">
            <a:avLst>
              <a:gd name="adj" fmla="val 3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 name="Title 1"/>
          <p:cNvSpPr>
            <a:spLocks noGrp="1"/>
          </p:cNvSpPr>
          <p:nvPr>
            <p:ph type="title"/>
          </p:nvPr>
        </p:nvSpPr>
        <p:spPr>
          <a:xfrm>
            <a:off x="502652" y="533569"/>
            <a:ext cx="11133221" cy="584775"/>
          </a:xfrm>
          <a:noFill/>
        </p:spPr>
        <p:txBody>
          <a:bodyPr>
            <a:spAutoFit/>
          </a:bodyPr>
          <a:lstStyle>
            <a:lvl1pPr>
              <a:defRPr>
                <a:solidFill>
                  <a:schemeClr val="accent5"/>
                </a:solidFill>
              </a:defRPr>
            </a:lvl1pPr>
          </a:lstStyle>
          <a:p>
            <a:r>
              <a:rPr lang="nl-NL" noProof="0"/>
              <a:t>Klik om de stijl te bewerken</a:t>
            </a:r>
          </a:p>
        </p:txBody>
      </p:sp>
      <p:sp>
        <p:nvSpPr>
          <p:cNvPr id="13" name="Tekstvak 12"/>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Inhoud van twee</a:t>
            </a:r>
            <a:r>
              <a:rPr lang="nl-NL" sz="1600" b="1" baseline="0" noProof="0">
                <a:solidFill>
                  <a:schemeClr val="tx1"/>
                </a:solidFill>
              </a:rPr>
              <a:t> - paars</a:t>
            </a:r>
            <a:endParaRPr lang="nl-NL" sz="1600" b="1" noProof="0">
              <a:solidFill>
                <a:schemeClr val="tx1"/>
              </a:solidFill>
            </a:endParaRPr>
          </a:p>
        </p:txBody>
      </p:sp>
      <p:sp>
        <p:nvSpPr>
          <p:cNvPr id="46"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47" name="Content Placeholder 2"/>
          <p:cNvSpPr>
            <a:spLocks noGrp="1"/>
          </p:cNvSpPr>
          <p:nvPr>
            <p:ph sz="half" idx="1"/>
          </p:nvPr>
        </p:nvSpPr>
        <p:spPr>
          <a:xfrm>
            <a:off x="762066" y="1708486"/>
            <a:ext cx="6916300" cy="389718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48" name="Content Placeholder 3"/>
          <p:cNvSpPr>
            <a:spLocks noGrp="1"/>
          </p:cNvSpPr>
          <p:nvPr>
            <p:ph sz="half" idx="2"/>
          </p:nvPr>
        </p:nvSpPr>
        <p:spPr bwMode="gray">
          <a:xfrm>
            <a:off x="8130359" y="1708485"/>
            <a:ext cx="3387191" cy="307777"/>
          </a:xfrm>
        </p:spPr>
        <p:txBody>
          <a:bodyPr>
            <a:spAutoFit/>
          </a:bodyPr>
          <a:lstStyle>
            <a:lvl1pP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p:txBody>
      </p:sp>
      <p:sp>
        <p:nvSpPr>
          <p:cNvPr id="50" name="Content Placeholder 3"/>
          <p:cNvSpPr>
            <a:spLocks noGrp="1"/>
          </p:cNvSpPr>
          <p:nvPr>
            <p:ph sz="half" idx="15"/>
          </p:nvPr>
        </p:nvSpPr>
        <p:spPr bwMode="gray">
          <a:xfrm>
            <a:off x="8130359" y="2315817"/>
            <a:ext cx="3387191" cy="3766524"/>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grpSp>
        <p:nvGrpSpPr>
          <p:cNvPr id="72" name="Groep 71"/>
          <p:cNvGrpSpPr/>
          <p:nvPr userDrawn="1"/>
        </p:nvGrpSpPr>
        <p:grpSpPr>
          <a:xfrm>
            <a:off x="-3279573" y="5020705"/>
            <a:ext cx="3086613" cy="1841358"/>
            <a:chOff x="8427776" y="4654945"/>
            <a:chExt cx="2314960" cy="1841358"/>
          </a:xfrm>
        </p:grpSpPr>
        <p:grpSp>
          <p:nvGrpSpPr>
            <p:cNvPr id="73" name="Groep 72"/>
            <p:cNvGrpSpPr/>
            <p:nvPr userDrawn="1"/>
          </p:nvGrpSpPr>
          <p:grpSpPr>
            <a:xfrm>
              <a:off x="8432864" y="4781014"/>
              <a:ext cx="2309872" cy="1592662"/>
              <a:chOff x="-3092517" y="-83840"/>
              <a:chExt cx="3136706" cy="2509126"/>
            </a:xfrm>
          </p:grpSpPr>
          <p:sp>
            <p:nvSpPr>
              <p:cNvPr id="76"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7" name="Ovaal 76"/>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78" name="Ovaal 77"/>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79" name="Ovaal 78"/>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0"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1"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2"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3" name="Ovaal 82"/>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84" name="Ovaal 83"/>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85"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74" name="Rechte verbindingslijn 73"/>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Rechte verbindingslijn 74"/>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87"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88" name="Tijdelijke aanduiding voor tekst 46"/>
          <p:cNvSpPr>
            <a:spLocks noGrp="1"/>
          </p:cNvSpPr>
          <p:nvPr userDrawn="1">
            <p:ph type="body" sz="quarter" idx="14" hasCustomPrompt="1"/>
          </p:nvPr>
        </p:nvSpPr>
        <p:spPr>
          <a:xfrm>
            <a:off x="762066" y="5611213"/>
            <a:ext cx="6916300" cy="476671"/>
          </a:xfrm>
        </p:spPr>
        <p:txBody>
          <a:bodyPr/>
          <a:lstStyle>
            <a:lvl1pPr>
              <a:lnSpc>
                <a:spcPts val="1100"/>
              </a:lnSpc>
              <a:defRPr sz="1000" i="1">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Legenda</a:t>
            </a:r>
          </a:p>
        </p:txBody>
      </p:sp>
      <p:grpSp>
        <p:nvGrpSpPr>
          <p:cNvPr id="89" name="Groep 88"/>
          <p:cNvGrpSpPr/>
          <p:nvPr userDrawn="1"/>
        </p:nvGrpSpPr>
        <p:grpSpPr>
          <a:xfrm>
            <a:off x="-3471145" y="-46322"/>
            <a:ext cx="3471145" cy="3781320"/>
            <a:chOff x="-2603359" y="-46322"/>
            <a:chExt cx="2603359" cy="3781320"/>
          </a:xfrm>
        </p:grpSpPr>
        <p:sp>
          <p:nvSpPr>
            <p:cNvPr id="90" name="Afgeronde rechthoek 89"/>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91"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92"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93"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95" name="Afgeronde rechthoek 94"/>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96" name="Rechthoek 95"/>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97" name="Rechte verbindingslijn 96"/>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99"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0"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1"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2"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03"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04" name="Afgeronde rechthoek 103"/>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05"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6"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7"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08"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09"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40789215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en Object - vertical rood">
    <p:spTree>
      <p:nvGrpSpPr>
        <p:cNvPr id="1" name=""/>
        <p:cNvGrpSpPr/>
        <p:nvPr/>
      </p:nvGrpSpPr>
      <p:grpSpPr>
        <a:xfrm>
          <a:off x="0" y="0"/>
          <a:ext cx="0" cy="0"/>
          <a:chOff x="0" y="0"/>
          <a:chExt cx="0" cy="0"/>
        </a:xfrm>
      </p:grpSpPr>
      <p:grpSp>
        <p:nvGrpSpPr>
          <p:cNvPr id="8" name="Groep 7"/>
          <p:cNvGrpSpPr/>
          <p:nvPr userDrawn="1"/>
        </p:nvGrpSpPr>
        <p:grpSpPr bwMode="auto">
          <a:xfrm>
            <a:off x="647585" y="4134833"/>
            <a:ext cx="10966400" cy="1754352"/>
            <a:chOff x="647585" y="4134833"/>
            <a:chExt cx="10966400" cy="1754352"/>
          </a:xfrm>
        </p:grpSpPr>
        <p:sp>
          <p:nvSpPr>
            <p:cNvPr id="63" name="Vrije vorm: vorm 62"/>
            <p:cNvSpPr/>
            <p:nvPr userDrawn="1"/>
          </p:nvSpPr>
          <p:spPr bwMode="auto">
            <a:xfrm>
              <a:off x="647585" y="4134833"/>
              <a:ext cx="10966400" cy="1754352"/>
            </a:xfrm>
            <a:custGeom>
              <a:avLst/>
              <a:gdLst>
                <a:gd name="connsiteX0" fmla="*/ 10932276 w 10966243"/>
                <a:gd name="connsiteY0" fmla="*/ 82 h 1754352"/>
                <a:gd name="connsiteX1" fmla="*/ 10964118 w 10966243"/>
                <a:gd name="connsiteY1" fmla="*/ 66352 h 1754352"/>
                <a:gd name="connsiteX2" fmla="*/ 10966243 w 10966243"/>
                <a:gd name="connsiteY2" fmla="*/ 291957 h 1754352"/>
                <a:gd name="connsiteX3" fmla="*/ 10957407 w 10966243"/>
                <a:gd name="connsiteY3" fmla="*/ 231610 h 1754352"/>
                <a:gd name="connsiteX4" fmla="*/ 10852652 w 10966243"/>
                <a:gd name="connsiteY4" fmla="*/ 157307 h 1754352"/>
                <a:gd name="connsiteX5" fmla="*/ 10825124 w 10966243"/>
                <a:gd name="connsiteY5" fmla="*/ 157319 h 1754352"/>
                <a:gd name="connsiteX6" fmla="*/ 10878070 w 10966243"/>
                <a:gd name="connsiteY6" fmla="*/ 168008 h 1754352"/>
                <a:gd name="connsiteX7" fmla="*/ 10966243 w 10966243"/>
                <a:gd name="connsiteY7" fmla="*/ 301030 h 1754352"/>
                <a:gd name="connsiteX8" fmla="*/ 10966243 w 10966243"/>
                <a:gd name="connsiteY8" fmla="*/ 1609985 h 1754352"/>
                <a:gd name="connsiteX9" fmla="*/ 10821876 w 10966243"/>
                <a:gd name="connsiteY9" fmla="*/ 1754352 h 1754352"/>
                <a:gd name="connsiteX10" fmla="*/ 144367 w 10966243"/>
                <a:gd name="connsiteY10" fmla="*/ 1754352 h 1754352"/>
                <a:gd name="connsiteX11" fmla="*/ 0 w 10966243"/>
                <a:gd name="connsiteY11" fmla="*/ 1609985 h 1754352"/>
                <a:gd name="connsiteX12" fmla="*/ 0 w 10966243"/>
                <a:gd name="connsiteY12" fmla="*/ 301030 h 1754352"/>
                <a:gd name="connsiteX13" fmla="*/ 144367 w 10966243"/>
                <a:gd name="connsiteY13" fmla="*/ 156663 h 1754352"/>
                <a:gd name="connsiteX14" fmla="*/ 10672432 w 10966243"/>
                <a:gd name="connsiteY14" fmla="*/ 156663 h 1754352"/>
                <a:gd name="connsiteX15" fmla="*/ 10682171 w 10966243"/>
                <a:gd name="connsiteY15" fmla="*/ 155032 h 1754352"/>
                <a:gd name="connsiteX16" fmla="*/ 10788636 w 10966243"/>
                <a:gd name="connsiteY16" fmla="*/ 96513 h 1754352"/>
                <a:gd name="connsiteX17" fmla="*/ 10926380 w 10966243"/>
                <a:gd name="connsiteY17" fmla="*/ 377 h 1754352"/>
                <a:gd name="connsiteX18" fmla="*/ 10932276 w 10966243"/>
                <a:gd name="connsiteY18"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878070 w 10966243"/>
                <a:gd name="connsiteY5" fmla="*/ 168008 h 1754352"/>
                <a:gd name="connsiteX6" fmla="*/ 10966243 w 10966243"/>
                <a:gd name="connsiteY6" fmla="*/ 301030 h 1754352"/>
                <a:gd name="connsiteX7" fmla="*/ 10966243 w 10966243"/>
                <a:gd name="connsiteY7" fmla="*/ 1609985 h 1754352"/>
                <a:gd name="connsiteX8" fmla="*/ 10821876 w 10966243"/>
                <a:gd name="connsiteY8" fmla="*/ 1754352 h 1754352"/>
                <a:gd name="connsiteX9" fmla="*/ 144367 w 10966243"/>
                <a:gd name="connsiteY9" fmla="*/ 1754352 h 1754352"/>
                <a:gd name="connsiteX10" fmla="*/ 0 w 10966243"/>
                <a:gd name="connsiteY10" fmla="*/ 1609985 h 1754352"/>
                <a:gd name="connsiteX11" fmla="*/ 0 w 10966243"/>
                <a:gd name="connsiteY11" fmla="*/ 301030 h 1754352"/>
                <a:gd name="connsiteX12" fmla="*/ 144367 w 10966243"/>
                <a:gd name="connsiteY12" fmla="*/ 156663 h 1754352"/>
                <a:gd name="connsiteX13" fmla="*/ 10672432 w 10966243"/>
                <a:gd name="connsiteY13" fmla="*/ 156663 h 1754352"/>
                <a:gd name="connsiteX14" fmla="*/ 10682171 w 10966243"/>
                <a:gd name="connsiteY14" fmla="*/ 155032 h 1754352"/>
                <a:gd name="connsiteX15" fmla="*/ 10788636 w 10966243"/>
                <a:gd name="connsiteY15" fmla="*/ 96513 h 1754352"/>
                <a:gd name="connsiteX16" fmla="*/ 10926380 w 10966243"/>
                <a:gd name="connsiteY16" fmla="*/ 377 h 1754352"/>
                <a:gd name="connsiteX17" fmla="*/ 10932276 w 10966243"/>
                <a:gd name="connsiteY17"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966243 w 10966243"/>
                <a:gd name="connsiteY5" fmla="*/ 301030 h 1754352"/>
                <a:gd name="connsiteX6" fmla="*/ 10966243 w 10966243"/>
                <a:gd name="connsiteY6" fmla="*/ 1609985 h 1754352"/>
                <a:gd name="connsiteX7" fmla="*/ 10821876 w 10966243"/>
                <a:gd name="connsiteY7" fmla="*/ 1754352 h 1754352"/>
                <a:gd name="connsiteX8" fmla="*/ 144367 w 10966243"/>
                <a:gd name="connsiteY8" fmla="*/ 1754352 h 1754352"/>
                <a:gd name="connsiteX9" fmla="*/ 0 w 10966243"/>
                <a:gd name="connsiteY9" fmla="*/ 1609985 h 1754352"/>
                <a:gd name="connsiteX10" fmla="*/ 0 w 10966243"/>
                <a:gd name="connsiteY10" fmla="*/ 301030 h 1754352"/>
                <a:gd name="connsiteX11" fmla="*/ 144367 w 10966243"/>
                <a:gd name="connsiteY11" fmla="*/ 156663 h 1754352"/>
                <a:gd name="connsiteX12" fmla="*/ 10672432 w 10966243"/>
                <a:gd name="connsiteY12" fmla="*/ 156663 h 1754352"/>
                <a:gd name="connsiteX13" fmla="*/ 10682171 w 10966243"/>
                <a:gd name="connsiteY13" fmla="*/ 155032 h 1754352"/>
                <a:gd name="connsiteX14" fmla="*/ 10788636 w 10966243"/>
                <a:gd name="connsiteY14" fmla="*/ 96513 h 1754352"/>
                <a:gd name="connsiteX15" fmla="*/ 10926380 w 10966243"/>
                <a:gd name="connsiteY15" fmla="*/ 377 h 1754352"/>
                <a:gd name="connsiteX16" fmla="*/ 10932276 w 10966243"/>
                <a:gd name="connsiteY16"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25124 w 10966243"/>
                <a:gd name="connsiteY3" fmla="*/ 157319 h 1754352"/>
                <a:gd name="connsiteX4" fmla="*/ 10966243 w 10966243"/>
                <a:gd name="connsiteY4" fmla="*/ 301030 h 1754352"/>
                <a:gd name="connsiteX5" fmla="*/ 10966243 w 10966243"/>
                <a:gd name="connsiteY5" fmla="*/ 1609985 h 1754352"/>
                <a:gd name="connsiteX6" fmla="*/ 10821876 w 10966243"/>
                <a:gd name="connsiteY6" fmla="*/ 1754352 h 1754352"/>
                <a:gd name="connsiteX7" fmla="*/ 144367 w 10966243"/>
                <a:gd name="connsiteY7" fmla="*/ 1754352 h 1754352"/>
                <a:gd name="connsiteX8" fmla="*/ 0 w 10966243"/>
                <a:gd name="connsiteY8" fmla="*/ 1609985 h 1754352"/>
                <a:gd name="connsiteX9" fmla="*/ 0 w 10966243"/>
                <a:gd name="connsiteY9" fmla="*/ 301030 h 1754352"/>
                <a:gd name="connsiteX10" fmla="*/ 144367 w 10966243"/>
                <a:gd name="connsiteY10" fmla="*/ 156663 h 1754352"/>
                <a:gd name="connsiteX11" fmla="*/ 10672432 w 10966243"/>
                <a:gd name="connsiteY11" fmla="*/ 156663 h 1754352"/>
                <a:gd name="connsiteX12" fmla="*/ 10682171 w 10966243"/>
                <a:gd name="connsiteY12" fmla="*/ 155032 h 1754352"/>
                <a:gd name="connsiteX13" fmla="*/ 10788636 w 10966243"/>
                <a:gd name="connsiteY13" fmla="*/ 96513 h 1754352"/>
                <a:gd name="connsiteX14" fmla="*/ 10926380 w 10966243"/>
                <a:gd name="connsiteY14" fmla="*/ 377 h 1754352"/>
                <a:gd name="connsiteX15" fmla="*/ 10932276 w 10966243"/>
                <a:gd name="connsiteY15" fmla="*/ 82 h 1754352"/>
                <a:gd name="connsiteX0" fmla="*/ 10932276 w 10966400"/>
                <a:gd name="connsiteY0" fmla="*/ 82 h 1754352"/>
                <a:gd name="connsiteX1" fmla="*/ 10964118 w 10966400"/>
                <a:gd name="connsiteY1" fmla="*/ 66352 h 1754352"/>
                <a:gd name="connsiteX2" fmla="*/ 10966243 w 10966400"/>
                <a:gd name="connsiteY2" fmla="*/ 291957 h 1754352"/>
                <a:gd name="connsiteX3" fmla="*/ 10966243 w 10966400"/>
                <a:gd name="connsiteY3" fmla="*/ 301030 h 1754352"/>
                <a:gd name="connsiteX4" fmla="*/ 10966243 w 10966400"/>
                <a:gd name="connsiteY4" fmla="*/ 1609985 h 1754352"/>
                <a:gd name="connsiteX5" fmla="*/ 10821876 w 10966400"/>
                <a:gd name="connsiteY5" fmla="*/ 1754352 h 1754352"/>
                <a:gd name="connsiteX6" fmla="*/ 144367 w 10966400"/>
                <a:gd name="connsiteY6" fmla="*/ 1754352 h 1754352"/>
                <a:gd name="connsiteX7" fmla="*/ 0 w 10966400"/>
                <a:gd name="connsiteY7" fmla="*/ 1609985 h 1754352"/>
                <a:gd name="connsiteX8" fmla="*/ 0 w 10966400"/>
                <a:gd name="connsiteY8" fmla="*/ 301030 h 1754352"/>
                <a:gd name="connsiteX9" fmla="*/ 144367 w 10966400"/>
                <a:gd name="connsiteY9" fmla="*/ 156663 h 1754352"/>
                <a:gd name="connsiteX10" fmla="*/ 10672432 w 10966400"/>
                <a:gd name="connsiteY10" fmla="*/ 156663 h 1754352"/>
                <a:gd name="connsiteX11" fmla="*/ 10682171 w 10966400"/>
                <a:gd name="connsiteY11" fmla="*/ 155032 h 1754352"/>
                <a:gd name="connsiteX12" fmla="*/ 10788636 w 10966400"/>
                <a:gd name="connsiteY12" fmla="*/ 96513 h 1754352"/>
                <a:gd name="connsiteX13" fmla="*/ 10926380 w 10966400"/>
                <a:gd name="connsiteY13" fmla="*/ 377 h 1754352"/>
                <a:gd name="connsiteX14" fmla="*/ 10932276 w 10966400"/>
                <a:gd name="connsiteY14" fmla="*/ 82 h 175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966400" h="1754352">
                  <a:moveTo>
                    <a:pt x="10932276" y="82"/>
                  </a:moveTo>
                  <a:cubicBezTo>
                    <a:pt x="10942890" y="966"/>
                    <a:pt x="10964118" y="9802"/>
                    <a:pt x="10964118" y="66352"/>
                  </a:cubicBezTo>
                  <a:cubicBezTo>
                    <a:pt x="10965513" y="135374"/>
                    <a:pt x="10964848" y="222936"/>
                    <a:pt x="10966243" y="291957"/>
                  </a:cubicBezTo>
                  <a:cubicBezTo>
                    <a:pt x="10966597" y="331070"/>
                    <a:pt x="10966243" y="81359"/>
                    <a:pt x="10966243" y="301030"/>
                  </a:cubicBezTo>
                  <a:lnTo>
                    <a:pt x="10966243" y="1609985"/>
                  </a:lnTo>
                  <a:cubicBezTo>
                    <a:pt x="10966243" y="1689717"/>
                    <a:pt x="10901608" y="1754352"/>
                    <a:pt x="10821876" y="1754352"/>
                  </a:cubicBezTo>
                  <a:lnTo>
                    <a:pt x="144367" y="1754352"/>
                  </a:lnTo>
                  <a:cubicBezTo>
                    <a:pt x="64635" y="1754352"/>
                    <a:pt x="0" y="1689717"/>
                    <a:pt x="0" y="1609985"/>
                  </a:cubicBezTo>
                  <a:lnTo>
                    <a:pt x="0" y="301030"/>
                  </a:lnTo>
                  <a:cubicBezTo>
                    <a:pt x="0" y="221298"/>
                    <a:pt x="64635" y="156663"/>
                    <a:pt x="144367" y="156663"/>
                  </a:cubicBezTo>
                  <a:lnTo>
                    <a:pt x="10672432" y="156663"/>
                  </a:lnTo>
                  <a:lnTo>
                    <a:pt x="10682171" y="155032"/>
                  </a:lnTo>
                  <a:cubicBezTo>
                    <a:pt x="10708107" y="149840"/>
                    <a:pt x="10763164" y="134685"/>
                    <a:pt x="10788636" y="96513"/>
                  </a:cubicBezTo>
                  <a:cubicBezTo>
                    <a:pt x="10788636" y="96513"/>
                    <a:pt x="10871659" y="377"/>
                    <a:pt x="10926380" y="377"/>
                  </a:cubicBezTo>
                  <a:cubicBezTo>
                    <a:pt x="10926380" y="377"/>
                    <a:pt x="10928739" y="-212"/>
                    <a:pt x="10932276" y="82"/>
                  </a:cubicBezTo>
                  <a:close/>
                </a:path>
              </a:pathLst>
            </a:cu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 name="Rechthoek: afgeronde bovenhoeken 6"/>
            <p:cNvSpPr/>
            <p:nvPr userDrawn="1"/>
          </p:nvSpPr>
          <p:spPr bwMode="auto">
            <a:xfrm rot="16200000">
              <a:off x="1131983" y="3812742"/>
              <a:ext cx="1592046" cy="2560836"/>
            </a:xfrm>
            <a:prstGeom prst="round2SameRect">
              <a:avLst>
                <a:gd name="adj1" fmla="val 829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sp>
        <p:nvSpPr>
          <p:cNvPr id="2" name="Title 1"/>
          <p:cNvSpPr>
            <a:spLocks noGrp="1"/>
          </p:cNvSpPr>
          <p:nvPr>
            <p:ph type="title"/>
          </p:nvPr>
        </p:nvSpPr>
        <p:spPr>
          <a:xfrm>
            <a:off x="502652" y="533569"/>
            <a:ext cx="11133221" cy="584775"/>
          </a:xfrm>
        </p:spPr>
        <p:txBody>
          <a:bodyPr>
            <a:spAutoFit/>
          </a:bodyPr>
          <a:lstStyle>
            <a:lvl1pPr>
              <a:defRPr>
                <a:solidFill>
                  <a:schemeClr val="tx2"/>
                </a:solidFill>
              </a:defRPr>
            </a:lvl1pPr>
          </a:lstStyle>
          <a:p>
            <a:r>
              <a:rPr lang="nl-NL" noProof="0"/>
              <a:t>Klik om de stijl te bewerken</a:t>
            </a:r>
          </a:p>
        </p:txBody>
      </p:sp>
      <p:sp>
        <p:nvSpPr>
          <p:cNvPr id="3" name="Content Placeholder 2"/>
          <p:cNvSpPr>
            <a:spLocks noGrp="1"/>
          </p:cNvSpPr>
          <p:nvPr>
            <p:ph sz="half" idx="1"/>
          </p:nvPr>
        </p:nvSpPr>
        <p:spPr>
          <a:xfrm>
            <a:off x="502654" y="1708486"/>
            <a:ext cx="11133220" cy="569578"/>
          </a:xfrm>
        </p:spPr>
        <p:txBody>
          <a:bodyPr/>
          <a:lstStyle>
            <a:lvl1pPr>
              <a:spcBef>
                <a:spcPts val="0"/>
              </a:spcBef>
              <a:defRPr sz="1600" b="1">
                <a:solidFill>
                  <a:schemeClr val="tx1"/>
                </a:solidFill>
              </a:defRPr>
            </a:lvl1pPr>
          </a:lstStyle>
          <a:p>
            <a:pPr lvl="0"/>
            <a:r>
              <a:rPr lang="nl-NL" noProof="0"/>
              <a:t>Klik om de modelstijlen te bewerken</a:t>
            </a:r>
          </a:p>
        </p:txBody>
      </p:sp>
      <p:sp>
        <p:nvSpPr>
          <p:cNvPr id="5" name="Tijdelijke aanduiding voor tekst 4"/>
          <p:cNvSpPr>
            <a:spLocks noGrp="1"/>
          </p:cNvSpPr>
          <p:nvPr>
            <p:ph type="body" sz="quarter" idx="13"/>
          </p:nvPr>
        </p:nvSpPr>
        <p:spPr>
          <a:xfrm>
            <a:off x="501651" y="2278064"/>
            <a:ext cx="11133667" cy="1840103"/>
          </a:xfrm>
        </p:spPr>
        <p:txBody>
          <a:bodyPr/>
          <a:lstStyle>
            <a:lvl1pPr marL="171450" indent="-171450">
              <a:spcBef>
                <a:spcPts val="0"/>
              </a:spcBef>
              <a:buFont typeface="Arial" panose="020B0604020202020204" pitchFamily="34" charset="0"/>
              <a:buChar char="•"/>
              <a:defRPr sz="1200">
                <a:solidFill>
                  <a:schemeClr val="accent1"/>
                </a:solidFill>
              </a:defRPr>
            </a:lvl1pPr>
            <a:lvl2pPr>
              <a:spcBef>
                <a:spcPts val="0"/>
              </a:spcBef>
              <a:defRPr sz="1200">
                <a:solidFill>
                  <a:schemeClr val="accent1"/>
                </a:solidFill>
              </a:defRPr>
            </a:lvl2pPr>
            <a:lvl3pPr>
              <a:spcBef>
                <a:spcPts val="0"/>
              </a:spcBef>
              <a:defRPr sz="1200">
                <a:solidFill>
                  <a:schemeClr val="accent1"/>
                </a:solidFill>
              </a:defRPr>
            </a:lvl3pPr>
            <a:lvl4pPr>
              <a:spcBef>
                <a:spcPts val="0"/>
              </a:spcBef>
              <a:defRPr sz="1200">
                <a:solidFill>
                  <a:schemeClr val="accent1"/>
                </a:solidFill>
              </a:defRPr>
            </a:lvl4pPr>
            <a:lvl5pPr>
              <a:spcBef>
                <a:spcPts val="0"/>
              </a:spcBef>
              <a:defRPr sz="120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6" name="Tekstvak 55"/>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 verticaal rood</a:t>
            </a:r>
          </a:p>
        </p:txBody>
      </p:sp>
      <p:sp>
        <p:nvSpPr>
          <p:cNvPr id="58" name="Tijdelijke aanduiding voor tekst 99"/>
          <p:cNvSpPr>
            <a:spLocks noGrp="1"/>
          </p:cNvSpPr>
          <p:nvPr>
            <p:ph type="body" sz="quarter" idx="15" hasCustomPrompt="1"/>
          </p:nvPr>
        </p:nvSpPr>
        <p:spPr>
          <a:xfrm>
            <a:off x="501651" y="1134076"/>
            <a:ext cx="11133667" cy="355600"/>
          </a:xfrm>
        </p:spPr>
        <p:txBody>
          <a:bodyPr/>
          <a:lstStyle>
            <a:lvl1pPr>
              <a:defRPr/>
            </a:lvl1pPr>
          </a:lstStyle>
          <a:p>
            <a:pPr lvl="0"/>
            <a:r>
              <a:rPr lang="nl-NL" noProof="0"/>
              <a:t>Subtitel</a:t>
            </a:r>
          </a:p>
        </p:txBody>
      </p:sp>
      <p:grpSp>
        <p:nvGrpSpPr>
          <p:cNvPr id="80" name="Groep 79"/>
          <p:cNvGrpSpPr/>
          <p:nvPr userDrawn="1"/>
        </p:nvGrpSpPr>
        <p:grpSpPr>
          <a:xfrm>
            <a:off x="-3279573" y="5020705"/>
            <a:ext cx="3086613" cy="1841358"/>
            <a:chOff x="8427776" y="4654945"/>
            <a:chExt cx="2314960" cy="1841358"/>
          </a:xfrm>
        </p:grpSpPr>
        <p:grpSp>
          <p:nvGrpSpPr>
            <p:cNvPr id="81" name="Groep 80"/>
            <p:cNvGrpSpPr/>
            <p:nvPr userDrawn="1"/>
          </p:nvGrpSpPr>
          <p:grpSpPr>
            <a:xfrm>
              <a:off x="8432864" y="4781014"/>
              <a:ext cx="2309872" cy="1592662"/>
              <a:chOff x="-3092517" y="-83840"/>
              <a:chExt cx="3136706" cy="2509126"/>
            </a:xfrm>
          </p:grpSpPr>
          <p:sp>
            <p:nvSpPr>
              <p:cNvPr id="8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5" name="Ovaal 8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6" name="Ovaal 8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7" name="Ovaal 8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9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91" name="Ovaal 9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92" name="Ovaal 9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9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82" name="Rechte verbindingslijn 8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Rechte verbindingslijn 8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9"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50"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101" name="Tijdelijke aanduiding voor tekst 42"/>
          <p:cNvSpPr>
            <a:spLocks noGrp="1"/>
          </p:cNvSpPr>
          <p:nvPr userDrawn="1">
            <p:ph type="body" sz="quarter" idx="14" hasCustomPrompt="1"/>
          </p:nvPr>
        </p:nvSpPr>
        <p:spPr>
          <a:xfrm>
            <a:off x="3443817" y="4500563"/>
            <a:ext cx="7871883" cy="1193800"/>
          </a:xfrm>
        </p:spPr>
        <p:txBody>
          <a:bodyPr/>
          <a:lstStyle>
            <a:lvl1pPr>
              <a:spcBef>
                <a:spcPts val="0"/>
              </a:spcBef>
              <a:defRPr baseline="0">
                <a:solidFill>
                  <a:schemeClr val="tx2"/>
                </a:solidFill>
              </a:defRPr>
            </a:lvl1pPr>
            <a:lvl2pPr>
              <a:spcBef>
                <a:spcPts val="0"/>
              </a:spcBef>
              <a:defRPr>
                <a:solidFill>
                  <a:schemeClr val="tx2"/>
                </a:solidFill>
              </a:defRPr>
            </a:lvl2pPr>
            <a:lvl3pPr>
              <a:spcBef>
                <a:spcPts val="0"/>
              </a:spcBef>
              <a:defRPr>
                <a:solidFill>
                  <a:schemeClr val="tx2"/>
                </a:solidFill>
              </a:defRPr>
            </a:lvl3pPr>
            <a:lvl4pPr>
              <a:spcBef>
                <a:spcPts val="0"/>
              </a:spcBef>
              <a:defRPr>
                <a:solidFill>
                  <a:schemeClr val="tx2"/>
                </a:solidFill>
              </a:defRPr>
            </a:lvl4pPr>
            <a:lvl5pPr>
              <a:spcBef>
                <a:spcPts val="0"/>
              </a:spcBef>
              <a:defRPr>
                <a:solidFill>
                  <a:schemeClr val="tx2"/>
                </a:solidFill>
              </a:defRPr>
            </a:lvl5pPr>
          </a:lstStyle>
          <a:p>
            <a:pPr lvl="0"/>
            <a:r>
              <a:rPr lang="nl-NL" noProof="0"/>
              <a:t>Deze vorm niet vergroten/verkleinen</a:t>
            </a:r>
          </a:p>
          <a:p>
            <a:pPr lvl="0"/>
            <a:r>
              <a:rPr lang="nl-NL" noProof="0"/>
              <a:t>Alleen verplaatsen mag (naar boven of beneden) </a:t>
            </a:r>
          </a:p>
        </p:txBody>
      </p:sp>
      <p:grpSp>
        <p:nvGrpSpPr>
          <p:cNvPr id="52" name="Groep 51"/>
          <p:cNvGrpSpPr/>
          <p:nvPr userDrawn="1"/>
        </p:nvGrpSpPr>
        <p:grpSpPr>
          <a:xfrm>
            <a:off x="-3471145"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5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55"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7"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102" name="Afgeronde rechthoek 10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103" name="Rechthoek 10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104" name="Rechte verbindingslijn 10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0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1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11" name="Afgeronde rechthoek 11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1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1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1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1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1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3612347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el en Object - verticaal cyaan">
    <p:spTree>
      <p:nvGrpSpPr>
        <p:cNvPr id="1" name=""/>
        <p:cNvGrpSpPr/>
        <p:nvPr/>
      </p:nvGrpSpPr>
      <p:grpSpPr>
        <a:xfrm>
          <a:off x="0" y="0"/>
          <a:ext cx="0" cy="0"/>
          <a:chOff x="0" y="0"/>
          <a:chExt cx="0" cy="0"/>
        </a:xfrm>
      </p:grpSpPr>
      <p:grpSp>
        <p:nvGrpSpPr>
          <p:cNvPr id="60" name="Groep 59"/>
          <p:cNvGrpSpPr/>
          <p:nvPr userDrawn="1"/>
        </p:nvGrpSpPr>
        <p:grpSpPr>
          <a:xfrm>
            <a:off x="647585" y="4134833"/>
            <a:ext cx="10966400" cy="1754352"/>
            <a:chOff x="647585" y="4134833"/>
            <a:chExt cx="10966400" cy="1754352"/>
          </a:xfrm>
        </p:grpSpPr>
        <p:sp>
          <p:nvSpPr>
            <p:cNvPr id="61" name="Vrije vorm: vorm 60"/>
            <p:cNvSpPr/>
            <p:nvPr userDrawn="1"/>
          </p:nvSpPr>
          <p:spPr>
            <a:xfrm>
              <a:off x="647585" y="4134833"/>
              <a:ext cx="10966400" cy="1754352"/>
            </a:xfrm>
            <a:custGeom>
              <a:avLst/>
              <a:gdLst>
                <a:gd name="connsiteX0" fmla="*/ 10932276 w 10966243"/>
                <a:gd name="connsiteY0" fmla="*/ 82 h 1754352"/>
                <a:gd name="connsiteX1" fmla="*/ 10964118 w 10966243"/>
                <a:gd name="connsiteY1" fmla="*/ 66352 h 1754352"/>
                <a:gd name="connsiteX2" fmla="*/ 10966243 w 10966243"/>
                <a:gd name="connsiteY2" fmla="*/ 291957 h 1754352"/>
                <a:gd name="connsiteX3" fmla="*/ 10957407 w 10966243"/>
                <a:gd name="connsiteY3" fmla="*/ 231610 h 1754352"/>
                <a:gd name="connsiteX4" fmla="*/ 10852652 w 10966243"/>
                <a:gd name="connsiteY4" fmla="*/ 157307 h 1754352"/>
                <a:gd name="connsiteX5" fmla="*/ 10825124 w 10966243"/>
                <a:gd name="connsiteY5" fmla="*/ 157319 h 1754352"/>
                <a:gd name="connsiteX6" fmla="*/ 10878070 w 10966243"/>
                <a:gd name="connsiteY6" fmla="*/ 168008 h 1754352"/>
                <a:gd name="connsiteX7" fmla="*/ 10966243 w 10966243"/>
                <a:gd name="connsiteY7" fmla="*/ 301030 h 1754352"/>
                <a:gd name="connsiteX8" fmla="*/ 10966243 w 10966243"/>
                <a:gd name="connsiteY8" fmla="*/ 1609985 h 1754352"/>
                <a:gd name="connsiteX9" fmla="*/ 10821876 w 10966243"/>
                <a:gd name="connsiteY9" fmla="*/ 1754352 h 1754352"/>
                <a:gd name="connsiteX10" fmla="*/ 144367 w 10966243"/>
                <a:gd name="connsiteY10" fmla="*/ 1754352 h 1754352"/>
                <a:gd name="connsiteX11" fmla="*/ 0 w 10966243"/>
                <a:gd name="connsiteY11" fmla="*/ 1609985 h 1754352"/>
                <a:gd name="connsiteX12" fmla="*/ 0 w 10966243"/>
                <a:gd name="connsiteY12" fmla="*/ 301030 h 1754352"/>
                <a:gd name="connsiteX13" fmla="*/ 144367 w 10966243"/>
                <a:gd name="connsiteY13" fmla="*/ 156663 h 1754352"/>
                <a:gd name="connsiteX14" fmla="*/ 10672432 w 10966243"/>
                <a:gd name="connsiteY14" fmla="*/ 156663 h 1754352"/>
                <a:gd name="connsiteX15" fmla="*/ 10682171 w 10966243"/>
                <a:gd name="connsiteY15" fmla="*/ 155032 h 1754352"/>
                <a:gd name="connsiteX16" fmla="*/ 10788636 w 10966243"/>
                <a:gd name="connsiteY16" fmla="*/ 96513 h 1754352"/>
                <a:gd name="connsiteX17" fmla="*/ 10926380 w 10966243"/>
                <a:gd name="connsiteY17" fmla="*/ 377 h 1754352"/>
                <a:gd name="connsiteX18" fmla="*/ 10932276 w 10966243"/>
                <a:gd name="connsiteY18"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878070 w 10966243"/>
                <a:gd name="connsiteY5" fmla="*/ 168008 h 1754352"/>
                <a:gd name="connsiteX6" fmla="*/ 10966243 w 10966243"/>
                <a:gd name="connsiteY6" fmla="*/ 301030 h 1754352"/>
                <a:gd name="connsiteX7" fmla="*/ 10966243 w 10966243"/>
                <a:gd name="connsiteY7" fmla="*/ 1609985 h 1754352"/>
                <a:gd name="connsiteX8" fmla="*/ 10821876 w 10966243"/>
                <a:gd name="connsiteY8" fmla="*/ 1754352 h 1754352"/>
                <a:gd name="connsiteX9" fmla="*/ 144367 w 10966243"/>
                <a:gd name="connsiteY9" fmla="*/ 1754352 h 1754352"/>
                <a:gd name="connsiteX10" fmla="*/ 0 w 10966243"/>
                <a:gd name="connsiteY10" fmla="*/ 1609985 h 1754352"/>
                <a:gd name="connsiteX11" fmla="*/ 0 w 10966243"/>
                <a:gd name="connsiteY11" fmla="*/ 301030 h 1754352"/>
                <a:gd name="connsiteX12" fmla="*/ 144367 w 10966243"/>
                <a:gd name="connsiteY12" fmla="*/ 156663 h 1754352"/>
                <a:gd name="connsiteX13" fmla="*/ 10672432 w 10966243"/>
                <a:gd name="connsiteY13" fmla="*/ 156663 h 1754352"/>
                <a:gd name="connsiteX14" fmla="*/ 10682171 w 10966243"/>
                <a:gd name="connsiteY14" fmla="*/ 155032 h 1754352"/>
                <a:gd name="connsiteX15" fmla="*/ 10788636 w 10966243"/>
                <a:gd name="connsiteY15" fmla="*/ 96513 h 1754352"/>
                <a:gd name="connsiteX16" fmla="*/ 10926380 w 10966243"/>
                <a:gd name="connsiteY16" fmla="*/ 377 h 1754352"/>
                <a:gd name="connsiteX17" fmla="*/ 10932276 w 10966243"/>
                <a:gd name="connsiteY17"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966243 w 10966243"/>
                <a:gd name="connsiteY5" fmla="*/ 301030 h 1754352"/>
                <a:gd name="connsiteX6" fmla="*/ 10966243 w 10966243"/>
                <a:gd name="connsiteY6" fmla="*/ 1609985 h 1754352"/>
                <a:gd name="connsiteX7" fmla="*/ 10821876 w 10966243"/>
                <a:gd name="connsiteY7" fmla="*/ 1754352 h 1754352"/>
                <a:gd name="connsiteX8" fmla="*/ 144367 w 10966243"/>
                <a:gd name="connsiteY8" fmla="*/ 1754352 h 1754352"/>
                <a:gd name="connsiteX9" fmla="*/ 0 w 10966243"/>
                <a:gd name="connsiteY9" fmla="*/ 1609985 h 1754352"/>
                <a:gd name="connsiteX10" fmla="*/ 0 w 10966243"/>
                <a:gd name="connsiteY10" fmla="*/ 301030 h 1754352"/>
                <a:gd name="connsiteX11" fmla="*/ 144367 w 10966243"/>
                <a:gd name="connsiteY11" fmla="*/ 156663 h 1754352"/>
                <a:gd name="connsiteX12" fmla="*/ 10672432 w 10966243"/>
                <a:gd name="connsiteY12" fmla="*/ 156663 h 1754352"/>
                <a:gd name="connsiteX13" fmla="*/ 10682171 w 10966243"/>
                <a:gd name="connsiteY13" fmla="*/ 155032 h 1754352"/>
                <a:gd name="connsiteX14" fmla="*/ 10788636 w 10966243"/>
                <a:gd name="connsiteY14" fmla="*/ 96513 h 1754352"/>
                <a:gd name="connsiteX15" fmla="*/ 10926380 w 10966243"/>
                <a:gd name="connsiteY15" fmla="*/ 377 h 1754352"/>
                <a:gd name="connsiteX16" fmla="*/ 10932276 w 10966243"/>
                <a:gd name="connsiteY16"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25124 w 10966243"/>
                <a:gd name="connsiteY3" fmla="*/ 157319 h 1754352"/>
                <a:gd name="connsiteX4" fmla="*/ 10966243 w 10966243"/>
                <a:gd name="connsiteY4" fmla="*/ 301030 h 1754352"/>
                <a:gd name="connsiteX5" fmla="*/ 10966243 w 10966243"/>
                <a:gd name="connsiteY5" fmla="*/ 1609985 h 1754352"/>
                <a:gd name="connsiteX6" fmla="*/ 10821876 w 10966243"/>
                <a:gd name="connsiteY6" fmla="*/ 1754352 h 1754352"/>
                <a:gd name="connsiteX7" fmla="*/ 144367 w 10966243"/>
                <a:gd name="connsiteY7" fmla="*/ 1754352 h 1754352"/>
                <a:gd name="connsiteX8" fmla="*/ 0 w 10966243"/>
                <a:gd name="connsiteY8" fmla="*/ 1609985 h 1754352"/>
                <a:gd name="connsiteX9" fmla="*/ 0 w 10966243"/>
                <a:gd name="connsiteY9" fmla="*/ 301030 h 1754352"/>
                <a:gd name="connsiteX10" fmla="*/ 144367 w 10966243"/>
                <a:gd name="connsiteY10" fmla="*/ 156663 h 1754352"/>
                <a:gd name="connsiteX11" fmla="*/ 10672432 w 10966243"/>
                <a:gd name="connsiteY11" fmla="*/ 156663 h 1754352"/>
                <a:gd name="connsiteX12" fmla="*/ 10682171 w 10966243"/>
                <a:gd name="connsiteY12" fmla="*/ 155032 h 1754352"/>
                <a:gd name="connsiteX13" fmla="*/ 10788636 w 10966243"/>
                <a:gd name="connsiteY13" fmla="*/ 96513 h 1754352"/>
                <a:gd name="connsiteX14" fmla="*/ 10926380 w 10966243"/>
                <a:gd name="connsiteY14" fmla="*/ 377 h 1754352"/>
                <a:gd name="connsiteX15" fmla="*/ 10932276 w 10966243"/>
                <a:gd name="connsiteY15" fmla="*/ 82 h 1754352"/>
                <a:gd name="connsiteX0" fmla="*/ 10932276 w 10966400"/>
                <a:gd name="connsiteY0" fmla="*/ 82 h 1754352"/>
                <a:gd name="connsiteX1" fmla="*/ 10964118 w 10966400"/>
                <a:gd name="connsiteY1" fmla="*/ 66352 h 1754352"/>
                <a:gd name="connsiteX2" fmla="*/ 10966243 w 10966400"/>
                <a:gd name="connsiteY2" fmla="*/ 291957 h 1754352"/>
                <a:gd name="connsiteX3" fmla="*/ 10966243 w 10966400"/>
                <a:gd name="connsiteY3" fmla="*/ 301030 h 1754352"/>
                <a:gd name="connsiteX4" fmla="*/ 10966243 w 10966400"/>
                <a:gd name="connsiteY4" fmla="*/ 1609985 h 1754352"/>
                <a:gd name="connsiteX5" fmla="*/ 10821876 w 10966400"/>
                <a:gd name="connsiteY5" fmla="*/ 1754352 h 1754352"/>
                <a:gd name="connsiteX6" fmla="*/ 144367 w 10966400"/>
                <a:gd name="connsiteY6" fmla="*/ 1754352 h 1754352"/>
                <a:gd name="connsiteX7" fmla="*/ 0 w 10966400"/>
                <a:gd name="connsiteY7" fmla="*/ 1609985 h 1754352"/>
                <a:gd name="connsiteX8" fmla="*/ 0 w 10966400"/>
                <a:gd name="connsiteY8" fmla="*/ 301030 h 1754352"/>
                <a:gd name="connsiteX9" fmla="*/ 144367 w 10966400"/>
                <a:gd name="connsiteY9" fmla="*/ 156663 h 1754352"/>
                <a:gd name="connsiteX10" fmla="*/ 10672432 w 10966400"/>
                <a:gd name="connsiteY10" fmla="*/ 156663 h 1754352"/>
                <a:gd name="connsiteX11" fmla="*/ 10682171 w 10966400"/>
                <a:gd name="connsiteY11" fmla="*/ 155032 h 1754352"/>
                <a:gd name="connsiteX12" fmla="*/ 10788636 w 10966400"/>
                <a:gd name="connsiteY12" fmla="*/ 96513 h 1754352"/>
                <a:gd name="connsiteX13" fmla="*/ 10926380 w 10966400"/>
                <a:gd name="connsiteY13" fmla="*/ 377 h 1754352"/>
                <a:gd name="connsiteX14" fmla="*/ 10932276 w 10966400"/>
                <a:gd name="connsiteY14" fmla="*/ 82 h 175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966400" h="1754352">
                  <a:moveTo>
                    <a:pt x="10932276" y="82"/>
                  </a:moveTo>
                  <a:cubicBezTo>
                    <a:pt x="10942890" y="966"/>
                    <a:pt x="10964118" y="9802"/>
                    <a:pt x="10964118" y="66352"/>
                  </a:cubicBezTo>
                  <a:cubicBezTo>
                    <a:pt x="10965513" y="135374"/>
                    <a:pt x="10964848" y="222936"/>
                    <a:pt x="10966243" y="291957"/>
                  </a:cubicBezTo>
                  <a:cubicBezTo>
                    <a:pt x="10966597" y="331070"/>
                    <a:pt x="10966243" y="81359"/>
                    <a:pt x="10966243" y="301030"/>
                  </a:cubicBezTo>
                  <a:lnTo>
                    <a:pt x="10966243" y="1609985"/>
                  </a:lnTo>
                  <a:cubicBezTo>
                    <a:pt x="10966243" y="1689717"/>
                    <a:pt x="10901608" y="1754352"/>
                    <a:pt x="10821876" y="1754352"/>
                  </a:cubicBezTo>
                  <a:lnTo>
                    <a:pt x="144367" y="1754352"/>
                  </a:lnTo>
                  <a:cubicBezTo>
                    <a:pt x="64635" y="1754352"/>
                    <a:pt x="0" y="1689717"/>
                    <a:pt x="0" y="1609985"/>
                  </a:cubicBezTo>
                  <a:lnTo>
                    <a:pt x="0" y="301030"/>
                  </a:lnTo>
                  <a:cubicBezTo>
                    <a:pt x="0" y="221298"/>
                    <a:pt x="64635" y="156663"/>
                    <a:pt x="144367" y="156663"/>
                  </a:cubicBezTo>
                  <a:lnTo>
                    <a:pt x="10672432" y="156663"/>
                  </a:lnTo>
                  <a:lnTo>
                    <a:pt x="10682171" y="155032"/>
                  </a:lnTo>
                  <a:cubicBezTo>
                    <a:pt x="10708107" y="149840"/>
                    <a:pt x="10763164" y="134685"/>
                    <a:pt x="10788636" y="96513"/>
                  </a:cubicBezTo>
                  <a:cubicBezTo>
                    <a:pt x="10788636" y="96513"/>
                    <a:pt x="10871659" y="377"/>
                    <a:pt x="10926380" y="377"/>
                  </a:cubicBezTo>
                  <a:cubicBezTo>
                    <a:pt x="10926380" y="377"/>
                    <a:pt x="10928739" y="-212"/>
                    <a:pt x="10932276" y="82"/>
                  </a:cubicBezTo>
                  <a:close/>
                </a:path>
              </a:pathLst>
            </a:cu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2" name="Rechthoek: afgeronde bovenhoeken 61"/>
            <p:cNvSpPr/>
            <p:nvPr userDrawn="1"/>
          </p:nvSpPr>
          <p:spPr>
            <a:xfrm rot="16200000">
              <a:off x="1131983" y="3812742"/>
              <a:ext cx="1592046" cy="2560836"/>
            </a:xfrm>
            <a:prstGeom prst="round2SameRect">
              <a:avLst>
                <a:gd name="adj1" fmla="val 8291"/>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sp>
        <p:nvSpPr>
          <p:cNvPr id="2" name="Title 1"/>
          <p:cNvSpPr>
            <a:spLocks noGrp="1"/>
          </p:cNvSpPr>
          <p:nvPr>
            <p:ph type="title"/>
          </p:nvPr>
        </p:nvSpPr>
        <p:spPr>
          <a:xfrm>
            <a:off x="502652" y="533569"/>
            <a:ext cx="11133221" cy="584775"/>
          </a:xfrm>
        </p:spPr>
        <p:txBody>
          <a:bodyPr>
            <a:spAutoFit/>
          </a:bodyPr>
          <a:lstStyle>
            <a:lvl1pPr>
              <a:defRPr>
                <a:solidFill>
                  <a:schemeClr val="accent6"/>
                </a:solidFill>
              </a:defRPr>
            </a:lvl1pPr>
          </a:lstStyle>
          <a:p>
            <a:r>
              <a:rPr lang="nl-NL" noProof="0"/>
              <a:t>Klik om de stijl te bewerken</a:t>
            </a:r>
          </a:p>
        </p:txBody>
      </p:sp>
      <p:sp>
        <p:nvSpPr>
          <p:cNvPr id="3" name="Content Placeholder 2"/>
          <p:cNvSpPr>
            <a:spLocks noGrp="1"/>
          </p:cNvSpPr>
          <p:nvPr>
            <p:ph sz="half" idx="1"/>
          </p:nvPr>
        </p:nvSpPr>
        <p:spPr>
          <a:xfrm>
            <a:off x="502654" y="1708486"/>
            <a:ext cx="11133220" cy="569578"/>
          </a:xfrm>
        </p:spPr>
        <p:txBody>
          <a:bodyPr/>
          <a:lstStyle>
            <a:lvl1pPr>
              <a:spcBef>
                <a:spcPts val="0"/>
              </a:spcBef>
              <a:defRPr sz="1600" b="1">
                <a:solidFill>
                  <a:schemeClr val="tx1"/>
                </a:solidFill>
              </a:defRPr>
            </a:lvl1pPr>
          </a:lstStyle>
          <a:p>
            <a:pPr lvl="0"/>
            <a:r>
              <a:rPr lang="nl-NL" noProof="0"/>
              <a:t>Klik om de modelstijlen te bewerken</a:t>
            </a:r>
          </a:p>
        </p:txBody>
      </p:sp>
      <p:sp>
        <p:nvSpPr>
          <p:cNvPr id="5" name="Tijdelijke aanduiding voor tekst 4"/>
          <p:cNvSpPr>
            <a:spLocks noGrp="1"/>
          </p:cNvSpPr>
          <p:nvPr>
            <p:ph type="body" sz="quarter" idx="13"/>
          </p:nvPr>
        </p:nvSpPr>
        <p:spPr>
          <a:xfrm>
            <a:off x="501651" y="2278064"/>
            <a:ext cx="11133667" cy="1840103"/>
          </a:xfrm>
        </p:spPr>
        <p:txBody>
          <a:bodyPr/>
          <a:lstStyle>
            <a:lvl1pPr marL="171450" indent="-171450">
              <a:spcBef>
                <a:spcPts val="0"/>
              </a:spcBef>
              <a:buFont typeface="Arial" panose="020B0604020202020204" pitchFamily="34" charset="0"/>
              <a:buChar char="•"/>
              <a:defRPr sz="1200">
                <a:solidFill>
                  <a:schemeClr val="accent1"/>
                </a:solidFill>
              </a:defRPr>
            </a:lvl1pPr>
            <a:lvl2pPr>
              <a:spcBef>
                <a:spcPts val="0"/>
              </a:spcBef>
              <a:defRPr sz="1200">
                <a:solidFill>
                  <a:schemeClr val="accent1"/>
                </a:solidFill>
              </a:defRPr>
            </a:lvl2pPr>
            <a:lvl3pPr>
              <a:spcBef>
                <a:spcPts val="0"/>
              </a:spcBef>
              <a:defRPr sz="1200">
                <a:solidFill>
                  <a:schemeClr val="accent1"/>
                </a:solidFill>
              </a:defRPr>
            </a:lvl3pPr>
            <a:lvl4pPr>
              <a:spcBef>
                <a:spcPts val="0"/>
              </a:spcBef>
              <a:defRPr sz="1200">
                <a:solidFill>
                  <a:schemeClr val="accent1"/>
                </a:solidFill>
              </a:defRPr>
            </a:lvl4pPr>
            <a:lvl5pPr>
              <a:spcBef>
                <a:spcPts val="0"/>
              </a:spcBef>
              <a:defRPr sz="120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6" name="Tekstvak 55"/>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 verticaal cyaan</a:t>
            </a:r>
          </a:p>
        </p:txBody>
      </p:sp>
      <p:sp>
        <p:nvSpPr>
          <p:cNvPr id="58" name="Tijdelijke aanduiding voor tekst 99"/>
          <p:cNvSpPr>
            <a:spLocks noGrp="1"/>
          </p:cNvSpPr>
          <p:nvPr>
            <p:ph type="body" sz="quarter" idx="15" hasCustomPrompt="1"/>
          </p:nvPr>
        </p:nvSpPr>
        <p:spPr>
          <a:xfrm>
            <a:off x="501651" y="1134076"/>
            <a:ext cx="11133667" cy="355600"/>
          </a:xfrm>
        </p:spPr>
        <p:txBody>
          <a:bodyPr/>
          <a:lstStyle>
            <a:lvl1pPr>
              <a:defRPr/>
            </a:lvl1pPr>
          </a:lstStyle>
          <a:p>
            <a:pPr lvl="0"/>
            <a:r>
              <a:rPr lang="nl-NL" noProof="0"/>
              <a:t>Subtitel</a:t>
            </a:r>
          </a:p>
        </p:txBody>
      </p:sp>
      <p:grpSp>
        <p:nvGrpSpPr>
          <p:cNvPr id="80" name="Groep 79"/>
          <p:cNvGrpSpPr/>
          <p:nvPr userDrawn="1"/>
        </p:nvGrpSpPr>
        <p:grpSpPr>
          <a:xfrm>
            <a:off x="-3279573" y="5020705"/>
            <a:ext cx="3086613" cy="1841358"/>
            <a:chOff x="8427776" y="4654945"/>
            <a:chExt cx="2314960" cy="1841358"/>
          </a:xfrm>
        </p:grpSpPr>
        <p:grpSp>
          <p:nvGrpSpPr>
            <p:cNvPr id="81" name="Groep 80"/>
            <p:cNvGrpSpPr/>
            <p:nvPr userDrawn="1"/>
          </p:nvGrpSpPr>
          <p:grpSpPr>
            <a:xfrm>
              <a:off x="8432864" y="4781014"/>
              <a:ext cx="2309872" cy="1592662"/>
              <a:chOff x="-3092517" y="-83840"/>
              <a:chExt cx="3136706" cy="2509126"/>
            </a:xfrm>
          </p:grpSpPr>
          <p:sp>
            <p:nvSpPr>
              <p:cNvPr id="8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5" name="Ovaal 8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6" name="Ovaal 8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7" name="Ovaal 8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9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91" name="Ovaal 9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92" name="Ovaal 9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9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82" name="Rechte verbindingslijn 8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Rechte verbindingslijn 8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9"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50"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101" name="Tijdelijke aanduiding voor tekst 42"/>
          <p:cNvSpPr>
            <a:spLocks noGrp="1"/>
          </p:cNvSpPr>
          <p:nvPr userDrawn="1">
            <p:ph type="body" sz="quarter" idx="14" hasCustomPrompt="1"/>
          </p:nvPr>
        </p:nvSpPr>
        <p:spPr>
          <a:xfrm>
            <a:off x="3443817" y="4500563"/>
            <a:ext cx="7871883" cy="1193800"/>
          </a:xfrm>
        </p:spPr>
        <p:txBody>
          <a:bodyPr/>
          <a:lstStyle>
            <a:lvl1pPr>
              <a:spcBef>
                <a:spcPts val="0"/>
              </a:spcBef>
              <a:defRPr baseline="0">
                <a:solidFill>
                  <a:schemeClr val="accent6"/>
                </a:solidFill>
              </a:defRPr>
            </a:lvl1pPr>
            <a:lvl2pPr>
              <a:spcBef>
                <a:spcPts val="0"/>
              </a:spcBef>
              <a:defRPr>
                <a:solidFill>
                  <a:schemeClr val="tx2"/>
                </a:solidFill>
              </a:defRPr>
            </a:lvl2pPr>
            <a:lvl3pPr>
              <a:spcBef>
                <a:spcPts val="0"/>
              </a:spcBef>
              <a:defRPr>
                <a:solidFill>
                  <a:schemeClr val="tx2"/>
                </a:solidFill>
              </a:defRPr>
            </a:lvl3pPr>
            <a:lvl4pPr>
              <a:spcBef>
                <a:spcPts val="0"/>
              </a:spcBef>
              <a:defRPr>
                <a:solidFill>
                  <a:schemeClr val="tx2"/>
                </a:solidFill>
              </a:defRPr>
            </a:lvl4pPr>
            <a:lvl5pPr>
              <a:spcBef>
                <a:spcPts val="0"/>
              </a:spcBef>
              <a:defRPr>
                <a:solidFill>
                  <a:schemeClr val="tx2"/>
                </a:solidFill>
              </a:defRPr>
            </a:lvl5pPr>
          </a:lstStyle>
          <a:p>
            <a:pPr lvl="0"/>
            <a:r>
              <a:rPr lang="nl-NL" noProof="0"/>
              <a:t>Deze vorm niet vergroten/verkleinen</a:t>
            </a:r>
          </a:p>
          <a:p>
            <a:pPr lvl="0"/>
            <a:r>
              <a:rPr lang="nl-NL" noProof="0"/>
              <a:t>Alleen verplaatsen mag (naar boven of beneden) </a:t>
            </a:r>
          </a:p>
        </p:txBody>
      </p:sp>
      <p:grpSp>
        <p:nvGrpSpPr>
          <p:cNvPr id="52" name="Groep 51"/>
          <p:cNvGrpSpPr/>
          <p:nvPr userDrawn="1"/>
        </p:nvGrpSpPr>
        <p:grpSpPr>
          <a:xfrm>
            <a:off x="-3471145"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5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55"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7"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102" name="Afgeronde rechthoek 10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103" name="Rechthoek 10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104" name="Rechte verbindingslijn 10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0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1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11" name="Afgeronde rechthoek 11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1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1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1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1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1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21363457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el en Object - verticaal oranje">
    <p:spTree>
      <p:nvGrpSpPr>
        <p:cNvPr id="1" name=""/>
        <p:cNvGrpSpPr/>
        <p:nvPr/>
      </p:nvGrpSpPr>
      <p:grpSpPr>
        <a:xfrm>
          <a:off x="0" y="0"/>
          <a:ext cx="0" cy="0"/>
          <a:chOff x="0" y="0"/>
          <a:chExt cx="0" cy="0"/>
        </a:xfrm>
      </p:grpSpPr>
      <p:grpSp>
        <p:nvGrpSpPr>
          <p:cNvPr id="59" name="Groep 58"/>
          <p:cNvGrpSpPr/>
          <p:nvPr userDrawn="1"/>
        </p:nvGrpSpPr>
        <p:grpSpPr>
          <a:xfrm>
            <a:off x="647585" y="4134833"/>
            <a:ext cx="10966400" cy="1754352"/>
            <a:chOff x="647585" y="4134833"/>
            <a:chExt cx="10966400" cy="1754352"/>
          </a:xfrm>
        </p:grpSpPr>
        <p:sp>
          <p:nvSpPr>
            <p:cNvPr id="60" name="Vrije vorm: vorm 59"/>
            <p:cNvSpPr/>
            <p:nvPr userDrawn="1"/>
          </p:nvSpPr>
          <p:spPr>
            <a:xfrm>
              <a:off x="647585" y="4134833"/>
              <a:ext cx="10966400" cy="1754352"/>
            </a:xfrm>
            <a:custGeom>
              <a:avLst/>
              <a:gdLst>
                <a:gd name="connsiteX0" fmla="*/ 10932276 w 10966243"/>
                <a:gd name="connsiteY0" fmla="*/ 82 h 1754352"/>
                <a:gd name="connsiteX1" fmla="*/ 10964118 w 10966243"/>
                <a:gd name="connsiteY1" fmla="*/ 66352 h 1754352"/>
                <a:gd name="connsiteX2" fmla="*/ 10966243 w 10966243"/>
                <a:gd name="connsiteY2" fmla="*/ 291957 h 1754352"/>
                <a:gd name="connsiteX3" fmla="*/ 10957407 w 10966243"/>
                <a:gd name="connsiteY3" fmla="*/ 231610 h 1754352"/>
                <a:gd name="connsiteX4" fmla="*/ 10852652 w 10966243"/>
                <a:gd name="connsiteY4" fmla="*/ 157307 h 1754352"/>
                <a:gd name="connsiteX5" fmla="*/ 10825124 w 10966243"/>
                <a:gd name="connsiteY5" fmla="*/ 157319 h 1754352"/>
                <a:gd name="connsiteX6" fmla="*/ 10878070 w 10966243"/>
                <a:gd name="connsiteY6" fmla="*/ 168008 h 1754352"/>
                <a:gd name="connsiteX7" fmla="*/ 10966243 w 10966243"/>
                <a:gd name="connsiteY7" fmla="*/ 301030 h 1754352"/>
                <a:gd name="connsiteX8" fmla="*/ 10966243 w 10966243"/>
                <a:gd name="connsiteY8" fmla="*/ 1609985 h 1754352"/>
                <a:gd name="connsiteX9" fmla="*/ 10821876 w 10966243"/>
                <a:gd name="connsiteY9" fmla="*/ 1754352 h 1754352"/>
                <a:gd name="connsiteX10" fmla="*/ 144367 w 10966243"/>
                <a:gd name="connsiteY10" fmla="*/ 1754352 h 1754352"/>
                <a:gd name="connsiteX11" fmla="*/ 0 w 10966243"/>
                <a:gd name="connsiteY11" fmla="*/ 1609985 h 1754352"/>
                <a:gd name="connsiteX12" fmla="*/ 0 w 10966243"/>
                <a:gd name="connsiteY12" fmla="*/ 301030 h 1754352"/>
                <a:gd name="connsiteX13" fmla="*/ 144367 w 10966243"/>
                <a:gd name="connsiteY13" fmla="*/ 156663 h 1754352"/>
                <a:gd name="connsiteX14" fmla="*/ 10672432 w 10966243"/>
                <a:gd name="connsiteY14" fmla="*/ 156663 h 1754352"/>
                <a:gd name="connsiteX15" fmla="*/ 10682171 w 10966243"/>
                <a:gd name="connsiteY15" fmla="*/ 155032 h 1754352"/>
                <a:gd name="connsiteX16" fmla="*/ 10788636 w 10966243"/>
                <a:gd name="connsiteY16" fmla="*/ 96513 h 1754352"/>
                <a:gd name="connsiteX17" fmla="*/ 10926380 w 10966243"/>
                <a:gd name="connsiteY17" fmla="*/ 377 h 1754352"/>
                <a:gd name="connsiteX18" fmla="*/ 10932276 w 10966243"/>
                <a:gd name="connsiteY18"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878070 w 10966243"/>
                <a:gd name="connsiteY5" fmla="*/ 168008 h 1754352"/>
                <a:gd name="connsiteX6" fmla="*/ 10966243 w 10966243"/>
                <a:gd name="connsiteY6" fmla="*/ 301030 h 1754352"/>
                <a:gd name="connsiteX7" fmla="*/ 10966243 w 10966243"/>
                <a:gd name="connsiteY7" fmla="*/ 1609985 h 1754352"/>
                <a:gd name="connsiteX8" fmla="*/ 10821876 w 10966243"/>
                <a:gd name="connsiteY8" fmla="*/ 1754352 h 1754352"/>
                <a:gd name="connsiteX9" fmla="*/ 144367 w 10966243"/>
                <a:gd name="connsiteY9" fmla="*/ 1754352 h 1754352"/>
                <a:gd name="connsiteX10" fmla="*/ 0 w 10966243"/>
                <a:gd name="connsiteY10" fmla="*/ 1609985 h 1754352"/>
                <a:gd name="connsiteX11" fmla="*/ 0 w 10966243"/>
                <a:gd name="connsiteY11" fmla="*/ 301030 h 1754352"/>
                <a:gd name="connsiteX12" fmla="*/ 144367 w 10966243"/>
                <a:gd name="connsiteY12" fmla="*/ 156663 h 1754352"/>
                <a:gd name="connsiteX13" fmla="*/ 10672432 w 10966243"/>
                <a:gd name="connsiteY13" fmla="*/ 156663 h 1754352"/>
                <a:gd name="connsiteX14" fmla="*/ 10682171 w 10966243"/>
                <a:gd name="connsiteY14" fmla="*/ 155032 h 1754352"/>
                <a:gd name="connsiteX15" fmla="*/ 10788636 w 10966243"/>
                <a:gd name="connsiteY15" fmla="*/ 96513 h 1754352"/>
                <a:gd name="connsiteX16" fmla="*/ 10926380 w 10966243"/>
                <a:gd name="connsiteY16" fmla="*/ 377 h 1754352"/>
                <a:gd name="connsiteX17" fmla="*/ 10932276 w 10966243"/>
                <a:gd name="connsiteY17"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966243 w 10966243"/>
                <a:gd name="connsiteY5" fmla="*/ 301030 h 1754352"/>
                <a:gd name="connsiteX6" fmla="*/ 10966243 w 10966243"/>
                <a:gd name="connsiteY6" fmla="*/ 1609985 h 1754352"/>
                <a:gd name="connsiteX7" fmla="*/ 10821876 w 10966243"/>
                <a:gd name="connsiteY7" fmla="*/ 1754352 h 1754352"/>
                <a:gd name="connsiteX8" fmla="*/ 144367 w 10966243"/>
                <a:gd name="connsiteY8" fmla="*/ 1754352 h 1754352"/>
                <a:gd name="connsiteX9" fmla="*/ 0 w 10966243"/>
                <a:gd name="connsiteY9" fmla="*/ 1609985 h 1754352"/>
                <a:gd name="connsiteX10" fmla="*/ 0 w 10966243"/>
                <a:gd name="connsiteY10" fmla="*/ 301030 h 1754352"/>
                <a:gd name="connsiteX11" fmla="*/ 144367 w 10966243"/>
                <a:gd name="connsiteY11" fmla="*/ 156663 h 1754352"/>
                <a:gd name="connsiteX12" fmla="*/ 10672432 w 10966243"/>
                <a:gd name="connsiteY12" fmla="*/ 156663 h 1754352"/>
                <a:gd name="connsiteX13" fmla="*/ 10682171 w 10966243"/>
                <a:gd name="connsiteY13" fmla="*/ 155032 h 1754352"/>
                <a:gd name="connsiteX14" fmla="*/ 10788636 w 10966243"/>
                <a:gd name="connsiteY14" fmla="*/ 96513 h 1754352"/>
                <a:gd name="connsiteX15" fmla="*/ 10926380 w 10966243"/>
                <a:gd name="connsiteY15" fmla="*/ 377 h 1754352"/>
                <a:gd name="connsiteX16" fmla="*/ 10932276 w 10966243"/>
                <a:gd name="connsiteY16"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25124 w 10966243"/>
                <a:gd name="connsiteY3" fmla="*/ 157319 h 1754352"/>
                <a:gd name="connsiteX4" fmla="*/ 10966243 w 10966243"/>
                <a:gd name="connsiteY4" fmla="*/ 301030 h 1754352"/>
                <a:gd name="connsiteX5" fmla="*/ 10966243 w 10966243"/>
                <a:gd name="connsiteY5" fmla="*/ 1609985 h 1754352"/>
                <a:gd name="connsiteX6" fmla="*/ 10821876 w 10966243"/>
                <a:gd name="connsiteY6" fmla="*/ 1754352 h 1754352"/>
                <a:gd name="connsiteX7" fmla="*/ 144367 w 10966243"/>
                <a:gd name="connsiteY7" fmla="*/ 1754352 h 1754352"/>
                <a:gd name="connsiteX8" fmla="*/ 0 w 10966243"/>
                <a:gd name="connsiteY8" fmla="*/ 1609985 h 1754352"/>
                <a:gd name="connsiteX9" fmla="*/ 0 w 10966243"/>
                <a:gd name="connsiteY9" fmla="*/ 301030 h 1754352"/>
                <a:gd name="connsiteX10" fmla="*/ 144367 w 10966243"/>
                <a:gd name="connsiteY10" fmla="*/ 156663 h 1754352"/>
                <a:gd name="connsiteX11" fmla="*/ 10672432 w 10966243"/>
                <a:gd name="connsiteY11" fmla="*/ 156663 h 1754352"/>
                <a:gd name="connsiteX12" fmla="*/ 10682171 w 10966243"/>
                <a:gd name="connsiteY12" fmla="*/ 155032 h 1754352"/>
                <a:gd name="connsiteX13" fmla="*/ 10788636 w 10966243"/>
                <a:gd name="connsiteY13" fmla="*/ 96513 h 1754352"/>
                <a:gd name="connsiteX14" fmla="*/ 10926380 w 10966243"/>
                <a:gd name="connsiteY14" fmla="*/ 377 h 1754352"/>
                <a:gd name="connsiteX15" fmla="*/ 10932276 w 10966243"/>
                <a:gd name="connsiteY15" fmla="*/ 82 h 1754352"/>
                <a:gd name="connsiteX0" fmla="*/ 10932276 w 10966400"/>
                <a:gd name="connsiteY0" fmla="*/ 82 h 1754352"/>
                <a:gd name="connsiteX1" fmla="*/ 10964118 w 10966400"/>
                <a:gd name="connsiteY1" fmla="*/ 66352 h 1754352"/>
                <a:gd name="connsiteX2" fmla="*/ 10966243 w 10966400"/>
                <a:gd name="connsiteY2" fmla="*/ 291957 h 1754352"/>
                <a:gd name="connsiteX3" fmla="*/ 10966243 w 10966400"/>
                <a:gd name="connsiteY3" fmla="*/ 301030 h 1754352"/>
                <a:gd name="connsiteX4" fmla="*/ 10966243 w 10966400"/>
                <a:gd name="connsiteY4" fmla="*/ 1609985 h 1754352"/>
                <a:gd name="connsiteX5" fmla="*/ 10821876 w 10966400"/>
                <a:gd name="connsiteY5" fmla="*/ 1754352 h 1754352"/>
                <a:gd name="connsiteX6" fmla="*/ 144367 w 10966400"/>
                <a:gd name="connsiteY6" fmla="*/ 1754352 h 1754352"/>
                <a:gd name="connsiteX7" fmla="*/ 0 w 10966400"/>
                <a:gd name="connsiteY7" fmla="*/ 1609985 h 1754352"/>
                <a:gd name="connsiteX8" fmla="*/ 0 w 10966400"/>
                <a:gd name="connsiteY8" fmla="*/ 301030 h 1754352"/>
                <a:gd name="connsiteX9" fmla="*/ 144367 w 10966400"/>
                <a:gd name="connsiteY9" fmla="*/ 156663 h 1754352"/>
                <a:gd name="connsiteX10" fmla="*/ 10672432 w 10966400"/>
                <a:gd name="connsiteY10" fmla="*/ 156663 h 1754352"/>
                <a:gd name="connsiteX11" fmla="*/ 10682171 w 10966400"/>
                <a:gd name="connsiteY11" fmla="*/ 155032 h 1754352"/>
                <a:gd name="connsiteX12" fmla="*/ 10788636 w 10966400"/>
                <a:gd name="connsiteY12" fmla="*/ 96513 h 1754352"/>
                <a:gd name="connsiteX13" fmla="*/ 10926380 w 10966400"/>
                <a:gd name="connsiteY13" fmla="*/ 377 h 1754352"/>
                <a:gd name="connsiteX14" fmla="*/ 10932276 w 10966400"/>
                <a:gd name="connsiteY14" fmla="*/ 82 h 175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966400" h="1754352">
                  <a:moveTo>
                    <a:pt x="10932276" y="82"/>
                  </a:moveTo>
                  <a:cubicBezTo>
                    <a:pt x="10942890" y="966"/>
                    <a:pt x="10964118" y="9802"/>
                    <a:pt x="10964118" y="66352"/>
                  </a:cubicBezTo>
                  <a:cubicBezTo>
                    <a:pt x="10965513" y="135374"/>
                    <a:pt x="10964848" y="222936"/>
                    <a:pt x="10966243" y="291957"/>
                  </a:cubicBezTo>
                  <a:cubicBezTo>
                    <a:pt x="10966597" y="331070"/>
                    <a:pt x="10966243" y="81359"/>
                    <a:pt x="10966243" y="301030"/>
                  </a:cubicBezTo>
                  <a:lnTo>
                    <a:pt x="10966243" y="1609985"/>
                  </a:lnTo>
                  <a:cubicBezTo>
                    <a:pt x="10966243" y="1689717"/>
                    <a:pt x="10901608" y="1754352"/>
                    <a:pt x="10821876" y="1754352"/>
                  </a:cubicBezTo>
                  <a:lnTo>
                    <a:pt x="144367" y="1754352"/>
                  </a:lnTo>
                  <a:cubicBezTo>
                    <a:pt x="64635" y="1754352"/>
                    <a:pt x="0" y="1689717"/>
                    <a:pt x="0" y="1609985"/>
                  </a:cubicBezTo>
                  <a:lnTo>
                    <a:pt x="0" y="301030"/>
                  </a:lnTo>
                  <a:cubicBezTo>
                    <a:pt x="0" y="221298"/>
                    <a:pt x="64635" y="156663"/>
                    <a:pt x="144367" y="156663"/>
                  </a:cubicBezTo>
                  <a:lnTo>
                    <a:pt x="10672432" y="156663"/>
                  </a:lnTo>
                  <a:lnTo>
                    <a:pt x="10682171" y="155032"/>
                  </a:lnTo>
                  <a:cubicBezTo>
                    <a:pt x="10708107" y="149840"/>
                    <a:pt x="10763164" y="134685"/>
                    <a:pt x="10788636" y="96513"/>
                  </a:cubicBezTo>
                  <a:cubicBezTo>
                    <a:pt x="10788636" y="96513"/>
                    <a:pt x="10871659" y="377"/>
                    <a:pt x="10926380" y="377"/>
                  </a:cubicBezTo>
                  <a:cubicBezTo>
                    <a:pt x="10926380" y="377"/>
                    <a:pt x="10928739" y="-212"/>
                    <a:pt x="10932276" y="82"/>
                  </a:cubicBezTo>
                  <a:close/>
                </a:path>
              </a:pathLst>
            </a:cu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1" name="Rechthoek: afgeronde bovenhoeken 60"/>
            <p:cNvSpPr/>
            <p:nvPr userDrawn="1"/>
          </p:nvSpPr>
          <p:spPr>
            <a:xfrm rot="16200000">
              <a:off x="1131983" y="3812742"/>
              <a:ext cx="1592046" cy="2560836"/>
            </a:xfrm>
            <a:prstGeom prst="round2SameRect">
              <a:avLst>
                <a:gd name="adj1" fmla="val 8291"/>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sp>
        <p:nvSpPr>
          <p:cNvPr id="2" name="Title 1"/>
          <p:cNvSpPr>
            <a:spLocks noGrp="1"/>
          </p:cNvSpPr>
          <p:nvPr>
            <p:ph type="title"/>
          </p:nvPr>
        </p:nvSpPr>
        <p:spPr>
          <a:xfrm>
            <a:off x="502652" y="533569"/>
            <a:ext cx="11133221" cy="584775"/>
          </a:xfrm>
        </p:spPr>
        <p:txBody>
          <a:bodyPr>
            <a:spAutoFit/>
          </a:bodyPr>
          <a:lstStyle>
            <a:lvl1pPr>
              <a:defRPr>
                <a:solidFill>
                  <a:schemeClr val="accent2"/>
                </a:solidFill>
              </a:defRPr>
            </a:lvl1pPr>
          </a:lstStyle>
          <a:p>
            <a:r>
              <a:rPr lang="nl-NL" noProof="0"/>
              <a:t>Klik om de stijl te bewerken</a:t>
            </a:r>
          </a:p>
        </p:txBody>
      </p:sp>
      <p:sp>
        <p:nvSpPr>
          <p:cNvPr id="3" name="Content Placeholder 2"/>
          <p:cNvSpPr>
            <a:spLocks noGrp="1"/>
          </p:cNvSpPr>
          <p:nvPr>
            <p:ph sz="half" idx="1"/>
          </p:nvPr>
        </p:nvSpPr>
        <p:spPr>
          <a:xfrm>
            <a:off x="502654" y="1708486"/>
            <a:ext cx="11133220" cy="569578"/>
          </a:xfrm>
        </p:spPr>
        <p:txBody>
          <a:bodyPr/>
          <a:lstStyle>
            <a:lvl1pPr>
              <a:spcBef>
                <a:spcPts val="0"/>
              </a:spcBef>
              <a:defRPr sz="1600" b="1">
                <a:solidFill>
                  <a:schemeClr val="tx1"/>
                </a:solidFill>
              </a:defRPr>
            </a:lvl1pPr>
          </a:lstStyle>
          <a:p>
            <a:pPr lvl="0"/>
            <a:r>
              <a:rPr lang="nl-NL" noProof="0"/>
              <a:t>Klik om de modelstijlen te bewerken</a:t>
            </a:r>
          </a:p>
        </p:txBody>
      </p:sp>
      <p:sp>
        <p:nvSpPr>
          <p:cNvPr id="5" name="Tijdelijke aanduiding voor tekst 4"/>
          <p:cNvSpPr>
            <a:spLocks noGrp="1"/>
          </p:cNvSpPr>
          <p:nvPr>
            <p:ph type="body" sz="quarter" idx="13"/>
          </p:nvPr>
        </p:nvSpPr>
        <p:spPr>
          <a:xfrm>
            <a:off x="501651" y="2278064"/>
            <a:ext cx="11133667" cy="1840103"/>
          </a:xfrm>
        </p:spPr>
        <p:txBody>
          <a:bodyPr/>
          <a:lstStyle>
            <a:lvl1pPr marL="171450" indent="-171450">
              <a:spcBef>
                <a:spcPts val="0"/>
              </a:spcBef>
              <a:buFont typeface="Arial" panose="020B0604020202020204" pitchFamily="34" charset="0"/>
              <a:buChar char="•"/>
              <a:defRPr sz="1200">
                <a:solidFill>
                  <a:schemeClr val="accent1"/>
                </a:solidFill>
              </a:defRPr>
            </a:lvl1pPr>
            <a:lvl2pPr>
              <a:spcBef>
                <a:spcPts val="0"/>
              </a:spcBef>
              <a:defRPr sz="1200">
                <a:solidFill>
                  <a:schemeClr val="accent1"/>
                </a:solidFill>
              </a:defRPr>
            </a:lvl2pPr>
            <a:lvl3pPr>
              <a:spcBef>
                <a:spcPts val="0"/>
              </a:spcBef>
              <a:defRPr sz="1200">
                <a:solidFill>
                  <a:schemeClr val="accent1"/>
                </a:solidFill>
              </a:defRPr>
            </a:lvl3pPr>
            <a:lvl4pPr>
              <a:spcBef>
                <a:spcPts val="0"/>
              </a:spcBef>
              <a:defRPr sz="1200">
                <a:solidFill>
                  <a:schemeClr val="accent1"/>
                </a:solidFill>
              </a:defRPr>
            </a:lvl4pPr>
            <a:lvl5pPr>
              <a:spcBef>
                <a:spcPts val="0"/>
              </a:spcBef>
              <a:defRPr sz="120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6" name="Tekstvak 55"/>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 verticaal oranje</a:t>
            </a:r>
          </a:p>
        </p:txBody>
      </p:sp>
      <p:sp>
        <p:nvSpPr>
          <p:cNvPr id="58" name="Tijdelijke aanduiding voor tekst 99"/>
          <p:cNvSpPr>
            <a:spLocks noGrp="1"/>
          </p:cNvSpPr>
          <p:nvPr>
            <p:ph type="body" sz="quarter" idx="15" hasCustomPrompt="1"/>
          </p:nvPr>
        </p:nvSpPr>
        <p:spPr>
          <a:xfrm>
            <a:off x="501651" y="1134076"/>
            <a:ext cx="11133667" cy="355600"/>
          </a:xfrm>
        </p:spPr>
        <p:txBody>
          <a:bodyPr/>
          <a:lstStyle>
            <a:lvl1pPr>
              <a:defRPr/>
            </a:lvl1pPr>
          </a:lstStyle>
          <a:p>
            <a:pPr lvl="0"/>
            <a:r>
              <a:rPr lang="nl-NL" noProof="0"/>
              <a:t>Subtitel</a:t>
            </a:r>
          </a:p>
        </p:txBody>
      </p:sp>
      <p:grpSp>
        <p:nvGrpSpPr>
          <p:cNvPr id="80" name="Groep 79"/>
          <p:cNvGrpSpPr/>
          <p:nvPr userDrawn="1"/>
        </p:nvGrpSpPr>
        <p:grpSpPr>
          <a:xfrm>
            <a:off x="-3279573" y="5020705"/>
            <a:ext cx="3086613" cy="1841358"/>
            <a:chOff x="8427776" y="4654945"/>
            <a:chExt cx="2314960" cy="1841358"/>
          </a:xfrm>
        </p:grpSpPr>
        <p:grpSp>
          <p:nvGrpSpPr>
            <p:cNvPr id="81" name="Groep 80"/>
            <p:cNvGrpSpPr/>
            <p:nvPr userDrawn="1"/>
          </p:nvGrpSpPr>
          <p:grpSpPr>
            <a:xfrm>
              <a:off x="8432864" y="4781014"/>
              <a:ext cx="2309872" cy="1592662"/>
              <a:chOff x="-3092517" y="-83840"/>
              <a:chExt cx="3136706" cy="2509126"/>
            </a:xfrm>
          </p:grpSpPr>
          <p:sp>
            <p:nvSpPr>
              <p:cNvPr id="8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5" name="Ovaal 8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6" name="Ovaal 8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7" name="Ovaal 8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9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91" name="Ovaal 9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92" name="Ovaal 9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9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82" name="Rechte verbindingslijn 8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Rechte verbindingslijn 8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9"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50"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101" name="Tijdelijke aanduiding voor tekst 42"/>
          <p:cNvSpPr>
            <a:spLocks noGrp="1"/>
          </p:cNvSpPr>
          <p:nvPr userDrawn="1">
            <p:ph type="body" sz="quarter" idx="14" hasCustomPrompt="1"/>
          </p:nvPr>
        </p:nvSpPr>
        <p:spPr>
          <a:xfrm>
            <a:off x="3443817" y="4500563"/>
            <a:ext cx="7871883" cy="1193800"/>
          </a:xfrm>
        </p:spPr>
        <p:txBody>
          <a:bodyPr/>
          <a:lstStyle>
            <a:lvl1pPr>
              <a:spcBef>
                <a:spcPts val="0"/>
              </a:spcBef>
              <a:defRPr baseline="0">
                <a:solidFill>
                  <a:schemeClr val="accent2"/>
                </a:solidFill>
              </a:defRPr>
            </a:lvl1pPr>
            <a:lvl2pPr>
              <a:spcBef>
                <a:spcPts val="0"/>
              </a:spcBef>
              <a:defRPr>
                <a:solidFill>
                  <a:schemeClr val="tx2"/>
                </a:solidFill>
              </a:defRPr>
            </a:lvl2pPr>
            <a:lvl3pPr>
              <a:spcBef>
                <a:spcPts val="0"/>
              </a:spcBef>
              <a:defRPr>
                <a:solidFill>
                  <a:schemeClr val="tx2"/>
                </a:solidFill>
              </a:defRPr>
            </a:lvl3pPr>
            <a:lvl4pPr>
              <a:spcBef>
                <a:spcPts val="0"/>
              </a:spcBef>
              <a:defRPr>
                <a:solidFill>
                  <a:schemeClr val="tx2"/>
                </a:solidFill>
              </a:defRPr>
            </a:lvl4pPr>
            <a:lvl5pPr>
              <a:spcBef>
                <a:spcPts val="0"/>
              </a:spcBef>
              <a:defRPr>
                <a:solidFill>
                  <a:schemeClr val="tx2"/>
                </a:solidFill>
              </a:defRPr>
            </a:lvl5pPr>
          </a:lstStyle>
          <a:p>
            <a:pPr lvl="0"/>
            <a:r>
              <a:rPr lang="nl-NL" noProof="0"/>
              <a:t>Deze vorm niet vergroten/verkleinen</a:t>
            </a:r>
          </a:p>
          <a:p>
            <a:pPr lvl="0"/>
            <a:r>
              <a:rPr lang="nl-NL" noProof="0"/>
              <a:t>Alleen verplaatsen mag (naar boven of beneden) </a:t>
            </a:r>
          </a:p>
        </p:txBody>
      </p:sp>
      <p:grpSp>
        <p:nvGrpSpPr>
          <p:cNvPr id="52" name="Groep 51"/>
          <p:cNvGrpSpPr/>
          <p:nvPr userDrawn="1"/>
        </p:nvGrpSpPr>
        <p:grpSpPr>
          <a:xfrm>
            <a:off x="-3471145"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5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55"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7"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102" name="Afgeronde rechthoek 10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103" name="Rechthoek 10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104" name="Rechte verbindingslijn 10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0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1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11" name="Afgeronde rechthoek 11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1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1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1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1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1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10796840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el en Object - verticaal petrol blauw">
    <p:spTree>
      <p:nvGrpSpPr>
        <p:cNvPr id="1" name=""/>
        <p:cNvGrpSpPr/>
        <p:nvPr/>
      </p:nvGrpSpPr>
      <p:grpSpPr>
        <a:xfrm>
          <a:off x="0" y="0"/>
          <a:ext cx="0" cy="0"/>
          <a:chOff x="0" y="0"/>
          <a:chExt cx="0" cy="0"/>
        </a:xfrm>
      </p:grpSpPr>
      <p:grpSp>
        <p:nvGrpSpPr>
          <p:cNvPr id="59" name="Groep 58"/>
          <p:cNvGrpSpPr/>
          <p:nvPr userDrawn="1"/>
        </p:nvGrpSpPr>
        <p:grpSpPr>
          <a:xfrm>
            <a:off x="647585" y="4134833"/>
            <a:ext cx="10966400" cy="1754352"/>
            <a:chOff x="647585" y="4134833"/>
            <a:chExt cx="10966400" cy="1754352"/>
          </a:xfrm>
        </p:grpSpPr>
        <p:sp>
          <p:nvSpPr>
            <p:cNvPr id="60" name="Vrije vorm: vorm 59"/>
            <p:cNvSpPr/>
            <p:nvPr userDrawn="1"/>
          </p:nvSpPr>
          <p:spPr>
            <a:xfrm>
              <a:off x="647585" y="4134833"/>
              <a:ext cx="10966400" cy="1754352"/>
            </a:xfrm>
            <a:custGeom>
              <a:avLst/>
              <a:gdLst>
                <a:gd name="connsiteX0" fmla="*/ 10932276 w 10966243"/>
                <a:gd name="connsiteY0" fmla="*/ 82 h 1754352"/>
                <a:gd name="connsiteX1" fmla="*/ 10964118 w 10966243"/>
                <a:gd name="connsiteY1" fmla="*/ 66352 h 1754352"/>
                <a:gd name="connsiteX2" fmla="*/ 10966243 w 10966243"/>
                <a:gd name="connsiteY2" fmla="*/ 291957 h 1754352"/>
                <a:gd name="connsiteX3" fmla="*/ 10957407 w 10966243"/>
                <a:gd name="connsiteY3" fmla="*/ 231610 h 1754352"/>
                <a:gd name="connsiteX4" fmla="*/ 10852652 w 10966243"/>
                <a:gd name="connsiteY4" fmla="*/ 157307 h 1754352"/>
                <a:gd name="connsiteX5" fmla="*/ 10825124 w 10966243"/>
                <a:gd name="connsiteY5" fmla="*/ 157319 h 1754352"/>
                <a:gd name="connsiteX6" fmla="*/ 10878070 w 10966243"/>
                <a:gd name="connsiteY6" fmla="*/ 168008 h 1754352"/>
                <a:gd name="connsiteX7" fmla="*/ 10966243 w 10966243"/>
                <a:gd name="connsiteY7" fmla="*/ 301030 h 1754352"/>
                <a:gd name="connsiteX8" fmla="*/ 10966243 w 10966243"/>
                <a:gd name="connsiteY8" fmla="*/ 1609985 h 1754352"/>
                <a:gd name="connsiteX9" fmla="*/ 10821876 w 10966243"/>
                <a:gd name="connsiteY9" fmla="*/ 1754352 h 1754352"/>
                <a:gd name="connsiteX10" fmla="*/ 144367 w 10966243"/>
                <a:gd name="connsiteY10" fmla="*/ 1754352 h 1754352"/>
                <a:gd name="connsiteX11" fmla="*/ 0 w 10966243"/>
                <a:gd name="connsiteY11" fmla="*/ 1609985 h 1754352"/>
                <a:gd name="connsiteX12" fmla="*/ 0 w 10966243"/>
                <a:gd name="connsiteY12" fmla="*/ 301030 h 1754352"/>
                <a:gd name="connsiteX13" fmla="*/ 144367 w 10966243"/>
                <a:gd name="connsiteY13" fmla="*/ 156663 h 1754352"/>
                <a:gd name="connsiteX14" fmla="*/ 10672432 w 10966243"/>
                <a:gd name="connsiteY14" fmla="*/ 156663 h 1754352"/>
                <a:gd name="connsiteX15" fmla="*/ 10682171 w 10966243"/>
                <a:gd name="connsiteY15" fmla="*/ 155032 h 1754352"/>
                <a:gd name="connsiteX16" fmla="*/ 10788636 w 10966243"/>
                <a:gd name="connsiteY16" fmla="*/ 96513 h 1754352"/>
                <a:gd name="connsiteX17" fmla="*/ 10926380 w 10966243"/>
                <a:gd name="connsiteY17" fmla="*/ 377 h 1754352"/>
                <a:gd name="connsiteX18" fmla="*/ 10932276 w 10966243"/>
                <a:gd name="connsiteY18"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878070 w 10966243"/>
                <a:gd name="connsiteY5" fmla="*/ 168008 h 1754352"/>
                <a:gd name="connsiteX6" fmla="*/ 10966243 w 10966243"/>
                <a:gd name="connsiteY6" fmla="*/ 301030 h 1754352"/>
                <a:gd name="connsiteX7" fmla="*/ 10966243 w 10966243"/>
                <a:gd name="connsiteY7" fmla="*/ 1609985 h 1754352"/>
                <a:gd name="connsiteX8" fmla="*/ 10821876 w 10966243"/>
                <a:gd name="connsiteY8" fmla="*/ 1754352 h 1754352"/>
                <a:gd name="connsiteX9" fmla="*/ 144367 w 10966243"/>
                <a:gd name="connsiteY9" fmla="*/ 1754352 h 1754352"/>
                <a:gd name="connsiteX10" fmla="*/ 0 w 10966243"/>
                <a:gd name="connsiteY10" fmla="*/ 1609985 h 1754352"/>
                <a:gd name="connsiteX11" fmla="*/ 0 w 10966243"/>
                <a:gd name="connsiteY11" fmla="*/ 301030 h 1754352"/>
                <a:gd name="connsiteX12" fmla="*/ 144367 w 10966243"/>
                <a:gd name="connsiteY12" fmla="*/ 156663 h 1754352"/>
                <a:gd name="connsiteX13" fmla="*/ 10672432 w 10966243"/>
                <a:gd name="connsiteY13" fmla="*/ 156663 h 1754352"/>
                <a:gd name="connsiteX14" fmla="*/ 10682171 w 10966243"/>
                <a:gd name="connsiteY14" fmla="*/ 155032 h 1754352"/>
                <a:gd name="connsiteX15" fmla="*/ 10788636 w 10966243"/>
                <a:gd name="connsiteY15" fmla="*/ 96513 h 1754352"/>
                <a:gd name="connsiteX16" fmla="*/ 10926380 w 10966243"/>
                <a:gd name="connsiteY16" fmla="*/ 377 h 1754352"/>
                <a:gd name="connsiteX17" fmla="*/ 10932276 w 10966243"/>
                <a:gd name="connsiteY17"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966243 w 10966243"/>
                <a:gd name="connsiteY5" fmla="*/ 301030 h 1754352"/>
                <a:gd name="connsiteX6" fmla="*/ 10966243 w 10966243"/>
                <a:gd name="connsiteY6" fmla="*/ 1609985 h 1754352"/>
                <a:gd name="connsiteX7" fmla="*/ 10821876 w 10966243"/>
                <a:gd name="connsiteY7" fmla="*/ 1754352 h 1754352"/>
                <a:gd name="connsiteX8" fmla="*/ 144367 w 10966243"/>
                <a:gd name="connsiteY8" fmla="*/ 1754352 h 1754352"/>
                <a:gd name="connsiteX9" fmla="*/ 0 w 10966243"/>
                <a:gd name="connsiteY9" fmla="*/ 1609985 h 1754352"/>
                <a:gd name="connsiteX10" fmla="*/ 0 w 10966243"/>
                <a:gd name="connsiteY10" fmla="*/ 301030 h 1754352"/>
                <a:gd name="connsiteX11" fmla="*/ 144367 w 10966243"/>
                <a:gd name="connsiteY11" fmla="*/ 156663 h 1754352"/>
                <a:gd name="connsiteX12" fmla="*/ 10672432 w 10966243"/>
                <a:gd name="connsiteY12" fmla="*/ 156663 h 1754352"/>
                <a:gd name="connsiteX13" fmla="*/ 10682171 w 10966243"/>
                <a:gd name="connsiteY13" fmla="*/ 155032 h 1754352"/>
                <a:gd name="connsiteX14" fmla="*/ 10788636 w 10966243"/>
                <a:gd name="connsiteY14" fmla="*/ 96513 h 1754352"/>
                <a:gd name="connsiteX15" fmla="*/ 10926380 w 10966243"/>
                <a:gd name="connsiteY15" fmla="*/ 377 h 1754352"/>
                <a:gd name="connsiteX16" fmla="*/ 10932276 w 10966243"/>
                <a:gd name="connsiteY16"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25124 w 10966243"/>
                <a:gd name="connsiteY3" fmla="*/ 157319 h 1754352"/>
                <a:gd name="connsiteX4" fmla="*/ 10966243 w 10966243"/>
                <a:gd name="connsiteY4" fmla="*/ 301030 h 1754352"/>
                <a:gd name="connsiteX5" fmla="*/ 10966243 w 10966243"/>
                <a:gd name="connsiteY5" fmla="*/ 1609985 h 1754352"/>
                <a:gd name="connsiteX6" fmla="*/ 10821876 w 10966243"/>
                <a:gd name="connsiteY6" fmla="*/ 1754352 h 1754352"/>
                <a:gd name="connsiteX7" fmla="*/ 144367 w 10966243"/>
                <a:gd name="connsiteY7" fmla="*/ 1754352 h 1754352"/>
                <a:gd name="connsiteX8" fmla="*/ 0 w 10966243"/>
                <a:gd name="connsiteY8" fmla="*/ 1609985 h 1754352"/>
                <a:gd name="connsiteX9" fmla="*/ 0 w 10966243"/>
                <a:gd name="connsiteY9" fmla="*/ 301030 h 1754352"/>
                <a:gd name="connsiteX10" fmla="*/ 144367 w 10966243"/>
                <a:gd name="connsiteY10" fmla="*/ 156663 h 1754352"/>
                <a:gd name="connsiteX11" fmla="*/ 10672432 w 10966243"/>
                <a:gd name="connsiteY11" fmla="*/ 156663 h 1754352"/>
                <a:gd name="connsiteX12" fmla="*/ 10682171 w 10966243"/>
                <a:gd name="connsiteY12" fmla="*/ 155032 h 1754352"/>
                <a:gd name="connsiteX13" fmla="*/ 10788636 w 10966243"/>
                <a:gd name="connsiteY13" fmla="*/ 96513 h 1754352"/>
                <a:gd name="connsiteX14" fmla="*/ 10926380 w 10966243"/>
                <a:gd name="connsiteY14" fmla="*/ 377 h 1754352"/>
                <a:gd name="connsiteX15" fmla="*/ 10932276 w 10966243"/>
                <a:gd name="connsiteY15" fmla="*/ 82 h 1754352"/>
                <a:gd name="connsiteX0" fmla="*/ 10932276 w 10966400"/>
                <a:gd name="connsiteY0" fmla="*/ 82 h 1754352"/>
                <a:gd name="connsiteX1" fmla="*/ 10964118 w 10966400"/>
                <a:gd name="connsiteY1" fmla="*/ 66352 h 1754352"/>
                <a:gd name="connsiteX2" fmla="*/ 10966243 w 10966400"/>
                <a:gd name="connsiteY2" fmla="*/ 291957 h 1754352"/>
                <a:gd name="connsiteX3" fmla="*/ 10966243 w 10966400"/>
                <a:gd name="connsiteY3" fmla="*/ 301030 h 1754352"/>
                <a:gd name="connsiteX4" fmla="*/ 10966243 w 10966400"/>
                <a:gd name="connsiteY4" fmla="*/ 1609985 h 1754352"/>
                <a:gd name="connsiteX5" fmla="*/ 10821876 w 10966400"/>
                <a:gd name="connsiteY5" fmla="*/ 1754352 h 1754352"/>
                <a:gd name="connsiteX6" fmla="*/ 144367 w 10966400"/>
                <a:gd name="connsiteY6" fmla="*/ 1754352 h 1754352"/>
                <a:gd name="connsiteX7" fmla="*/ 0 w 10966400"/>
                <a:gd name="connsiteY7" fmla="*/ 1609985 h 1754352"/>
                <a:gd name="connsiteX8" fmla="*/ 0 w 10966400"/>
                <a:gd name="connsiteY8" fmla="*/ 301030 h 1754352"/>
                <a:gd name="connsiteX9" fmla="*/ 144367 w 10966400"/>
                <a:gd name="connsiteY9" fmla="*/ 156663 h 1754352"/>
                <a:gd name="connsiteX10" fmla="*/ 10672432 w 10966400"/>
                <a:gd name="connsiteY10" fmla="*/ 156663 h 1754352"/>
                <a:gd name="connsiteX11" fmla="*/ 10682171 w 10966400"/>
                <a:gd name="connsiteY11" fmla="*/ 155032 h 1754352"/>
                <a:gd name="connsiteX12" fmla="*/ 10788636 w 10966400"/>
                <a:gd name="connsiteY12" fmla="*/ 96513 h 1754352"/>
                <a:gd name="connsiteX13" fmla="*/ 10926380 w 10966400"/>
                <a:gd name="connsiteY13" fmla="*/ 377 h 1754352"/>
                <a:gd name="connsiteX14" fmla="*/ 10932276 w 10966400"/>
                <a:gd name="connsiteY14" fmla="*/ 82 h 175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966400" h="1754352">
                  <a:moveTo>
                    <a:pt x="10932276" y="82"/>
                  </a:moveTo>
                  <a:cubicBezTo>
                    <a:pt x="10942890" y="966"/>
                    <a:pt x="10964118" y="9802"/>
                    <a:pt x="10964118" y="66352"/>
                  </a:cubicBezTo>
                  <a:cubicBezTo>
                    <a:pt x="10965513" y="135374"/>
                    <a:pt x="10964848" y="222936"/>
                    <a:pt x="10966243" y="291957"/>
                  </a:cubicBezTo>
                  <a:cubicBezTo>
                    <a:pt x="10966597" y="331070"/>
                    <a:pt x="10966243" y="81359"/>
                    <a:pt x="10966243" y="301030"/>
                  </a:cubicBezTo>
                  <a:lnTo>
                    <a:pt x="10966243" y="1609985"/>
                  </a:lnTo>
                  <a:cubicBezTo>
                    <a:pt x="10966243" y="1689717"/>
                    <a:pt x="10901608" y="1754352"/>
                    <a:pt x="10821876" y="1754352"/>
                  </a:cubicBezTo>
                  <a:lnTo>
                    <a:pt x="144367" y="1754352"/>
                  </a:lnTo>
                  <a:cubicBezTo>
                    <a:pt x="64635" y="1754352"/>
                    <a:pt x="0" y="1689717"/>
                    <a:pt x="0" y="1609985"/>
                  </a:cubicBezTo>
                  <a:lnTo>
                    <a:pt x="0" y="301030"/>
                  </a:lnTo>
                  <a:cubicBezTo>
                    <a:pt x="0" y="221298"/>
                    <a:pt x="64635" y="156663"/>
                    <a:pt x="144367" y="156663"/>
                  </a:cubicBezTo>
                  <a:lnTo>
                    <a:pt x="10672432" y="156663"/>
                  </a:lnTo>
                  <a:lnTo>
                    <a:pt x="10682171" y="155032"/>
                  </a:lnTo>
                  <a:cubicBezTo>
                    <a:pt x="10708107" y="149840"/>
                    <a:pt x="10763164" y="134685"/>
                    <a:pt x="10788636" y="96513"/>
                  </a:cubicBezTo>
                  <a:cubicBezTo>
                    <a:pt x="10788636" y="96513"/>
                    <a:pt x="10871659" y="377"/>
                    <a:pt x="10926380" y="377"/>
                  </a:cubicBezTo>
                  <a:cubicBezTo>
                    <a:pt x="10926380" y="377"/>
                    <a:pt x="10928739" y="-212"/>
                    <a:pt x="10932276" y="82"/>
                  </a:cubicBezTo>
                  <a:close/>
                </a:path>
              </a:pathLst>
            </a:cu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1" name="Rechthoek: afgeronde bovenhoeken 60"/>
            <p:cNvSpPr/>
            <p:nvPr userDrawn="1"/>
          </p:nvSpPr>
          <p:spPr>
            <a:xfrm rot="16200000">
              <a:off x="1131983" y="3812742"/>
              <a:ext cx="1592046" cy="2560836"/>
            </a:xfrm>
            <a:prstGeom prst="round2SameRect">
              <a:avLst>
                <a:gd name="adj1" fmla="val 8291"/>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sp>
        <p:nvSpPr>
          <p:cNvPr id="2" name="Title 1"/>
          <p:cNvSpPr>
            <a:spLocks noGrp="1"/>
          </p:cNvSpPr>
          <p:nvPr>
            <p:ph type="title"/>
          </p:nvPr>
        </p:nvSpPr>
        <p:spPr>
          <a:xfrm>
            <a:off x="502652" y="533569"/>
            <a:ext cx="11133221" cy="584775"/>
          </a:xfrm>
        </p:spPr>
        <p:txBody>
          <a:bodyPr>
            <a:spAutoFit/>
          </a:bodyPr>
          <a:lstStyle>
            <a:lvl1pPr>
              <a:defRPr>
                <a:solidFill>
                  <a:schemeClr val="accent3"/>
                </a:solidFill>
              </a:defRPr>
            </a:lvl1pPr>
          </a:lstStyle>
          <a:p>
            <a:r>
              <a:rPr lang="nl-NL" noProof="0"/>
              <a:t>Klik om de stijl te bewerken</a:t>
            </a:r>
          </a:p>
        </p:txBody>
      </p:sp>
      <p:sp>
        <p:nvSpPr>
          <p:cNvPr id="3" name="Content Placeholder 2"/>
          <p:cNvSpPr>
            <a:spLocks noGrp="1"/>
          </p:cNvSpPr>
          <p:nvPr>
            <p:ph sz="half" idx="1"/>
          </p:nvPr>
        </p:nvSpPr>
        <p:spPr>
          <a:xfrm>
            <a:off x="502654" y="1708486"/>
            <a:ext cx="11133220" cy="569578"/>
          </a:xfrm>
        </p:spPr>
        <p:txBody>
          <a:bodyPr/>
          <a:lstStyle>
            <a:lvl1pPr>
              <a:spcBef>
                <a:spcPts val="0"/>
              </a:spcBef>
              <a:defRPr sz="1600" b="1">
                <a:solidFill>
                  <a:schemeClr val="tx1"/>
                </a:solidFill>
              </a:defRPr>
            </a:lvl1pPr>
          </a:lstStyle>
          <a:p>
            <a:pPr lvl="0"/>
            <a:r>
              <a:rPr lang="nl-NL" noProof="0"/>
              <a:t>Klik om de modelstijlen te bewerken</a:t>
            </a:r>
          </a:p>
        </p:txBody>
      </p:sp>
      <p:sp>
        <p:nvSpPr>
          <p:cNvPr id="5" name="Tijdelijke aanduiding voor tekst 4"/>
          <p:cNvSpPr>
            <a:spLocks noGrp="1"/>
          </p:cNvSpPr>
          <p:nvPr>
            <p:ph type="body" sz="quarter" idx="13"/>
          </p:nvPr>
        </p:nvSpPr>
        <p:spPr>
          <a:xfrm>
            <a:off x="501651" y="2278064"/>
            <a:ext cx="11133667" cy="1840103"/>
          </a:xfrm>
        </p:spPr>
        <p:txBody>
          <a:bodyPr/>
          <a:lstStyle>
            <a:lvl1pPr marL="171450" indent="-171450">
              <a:spcBef>
                <a:spcPts val="0"/>
              </a:spcBef>
              <a:buFont typeface="Arial" panose="020B0604020202020204" pitchFamily="34" charset="0"/>
              <a:buChar char="•"/>
              <a:defRPr sz="1200">
                <a:solidFill>
                  <a:schemeClr val="accent1"/>
                </a:solidFill>
              </a:defRPr>
            </a:lvl1pPr>
            <a:lvl2pPr>
              <a:spcBef>
                <a:spcPts val="0"/>
              </a:spcBef>
              <a:defRPr sz="1200">
                <a:solidFill>
                  <a:schemeClr val="accent1"/>
                </a:solidFill>
              </a:defRPr>
            </a:lvl2pPr>
            <a:lvl3pPr>
              <a:spcBef>
                <a:spcPts val="0"/>
              </a:spcBef>
              <a:defRPr sz="1200">
                <a:solidFill>
                  <a:schemeClr val="accent1"/>
                </a:solidFill>
              </a:defRPr>
            </a:lvl3pPr>
            <a:lvl4pPr>
              <a:spcBef>
                <a:spcPts val="0"/>
              </a:spcBef>
              <a:defRPr sz="1200">
                <a:solidFill>
                  <a:schemeClr val="accent1"/>
                </a:solidFill>
              </a:defRPr>
            </a:lvl4pPr>
            <a:lvl5pPr>
              <a:spcBef>
                <a:spcPts val="0"/>
              </a:spcBef>
              <a:defRPr sz="120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6" name="Tekstvak 55"/>
          <p:cNvSpPr txBox="1"/>
          <p:nvPr userDrawn="1"/>
        </p:nvSpPr>
        <p:spPr>
          <a:xfrm>
            <a:off x="-113409" y="-421452"/>
            <a:ext cx="4698108" cy="338554"/>
          </a:xfrm>
          <a:prstGeom prst="rect">
            <a:avLst/>
          </a:prstGeom>
          <a:noFill/>
        </p:spPr>
        <p:txBody>
          <a:bodyPr wrap="square" rtlCol="0">
            <a:spAutoFit/>
          </a:bodyPr>
          <a:lstStyle/>
          <a:p>
            <a:r>
              <a:rPr lang="nl-NL" sz="1600" b="1" noProof="0">
                <a:solidFill>
                  <a:schemeClr val="tx1"/>
                </a:solidFill>
              </a:rPr>
              <a:t>Titel en Object – verticaal </a:t>
            </a:r>
            <a:r>
              <a:rPr lang="nl-NL" sz="1600" b="1" noProof="0" err="1">
                <a:solidFill>
                  <a:schemeClr val="tx1"/>
                </a:solidFill>
              </a:rPr>
              <a:t>petrol</a:t>
            </a:r>
            <a:r>
              <a:rPr lang="nl-NL" sz="1600" b="1" noProof="0">
                <a:solidFill>
                  <a:schemeClr val="tx1"/>
                </a:solidFill>
              </a:rPr>
              <a:t> blauw</a:t>
            </a:r>
          </a:p>
        </p:txBody>
      </p:sp>
      <p:sp>
        <p:nvSpPr>
          <p:cNvPr id="58" name="Tijdelijke aanduiding voor tekst 99"/>
          <p:cNvSpPr>
            <a:spLocks noGrp="1"/>
          </p:cNvSpPr>
          <p:nvPr>
            <p:ph type="body" sz="quarter" idx="15" hasCustomPrompt="1"/>
          </p:nvPr>
        </p:nvSpPr>
        <p:spPr>
          <a:xfrm>
            <a:off x="501651" y="1134076"/>
            <a:ext cx="11133667" cy="355600"/>
          </a:xfrm>
        </p:spPr>
        <p:txBody>
          <a:bodyPr/>
          <a:lstStyle>
            <a:lvl1pPr>
              <a:defRPr/>
            </a:lvl1pPr>
          </a:lstStyle>
          <a:p>
            <a:pPr lvl="0"/>
            <a:r>
              <a:rPr lang="nl-NL" noProof="0"/>
              <a:t>Subtitel</a:t>
            </a:r>
          </a:p>
        </p:txBody>
      </p:sp>
      <p:grpSp>
        <p:nvGrpSpPr>
          <p:cNvPr id="80" name="Groep 79"/>
          <p:cNvGrpSpPr/>
          <p:nvPr userDrawn="1"/>
        </p:nvGrpSpPr>
        <p:grpSpPr>
          <a:xfrm>
            <a:off x="-3279573" y="5020705"/>
            <a:ext cx="3086613" cy="1841358"/>
            <a:chOff x="8427776" y="4654945"/>
            <a:chExt cx="2314960" cy="1841358"/>
          </a:xfrm>
        </p:grpSpPr>
        <p:grpSp>
          <p:nvGrpSpPr>
            <p:cNvPr id="81" name="Groep 80"/>
            <p:cNvGrpSpPr/>
            <p:nvPr userDrawn="1"/>
          </p:nvGrpSpPr>
          <p:grpSpPr>
            <a:xfrm>
              <a:off x="8432864" y="4781014"/>
              <a:ext cx="2309872" cy="1592662"/>
              <a:chOff x="-3092517" y="-83840"/>
              <a:chExt cx="3136706" cy="2509126"/>
            </a:xfrm>
          </p:grpSpPr>
          <p:sp>
            <p:nvSpPr>
              <p:cNvPr id="8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5" name="Ovaal 8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6" name="Ovaal 8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7" name="Ovaal 8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9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91" name="Ovaal 9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92" name="Ovaal 9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9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82" name="Rechte verbindingslijn 8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Rechte verbindingslijn 8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9"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50"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101" name="Tijdelijke aanduiding voor tekst 42"/>
          <p:cNvSpPr>
            <a:spLocks noGrp="1"/>
          </p:cNvSpPr>
          <p:nvPr userDrawn="1">
            <p:ph type="body" sz="quarter" idx="14" hasCustomPrompt="1"/>
          </p:nvPr>
        </p:nvSpPr>
        <p:spPr>
          <a:xfrm>
            <a:off x="3443817" y="4500563"/>
            <a:ext cx="7871883" cy="1193800"/>
          </a:xfrm>
        </p:spPr>
        <p:txBody>
          <a:bodyPr/>
          <a:lstStyle>
            <a:lvl1pPr>
              <a:spcBef>
                <a:spcPts val="0"/>
              </a:spcBef>
              <a:defRPr baseline="0">
                <a:solidFill>
                  <a:schemeClr val="accent3"/>
                </a:solidFill>
              </a:defRPr>
            </a:lvl1pPr>
            <a:lvl2pPr>
              <a:spcBef>
                <a:spcPts val="0"/>
              </a:spcBef>
              <a:defRPr>
                <a:solidFill>
                  <a:schemeClr val="tx2"/>
                </a:solidFill>
              </a:defRPr>
            </a:lvl2pPr>
            <a:lvl3pPr>
              <a:spcBef>
                <a:spcPts val="0"/>
              </a:spcBef>
              <a:defRPr>
                <a:solidFill>
                  <a:schemeClr val="tx2"/>
                </a:solidFill>
              </a:defRPr>
            </a:lvl3pPr>
            <a:lvl4pPr>
              <a:spcBef>
                <a:spcPts val="0"/>
              </a:spcBef>
              <a:defRPr>
                <a:solidFill>
                  <a:schemeClr val="tx2"/>
                </a:solidFill>
              </a:defRPr>
            </a:lvl4pPr>
            <a:lvl5pPr>
              <a:spcBef>
                <a:spcPts val="0"/>
              </a:spcBef>
              <a:defRPr>
                <a:solidFill>
                  <a:schemeClr val="tx2"/>
                </a:solidFill>
              </a:defRPr>
            </a:lvl5pPr>
          </a:lstStyle>
          <a:p>
            <a:pPr lvl="0"/>
            <a:r>
              <a:rPr lang="nl-NL" noProof="0"/>
              <a:t>Deze vorm niet vergroten/verkleinen</a:t>
            </a:r>
          </a:p>
          <a:p>
            <a:pPr lvl="0"/>
            <a:r>
              <a:rPr lang="nl-NL" noProof="0"/>
              <a:t>Alleen verplaatsen mag (naar boven of beneden) </a:t>
            </a:r>
          </a:p>
        </p:txBody>
      </p:sp>
      <p:grpSp>
        <p:nvGrpSpPr>
          <p:cNvPr id="52" name="Groep 51"/>
          <p:cNvGrpSpPr/>
          <p:nvPr userDrawn="1"/>
        </p:nvGrpSpPr>
        <p:grpSpPr>
          <a:xfrm>
            <a:off x="-3471145"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5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55"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7"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102" name="Afgeronde rechthoek 10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103" name="Rechthoek 10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104" name="Rechte verbindingslijn 10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0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1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11" name="Afgeronde rechthoek 11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1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1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1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1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1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13795561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el en Object - verticaal groen">
    <p:spTree>
      <p:nvGrpSpPr>
        <p:cNvPr id="1" name=""/>
        <p:cNvGrpSpPr/>
        <p:nvPr/>
      </p:nvGrpSpPr>
      <p:grpSpPr>
        <a:xfrm>
          <a:off x="0" y="0"/>
          <a:ext cx="0" cy="0"/>
          <a:chOff x="0" y="0"/>
          <a:chExt cx="0" cy="0"/>
        </a:xfrm>
      </p:grpSpPr>
      <p:grpSp>
        <p:nvGrpSpPr>
          <p:cNvPr id="59" name="Groep 58"/>
          <p:cNvGrpSpPr/>
          <p:nvPr userDrawn="1"/>
        </p:nvGrpSpPr>
        <p:grpSpPr>
          <a:xfrm>
            <a:off x="647585" y="4134833"/>
            <a:ext cx="10966400" cy="1754352"/>
            <a:chOff x="647585" y="4134833"/>
            <a:chExt cx="10966400" cy="1754352"/>
          </a:xfrm>
        </p:grpSpPr>
        <p:sp>
          <p:nvSpPr>
            <p:cNvPr id="60" name="Vrije vorm: vorm 59"/>
            <p:cNvSpPr/>
            <p:nvPr userDrawn="1"/>
          </p:nvSpPr>
          <p:spPr>
            <a:xfrm>
              <a:off x="647585" y="4134833"/>
              <a:ext cx="10966400" cy="1754352"/>
            </a:xfrm>
            <a:custGeom>
              <a:avLst/>
              <a:gdLst>
                <a:gd name="connsiteX0" fmla="*/ 10932276 w 10966243"/>
                <a:gd name="connsiteY0" fmla="*/ 82 h 1754352"/>
                <a:gd name="connsiteX1" fmla="*/ 10964118 w 10966243"/>
                <a:gd name="connsiteY1" fmla="*/ 66352 h 1754352"/>
                <a:gd name="connsiteX2" fmla="*/ 10966243 w 10966243"/>
                <a:gd name="connsiteY2" fmla="*/ 291957 h 1754352"/>
                <a:gd name="connsiteX3" fmla="*/ 10957407 w 10966243"/>
                <a:gd name="connsiteY3" fmla="*/ 231610 h 1754352"/>
                <a:gd name="connsiteX4" fmla="*/ 10852652 w 10966243"/>
                <a:gd name="connsiteY4" fmla="*/ 157307 h 1754352"/>
                <a:gd name="connsiteX5" fmla="*/ 10825124 w 10966243"/>
                <a:gd name="connsiteY5" fmla="*/ 157319 h 1754352"/>
                <a:gd name="connsiteX6" fmla="*/ 10878070 w 10966243"/>
                <a:gd name="connsiteY6" fmla="*/ 168008 h 1754352"/>
                <a:gd name="connsiteX7" fmla="*/ 10966243 w 10966243"/>
                <a:gd name="connsiteY7" fmla="*/ 301030 h 1754352"/>
                <a:gd name="connsiteX8" fmla="*/ 10966243 w 10966243"/>
                <a:gd name="connsiteY8" fmla="*/ 1609985 h 1754352"/>
                <a:gd name="connsiteX9" fmla="*/ 10821876 w 10966243"/>
                <a:gd name="connsiteY9" fmla="*/ 1754352 h 1754352"/>
                <a:gd name="connsiteX10" fmla="*/ 144367 w 10966243"/>
                <a:gd name="connsiteY10" fmla="*/ 1754352 h 1754352"/>
                <a:gd name="connsiteX11" fmla="*/ 0 w 10966243"/>
                <a:gd name="connsiteY11" fmla="*/ 1609985 h 1754352"/>
                <a:gd name="connsiteX12" fmla="*/ 0 w 10966243"/>
                <a:gd name="connsiteY12" fmla="*/ 301030 h 1754352"/>
                <a:gd name="connsiteX13" fmla="*/ 144367 w 10966243"/>
                <a:gd name="connsiteY13" fmla="*/ 156663 h 1754352"/>
                <a:gd name="connsiteX14" fmla="*/ 10672432 w 10966243"/>
                <a:gd name="connsiteY14" fmla="*/ 156663 h 1754352"/>
                <a:gd name="connsiteX15" fmla="*/ 10682171 w 10966243"/>
                <a:gd name="connsiteY15" fmla="*/ 155032 h 1754352"/>
                <a:gd name="connsiteX16" fmla="*/ 10788636 w 10966243"/>
                <a:gd name="connsiteY16" fmla="*/ 96513 h 1754352"/>
                <a:gd name="connsiteX17" fmla="*/ 10926380 w 10966243"/>
                <a:gd name="connsiteY17" fmla="*/ 377 h 1754352"/>
                <a:gd name="connsiteX18" fmla="*/ 10932276 w 10966243"/>
                <a:gd name="connsiteY18"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878070 w 10966243"/>
                <a:gd name="connsiteY5" fmla="*/ 168008 h 1754352"/>
                <a:gd name="connsiteX6" fmla="*/ 10966243 w 10966243"/>
                <a:gd name="connsiteY6" fmla="*/ 301030 h 1754352"/>
                <a:gd name="connsiteX7" fmla="*/ 10966243 w 10966243"/>
                <a:gd name="connsiteY7" fmla="*/ 1609985 h 1754352"/>
                <a:gd name="connsiteX8" fmla="*/ 10821876 w 10966243"/>
                <a:gd name="connsiteY8" fmla="*/ 1754352 h 1754352"/>
                <a:gd name="connsiteX9" fmla="*/ 144367 w 10966243"/>
                <a:gd name="connsiteY9" fmla="*/ 1754352 h 1754352"/>
                <a:gd name="connsiteX10" fmla="*/ 0 w 10966243"/>
                <a:gd name="connsiteY10" fmla="*/ 1609985 h 1754352"/>
                <a:gd name="connsiteX11" fmla="*/ 0 w 10966243"/>
                <a:gd name="connsiteY11" fmla="*/ 301030 h 1754352"/>
                <a:gd name="connsiteX12" fmla="*/ 144367 w 10966243"/>
                <a:gd name="connsiteY12" fmla="*/ 156663 h 1754352"/>
                <a:gd name="connsiteX13" fmla="*/ 10672432 w 10966243"/>
                <a:gd name="connsiteY13" fmla="*/ 156663 h 1754352"/>
                <a:gd name="connsiteX14" fmla="*/ 10682171 w 10966243"/>
                <a:gd name="connsiteY14" fmla="*/ 155032 h 1754352"/>
                <a:gd name="connsiteX15" fmla="*/ 10788636 w 10966243"/>
                <a:gd name="connsiteY15" fmla="*/ 96513 h 1754352"/>
                <a:gd name="connsiteX16" fmla="*/ 10926380 w 10966243"/>
                <a:gd name="connsiteY16" fmla="*/ 377 h 1754352"/>
                <a:gd name="connsiteX17" fmla="*/ 10932276 w 10966243"/>
                <a:gd name="connsiteY17"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966243 w 10966243"/>
                <a:gd name="connsiteY5" fmla="*/ 301030 h 1754352"/>
                <a:gd name="connsiteX6" fmla="*/ 10966243 w 10966243"/>
                <a:gd name="connsiteY6" fmla="*/ 1609985 h 1754352"/>
                <a:gd name="connsiteX7" fmla="*/ 10821876 w 10966243"/>
                <a:gd name="connsiteY7" fmla="*/ 1754352 h 1754352"/>
                <a:gd name="connsiteX8" fmla="*/ 144367 w 10966243"/>
                <a:gd name="connsiteY8" fmla="*/ 1754352 h 1754352"/>
                <a:gd name="connsiteX9" fmla="*/ 0 w 10966243"/>
                <a:gd name="connsiteY9" fmla="*/ 1609985 h 1754352"/>
                <a:gd name="connsiteX10" fmla="*/ 0 w 10966243"/>
                <a:gd name="connsiteY10" fmla="*/ 301030 h 1754352"/>
                <a:gd name="connsiteX11" fmla="*/ 144367 w 10966243"/>
                <a:gd name="connsiteY11" fmla="*/ 156663 h 1754352"/>
                <a:gd name="connsiteX12" fmla="*/ 10672432 w 10966243"/>
                <a:gd name="connsiteY12" fmla="*/ 156663 h 1754352"/>
                <a:gd name="connsiteX13" fmla="*/ 10682171 w 10966243"/>
                <a:gd name="connsiteY13" fmla="*/ 155032 h 1754352"/>
                <a:gd name="connsiteX14" fmla="*/ 10788636 w 10966243"/>
                <a:gd name="connsiteY14" fmla="*/ 96513 h 1754352"/>
                <a:gd name="connsiteX15" fmla="*/ 10926380 w 10966243"/>
                <a:gd name="connsiteY15" fmla="*/ 377 h 1754352"/>
                <a:gd name="connsiteX16" fmla="*/ 10932276 w 10966243"/>
                <a:gd name="connsiteY16"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25124 w 10966243"/>
                <a:gd name="connsiteY3" fmla="*/ 157319 h 1754352"/>
                <a:gd name="connsiteX4" fmla="*/ 10966243 w 10966243"/>
                <a:gd name="connsiteY4" fmla="*/ 301030 h 1754352"/>
                <a:gd name="connsiteX5" fmla="*/ 10966243 w 10966243"/>
                <a:gd name="connsiteY5" fmla="*/ 1609985 h 1754352"/>
                <a:gd name="connsiteX6" fmla="*/ 10821876 w 10966243"/>
                <a:gd name="connsiteY6" fmla="*/ 1754352 h 1754352"/>
                <a:gd name="connsiteX7" fmla="*/ 144367 w 10966243"/>
                <a:gd name="connsiteY7" fmla="*/ 1754352 h 1754352"/>
                <a:gd name="connsiteX8" fmla="*/ 0 w 10966243"/>
                <a:gd name="connsiteY8" fmla="*/ 1609985 h 1754352"/>
                <a:gd name="connsiteX9" fmla="*/ 0 w 10966243"/>
                <a:gd name="connsiteY9" fmla="*/ 301030 h 1754352"/>
                <a:gd name="connsiteX10" fmla="*/ 144367 w 10966243"/>
                <a:gd name="connsiteY10" fmla="*/ 156663 h 1754352"/>
                <a:gd name="connsiteX11" fmla="*/ 10672432 w 10966243"/>
                <a:gd name="connsiteY11" fmla="*/ 156663 h 1754352"/>
                <a:gd name="connsiteX12" fmla="*/ 10682171 w 10966243"/>
                <a:gd name="connsiteY12" fmla="*/ 155032 h 1754352"/>
                <a:gd name="connsiteX13" fmla="*/ 10788636 w 10966243"/>
                <a:gd name="connsiteY13" fmla="*/ 96513 h 1754352"/>
                <a:gd name="connsiteX14" fmla="*/ 10926380 w 10966243"/>
                <a:gd name="connsiteY14" fmla="*/ 377 h 1754352"/>
                <a:gd name="connsiteX15" fmla="*/ 10932276 w 10966243"/>
                <a:gd name="connsiteY15" fmla="*/ 82 h 1754352"/>
                <a:gd name="connsiteX0" fmla="*/ 10932276 w 10966400"/>
                <a:gd name="connsiteY0" fmla="*/ 82 h 1754352"/>
                <a:gd name="connsiteX1" fmla="*/ 10964118 w 10966400"/>
                <a:gd name="connsiteY1" fmla="*/ 66352 h 1754352"/>
                <a:gd name="connsiteX2" fmla="*/ 10966243 w 10966400"/>
                <a:gd name="connsiteY2" fmla="*/ 291957 h 1754352"/>
                <a:gd name="connsiteX3" fmla="*/ 10966243 w 10966400"/>
                <a:gd name="connsiteY3" fmla="*/ 301030 h 1754352"/>
                <a:gd name="connsiteX4" fmla="*/ 10966243 w 10966400"/>
                <a:gd name="connsiteY4" fmla="*/ 1609985 h 1754352"/>
                <a:gd name="connsiteX5" fmla="*/ 10821876 w 10966400"/>
                <a:gd name="connsiteY5" fmla="*/ 1754352 h 1754352"/>
                <a:gd name="connsiteX6" fmla="*/ 144367 w 10966400"/>
                <a:gd name="connsiteY6" fmla="*/ 1754352 h 1754352"/>
                <a:gd name="connsiteX7" fmla="*/ 0 w 10966400"/>
                <a:gd name="connsiteY7" fmla="*/ 1609985 h 1754352"/>
                <a:gd name="connsiteX8" fmla="*/ 0 w 10966400"/>
                <a:gd name="connsiteY8" fmla="*/ 301030 h 1754352"/>
                <a:gd name="connsiteX9" fmla="*/ 144367 w 10966400"/>
                <a:gd name="connsiteY9" fmla="*/ 156663 h 1754352"/>
                <a:gd name="connsiteX10" fmla="*/ 10672432 w 10966400"/>
                <a:gd name="connsiteY10" fmla="*/ 156663 h 1754352"/>
                <a:gd name="connsiteX11" fmla="*/ 10682171 w 10966400"/>
                <a:gd name="connsiteY11" fmla="*/ 155032 h 1754352"/>
                <a:gd name="connsiteX12" fmla="*/ 10788636 w 10966400"/>
                <a:gd name="connsiteY12" fmla="*/ 96513 h 1754352"/>
                <a:gd name="connsiteX13" fmla="*/ 10926380 w 10966400"/>
                <a:gd name="connsiteY13" fmla="*/ 377 h 1754352"/>
                <a:gd name="connsiteX14" fmla="*/ 10932276 w 10966400"/>
                <a:gd name="connsiteY14" fmla="*/ 82 h 175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966400" h="1754352">
                  <a:moveTo>
                    <a:pt x="10932276" y="82"/>
                  </a:moveTo>
                  <a:cubicBezTo>
                    <a:pt x="10942890" y="966"/>
                    <a:pt x="10964118" y="9802"/>
                    <a:pt x="10964118" y="66352"/>
                  </a:cubicBezTo>
                  <a:cubicBezTo>
                    <a:pt x="10965513" y="135374"/>
                    <a:pt x="10964848" y="222936"/>
                    <a:pt x="10966243" y="291957"/>
                  </a:cubicBezTo>
                  <a:cubicBezTo>
                    <a:pt x="10966597" y="331070"/>
                    <a:pt x="10966243" y="81359"/>
                    <a:pt x="10966243" y="301030"/>
                  </a:cubicBezTo>
                  <a:lnTo>
                    <a:pt x="10966243" y="1609985"/>
                  </a:lnTo>
                  <a:cubicBezTo>
                    <a:pt x="10966243" y="1689717"/>
                    <a:pt x="10901608" y="1754352"/>
                    <a:pt x="10821876" y="1754352"/>
                  </a:cubicBezTo>
                  <a:lnTo>
                    <a:pt x="144367" y="1754352"/>
                  </a:lnTo>
                  <a:cubicBezTo>
                    <a:pt x="64635" y="1754352"/>
                    <a:pt x="0" y="1689717"/>
                    <a:pt x="0" y="1609985"/>
                  </a:cubicBezTo>
                  <a:lnTo>
                    <a:pt x="0" y="301030"/>
                  </a:lnTo>
                  <a:cubicBezTo>
                    <a:pt x="0" y="221298"/>
                    <a:pt x="64635" y="156663"/>
                    <a:pt x="144367" y="156663"/>
                  </a:cubicBezTo>
                  <a:lnTo>
                    <a:pt x="10672432" y="156663"/>
                  </a:lnTo>
                  <a:lnTo>
                    <a:pt x="10682171" y="155032"/>
                  </a:lnTo>
                  <a:cubicBezTo>
                    <a:pt x="10708107" y="149840"/>
                    <a:pt x="10763164" y="134685"/>
                    <a:pt x="10788636" y="96513"/>
                  </a:cubicBezTo>
                  <a:cubicBezTo>
                    <a:pt x="10788636" y="96513"/>
                    <a:pt x="10871659" y="377"/>
                    <a:pt x="10926380" y="377"/>
                  </a:cubicBezTo>
                  <a:cubicBezTo>
                    <a:pt x="10926380" y="377"/>
                    <a:pt x="10928739" y="-212"/>
                    <a:pt x="10932276" y="82"/>
                  </a:cubicBezTo>
                  <a:close/>
                </a:path>
              </a:pathLst>
            </a:cu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1" name="Rechthoek: afgeronde bovenhoeken 60"/>
            <p:cNvSpPr/>
            <p:nvPr userDrawn="1"/>
          </p:nvSpPr>
          <p:spPr>
            <a:xfrm rot="16200000">
              <a:off x="1131983" y="3812742"/>
              <a:ext cx="1592046" cy="2560836"/>
            </a:xfrm>
            <a:prstGeom prst="round2SameRect">
              <a:avLst>
                <a:gd name="adj1" fmla="val 8291"/>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sp>
        <p:nvSpPr>
          <p:cNvPr id="2" name="Title 1"/>
          <p:cNvSpPr>
            <a:spLocks noGrp="1"/>
          </p:cNvSpPr>
          <p:nvPr>
            <p:ph type="title"/>
          </p:nvPr>
        </p:nvSpPr>
        <p:spPr>
          <a:xfrm>
            <a:off x="502652" y="533569"/>
            <a:ext cx="11133221" cy="584775"/>
          </a:xfrm>
        </p:spPr>
        <p:txBody>
          <a:bodyPr>
            <a:spAutoFit/>
          </a:bodyPr>
          <a:lstStyle>
            <a:lvl1pPr>
              <a:defRPr>
                <a:solidFill>
                  <a:schemeClr val="accent4"/>
                </a:solidFill>
              </a:defRPr>
            </a:lvl1pPr>
          </a:lstStyle>
          <a:p>
            <a:r>
              <a:rPr lang="nl-NL" noProof="0"/>
              <a:t>Klik om de stijl te bewerken</a:t>
            </a:r>
          </a:p>
        </p:txBody>
      </p:sp>
      <p:sp>
        <p:nvSpPr>
          <p:cNvPr id="3" name="Content Placeholder 2"/>
          <p:cNvSpPr>
            <a:spLocks noGrp="1"/>
          </p:cNvSpPr>
          <p:nvPr>
            <p:ph sz="half" idx="1"/>
          </p:nvPr>
        </p:nvSpPr>
        <p:spPr>
          <a:xfrm>
            <a:off x="502654" y="1708486"/>
            <a:ext cx="11133220" cy="569578"/>
          </a:xfrm>
        </p:spPr>
        <p:txBody>
          <a:bodyPr/>
          <a:lstStyle>
            <a:lvl1pPr>
              <a:spcBef>
                <a:spcPts val="0"/>
              </a:spcBef>
              <a:defRPr sz="1600" b="1">
                <a:solidFill>
                  <a:schemeClr val="tx1"/>
                </a:solidFill>
              </a:defRPr>
            </a:lvl1pPr>
          </a:lstStyle>
          <a:p>
            <a:pPr lvl="0"/>
            <a:r>
              <a:rPr lang="nl-NL" noProof="0"/>
              <a:t>Klik om de modelstijlen te bewerken</a:t>
            </a:r>
          </a:p>
        </p:txBody>
      </p:sp>
      <p:sp>
        <p:nvSpPr>
          <p:cNvPr id="5" name="Tijdelijke aanduiding voor tekst 4"/>
          <p:cNvSpPr>
            <a:spLocks noGrp="1"/>
          </p:cNvSpPr>
          <p:nvPr>
            <p:ph type="body" sz="quarter" idx="13"/>
          </p:nvPr>
        </p:nvSpPr>
        <p:spPr>
          <a:xfrm>
            <a:off x="501651" y="2278064"/>
            <a:ext cx="11133667" cy="1840103"/>
          </a:xfrm>
        </p:spPr>
        <p:txBody>
          <a:bodyPr/>
          <a:lstStyle>
            <a:lvl1pPr marL="171450" indent="-171450">
              <a:spcBef>
                <a:spcPts val="0"/>
              </a:spcBef>
              <a:buFont typeface="Arial" panose="020B0604020202020204" pitchFamily="34" charset="0"/>
              <a:buChar char="•"/>
              <a:defRPr sz="1200">
                <a:solidFill>
                  <a:schemeClr val="accent1"/>
                </a:solidFill>
              </a:defRPr>
            </a:lvl1pPr>
            <a:lvl2pPr>
              <a:spcBef>
                <a:spcPts val="0"/>
              </a:spcBef>
              <a:defRPr sz="1200">
                <a:solidFill>
                  <a:schemeClr val="accent1"/>
                </a:solidFill>
              </a:defRPr>
            </a:lvl2pPr>
            <a:lvl3pPr>
              <a:spcBef>
                <a:spcPts val="0"/>
              </a:spcBef>
              <a:defRPr sz="1200">
                <a:solidFill>
                  <a:schemeClr val="accent1"/>
                </a:solidFill>
              </a:defRPr>
            </a:lvl3pPr>
            <a:lvl4pPr>
              <a:spcBef>
                <a:spcPts val="0"/>
              </a:spcBef>
              <a:defRPr sz="1200">
                <a:solidFill>
                  <a:schemeClr val="accent1"/>
                </a:solidFill>
              </a:defRPr>
            </a:lvl4pPr>
            <a:lvl5pPr>
              <a:spcBef>
                <a:spcPts val="0"/>
              </a:spcBef>
              <a:defRPr sz="120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6" name="Tekstvak 55"/>
          <p:cNvSpPr txBox="1"/>
          <p:nvPr userDrawn="1"/>
        </p:nvSpPr>
        <p:spPr>
          <a:xfrm>
            <a:off x="-113409" y="-421452"/>
            <a:ext cx="4698108" cy="338554"/>
          </a:xfrm>
          <a:prstGeom prst="rect">
            <a:avLst/>
          </a:prstGeom>
          <a:noFill/>
        </p:spPr>
        <p:txBody>
          <a:bodyPr wrap="square" rtlCol="0">
            <a:spAutoFit/>
          </a:bodyPr>
          <a:lstStyle/>
          <a:p>
            <a:r>
              <a:rPr lang="nl-NL" sz="1600" b="1" noProof="0">
                <a:solidFill>
                  <a:schemeClr val="tx1"/>
                </a:solidFill>
              </a:rPr>
              <a:t>Titel en Object – verticaal groen</a:t>
            </a:r>
          </a:p>
        </p:txBody>
      </p:sp>
      <p:sp>
        <p:nvSpPr>
          <p:cNvPr id="58" name="Tijdelijke aanduiding voor tekst 99"/>
          <p:cNvSpPr>
            <a:spLocks noGrp="1"/>
          </p:cNvSpPr>
          <p:nvPr>
            <p:ph type="body" sz="quarter" idx="15" hasCustomPrompt="1"/>
          </p:nvPr>
        </p:nvSpPr>
        <p:spPr>
          <a:xfrm>
            <a:off x="501651" y="1134076"/>
            <a:ext cx="11133667" cy="355600"/>
          </a:xfrm>
        </p:spPr>
        <p:txBody>
          <a:bodyPr/>
          <a:lstStyle>
            <a:lvl1pPr>
              <a:defRPr/>
            </a:lvl1pPr>
          </a:lstStyle>
          <a:p>
            <a:pPr lvl="0"/>
            <a:r>
              <a:rPr lang="nl-NL" noProof="0"/>
              <a:t>Subtitel</a:t>
            </a:r>
          </a:p>
        </p:txBody>
      </p:sp>
      <p:grpSp>
        <p:nvGrpSpPr>
          <p:cNvPr id="80" name="Groep 79"/>
          <p:cNvGrpSpPr/>
          <p:nvPr userDrawn="1"/>
        </p:nvGrpSpPr>
        <p:grpSpPr>
          <a:xfrm>
            <a:off x="-3279573" y="5020705"/>
            <a:ext cx="3086613" cy="1841358"/>
            <a:chOff x="8427776" y="4654945"/>
            <a:chExt cx="2314960" cy="1841358"/>
          </a:xfrm>
        </p:grpSpPr>
        <p:grpSp>
          <p:nvGrpSpPr>
            <p:cNvPr id="81" name="Groep 80"/>
            <p:cNvGrpSpPr/>
            <p:nvPr userDrawn="1"/>
          </p:nvGrpSpPr>
          <p:grpSpPr>
            <a:xfrm>
              <a:off x="8432864" y="4781014"/>
              <a:ext cx="2309872" cy="1592662"/>
              <a:chOff x="-3092517" y="-83840"/>
              <a:chExt cx="3136706" cy="2509126"/>
            </a:xfrm>
          </p:grpSpPr>
          <p:sp>
            <p:nvSpPr>
              <p:cNvPr id="8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5" name="Ovaal 8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6" name="Ovaal 8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7" name="Ovaal 8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9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91" name="Ovaal 9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92" name="Ovaal 9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9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82" name="Rechte verbindingslijn 8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Rechte verbindingslijn 8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9"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50"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101" name="Tijdelijke aanduiding voor tekst 42"/>
          <p:cNvSpPr>
            <a:spLocks noGrp="1"/>
          </p:cNvSpPr>
          <p:nvPr userDrawn="1">
            <p:ph type="body" sz="quarter" idx="14" hasCustomPrompt="1"/>
          </p:nvPr>
        </p:nvSpPr>
        <p:spPr>
          <a:xfrm>
            <a:off x="3443817" y="4500563"/>
            <a:ext cx="7871883" cy="1193800"/>
          </a:xfrm>
        </p:spPr>
        <p:txBody>
          <a:bodyPr/>
          <a:lstStyle>
            <a:lvl1pPr>
              <a:spcBef>
                <a:spcPts val="0"/>
              </a:spcBef>
              <a:defRPr baseline="0">
                <a:solidFill>
                  <a:schemeClr val="accent4"/>
                </a:solidFill>
              </a:defRPr>
            </a:lvl1pPr>
            <a:lvl2pPr>
              <a:spcBef>
                <a:spcPts val="0"/>
              </a:spcBef>
              <a:defRPr>
                <a:solidFill>
                  <a:schemeClr val="tx2"/>
                </a:solidFill>
              </a:defRPr>
            </a:lvl2pPr>
            <a:lvl3pPr>
              <a:spcBef>
                <a:spcPts val="0"/>
              </a:spcBef>
              <a:defRPr>
                <a:solidFill>
                  <a:schemeClr val="tx2"/>
                </a:solidFill>
              </a:defRPr>
            </a:lvl3pPr>
            <a:lvl4pPr>
              <a:spcBef>
                <a:spcPts val="0"/>
              </a:spcBef>
              <a:defRPr>
                <a:solidFill>
                  <a:schemeClr val="tx2"/>
                </a:solidFill>
              </a:defRPr>
            </a:lvl4pPr>
            <a:lvl5pPr>
              <a:spcBef>
                <a:spcPts val="0"/>
              </a:spcBef>
              <a:defRPr>
                <a:solidFill>
                  <a:schemeClr val="tx2"/>
                </a:solidFill>
              </a:defRPr>
            </a:lvl5pPr>
          </a:lstStyle>
          <a:p>
            <a:pPr lvl="0"/>
            <a:r>
              <a:rPr lang="nl-NL" noProof="0"/>
              <a:t>Deze vorm niet vergroten/verkleinen</a:t>
            </a:r>
          </a:p>
          <a:p>
            <a:pPr lvl="0"/>
            <a:r>
              <a:rPr lang="nl-NL" noProof="0"/>
              <a:t>Alleen verplaatsen mag (naar boven of beneden) </a:t>
            </a:r>
          </a:p>
        </p:txBody>
      </p:sp>
      <p:grpSp>
        <p:nvGrpSpPr>
          <p:cNvPr id="52" name="Groep 51"/>
          <p:cNvGrpSpPr/>
          <p:nvPr userDrawn="1"/>
        </p:nvGrpSpPr>
        <p:grpSpPr>
          <a:xfrm>
            <a:off x="-3471145"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5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55"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7"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102" name="Afgeronde rechthoek 10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103" name="Rechthoek 10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104" name="Rechte verbindingslijn 10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0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1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11" name="Afgeronde rechthoek 11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1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1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1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1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1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3603216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en Object - rood">
    <p:spTree>
      <p:nvGrpSpPr>
        <p:cNvPr id="1" name=""/>
        <p:cNvGrpSpPr/>
        <p:nvPr/>
      </p:nvGrpSpPr>
      <p:grpSpPr>
        <a:xfrm>
          <a:off x="0" y="0"/>
          <a:ext cx="0" cy="0"/>
          <a:chOff x="0" y="0"/>
          <a:chExt cx="0" cy="0"/>
        </a:xfrm>
      </p:grpSpPr>
      <p:sp>
        <p:nvSpPr>
          <p:cNvPr id="2" name="Title 1"/>
          <p:cNvSpPr>
            <a:spLocks noGrp="1"/>
          </p:cNvSpPr>
          <p:nvPr>
            <p:ph type="title"/>
          </p:nvPr>
        </p:nvSpPr>
        <p:spPr>
          <a:xfrm>
            <a:off x="502652" y="533569"/>
            <a:ext cx="11133221" cy="584775"/>
          </a:xfrm>
        </p:spPr>
        <p:txBody>
          <a:bodyPr>
            <a:spAutoFit/>
          </a:bodyPr>
          <a:lstStyle>
            <a:lvl1pPr>
              <a:defRPr>
                <a:solidFill>
                  <a:schemeClr val="tx2"/>
                </a:solidFill>
              </a:defRPr>
            </a:lvl1pPr>
          </a:lstStyle>
          <a:p>
            <a:r>
              <a:rPr lang="nl-NL" noProof="0"/>
              <a:t>Klik om de stijl te bewerken</a:t>
            </a:r>
          </a:p>
        </p:txBody>
      </p:sp>
      <p:sp>
        <p:nvSpPr>
          <p:cNvPr id="28" name="Tekstvak 27"/>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slide - Rood</a:t>
            </a:r>
          </a:p>
        </p:txBody>
      </p:sp>
      <p:sp>
        <p:nvSpPr>
          <p:cNvPr id="40" name="Tijdelijke aanduiding voor tekst 99"/>
          <p:cNvSpPr>
            <a:spLocks noGrp="1"/>
          </p:cNvSpPr>
          <p:nvPr userDrawn="1">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55" name="Content Placeholder 2"/>
          <p:cNvSpPr>
            <a:spLocks noGrp="1"/>
          </p:cNvSpPr>
          <p:nvPr>
            <p:ph sz="half" idx="1"/>
          </p:nvPr>
        </p:nvSpPr>
        <p:spPr>
          <a:xfrm>
            <a:off x="502654" y="1708486"/>
            <a:ext cx="11133220" cy="333065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6" name="Content Placeholder 2"/>
          <p:cNvSpPr>
            <a:spLocks noGrp="1"/>
          </p:cNvSpPr>
          <p:nvPr>
            <p:ph sz="half" idx="14"/>
          </p:nvPr>
        </p:nvSpPr>
        <p:spPr>
          <a:xfrm>
            <a:off x="502654" y="5172796"/>
            <a:ext cx="11133220" cy="276999"/>
          </a:xfrm>
        </p:spPr>
        <p:txBody>
          <a:bodyPr>
            <a:sp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Klik om de modelstijlen te bewerken</a:t>
            </a:r>
          </a:p>
        </p:txBody>
      </p:sp>
      <p:grpSp>
        <p:nvGrpSpPr>
          <p:cNvPr id="78" name="Groep 77"/>
          <p:cNvGrpSpPr/>
          <p:nvPr userDrawn="1"/>
        </p:nvGrpSpPr>
        <p:grpSpPr>
          <a:xfrm>
            <a:off x="-3279573" y="5020705"/>
            <a:ext cx="3086613" cy="1841358"/>
            <a:chOff x="8427776" y="4654945"/>
            <a:chExt cx="2314960" cy="1841358"/>
          </a:xfrm>
        </p:grpSpPr>
        <p:grpSp>
          <p:nvGrpSpPr>
            <p:cNvPr id="79" name="Groep 78"/>
            <p:cNvGrpSpPr/>
            <p:nvPr userDrawn="1"/>
          </p:nvGrpSpPr>
          <p:grpSpPr>
            <a:xfrm>
              <a:off x="8432864" y="4781014"/>
              <a:ext cx="2309872" cy="1592662"/>
              <a:chOff x="-3092517" y="-83840"/>
              <a:chExt cx="3136706" cy="2509126"/>
            </a:xfrm>
          </p:grpSpPr>
          <p:sp>
            <p:nvSpPr>
              <p:cNvPr id="82"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3" name="Ovaal 82"/>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4" name="Ovaal 83"/>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5" name="Ovaal 84"/>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6"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7"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8"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9" name="Ovaal 88"/>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90" name="Ovaal 89"/>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91"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80" name="Rechte verbindingslijn 79"/>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Rechte verbindingslijn 80"/>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45"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46" name="Groep 45"/>
          <p:cNvGrpSpPr/>
          <p:nvPr userDrawn="1"/>
        </p:nvGrpSpPr>
        <p:grpSpPr>
          <a:xfrm>
            <a:off x="-3471145" y="-46322"/>
            <a:ext cx="3471145" cy="3781320"/>
            <a:chOff x="-2603359" y="-46322"/>
            <a:chExt cx="2603359" cy="3781320"/>
          </a:xfrm>
        </p:grpSpPr>
        <p:sp>
          <p:nvSpPr>
            <p:cNvPr id="47" name="Afgeronde rechthoek 46"/>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48"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49"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0"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51"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52" name="Afgeronde rechthoek 5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53" name="Rechthoek 5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54" name="Rechte verbindingslijn 5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93"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94"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95"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96"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97"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98" name="Afgeronde rechthoek 97"/>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99"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0"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1"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02"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03"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16284515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el en Object - verticaal paars">
    <p:spTree>
      <p:nvGrpSpPr>
        <p:cNvPr id="1" name=""/>
        <p:cNvGrpSpPr/>
        <p:nvPr/>
      </p:nvGrpSpPr>
      <p:grpSpPr>
        <a:xfrm>
          <a:off x="0" y="0"/>
          <a:ext cx="0" cy="0"/>
          <a:chOff x="0" y="0"/>
          <a:chExt cx="0" cy="0"/>
        </a:xfrm>
      </p:grpSpPr>
      <p:sp>
        <p:nvSpPr>
          <p:cNvPr id="2" name="Title 1"/>
          <p:cNvSpPr>
            <a:spLocks noGrp="1"/>
          </p:cNvSpPr>
          <p:nvPr>
            <p:ph type="title"/>
          </p:nvPr>
        </p:nvSpPr>
        <p:spPr>
          <a:xfrm>
            <a:off x="502652" y="533569"/>
            <a:ext cx="11133221" cy="584775"/>
          </a:xfrm>
        </p:spPr>
        <p:txBody>
          <a:bodyPr>
            <a:spAutoFit/>
          </a:bodyPr>
          <a:lstStyle>
            <a:lvl1pPr>
              <a:defRPr>
                <a:solidFill>
                  <a:schemeClr val="accent5"/>
                </a:solidFill>
              </a:defRPr>
            </a:lvl1pPr>
          </a:lstStyle>
          <a:p>
            <a:r>
              <a:rPr lang="nl-NL" noProof="0"/>
              <a:t>Klik om de stijl te bewerken</a:t>
            </a:r>
          </a:p>
        </p:txBody>
      </p:sp>
      <p:sp>
        <p:nvSpPr>
          <p:cNvPr id="3" name="Content Placeholder 2"/>
          <p:cNvSpPr>
            <a:spLocks noGrp="1"/>
          </p:cNvSpPr>
          <p:nvPr>
            <p:ph sz="half" idx="1"/>
          </p:nvPr>
        </p:nvSpPr>
        <p:spPr>
          <a:xfrm>
            <a:off x="502654" y="1708486"/>
            <a:ext cx="11133220" cy="569578"/>
          </a:xfrm>
        </p:spPr>
        <p:txBody>
          <a:bodyPr/>
          <a:lstStyle>
            <a:lvl1pPr>
              <a:spcBef>
                <a:spcPts val="0"/>
              </a:spcBef>
              <a:defRPr sz="1600" b="1">
                <a:solidFill>
                  <a:schemeClr val="tx1"/>
                </a:solidFill>
              </a:defRPr>
            </a:lvl1pPr>
          </a:lstStyle>
          <a:p>
            <a:pPr lvl="0"/>
            <a:r>
              <a:rPr lang="nl-NL" noProof="0"/>
              <a:t>Klik om de modelstijlen te bewerken</a:t>
            </a:r>
          </a:p>
        </p:txBody>
      </p:sp>
      <p:sp>
        <p:nvSpPr>
          <p:cNvPr id="5" name="Tijdelijke aanduiding voor tekst 4"/>
          <p:cNvSpPr>
            <a:spLocks noGrp="1"/>
          </p:cNvSpPr>
          <p:nvPr>
            <p:ph type="body" sz="quarter" idx="13"/>
          </p:nvPr>
        </p:nvSpPr>
        <p:spPr>
          <a:xfrm>
            <a:off x="501651" y="2278064"/>
            <a:ext cx="11133667" cy="1840103"/>
          </a:xfrm>
        </p:spPr>
        <p:txBody>
          <a:bodyPr/>
          <a:lstStyle>
            <a:lvl1pPr marL="171450" indent="-171450">
              <a:spcBef>
                <a:spcPts val="0"/>
              </a:spcBef>
              <a:buFont typeface="Arial" panose="020B0604020202020204" pitchFamily="34" charset="0"/>
              <a:buChar char="•"/>
              <a:defRPr sz="1200">
                <a:solidFill>
                  <a:schemeClr val="accent1"/>
                </a:solidFill>
              </a:defRPr>
            </a:lvl1pPr>
            <a:lvl2pPr>
              <a:spcBef>
                <a:spcPts val="0"/>
              </a:spcBef>
              <a:defRPr sz="1200">
                <a:solidFill>
                  <a:schemeClr val="accent1"/>
                </a:solidFill>
              </a:defRPr>
            </a:lvl2pPr>
            <a:lvl3pPr>
              <a:spcBef>
                <a:spcPts val="0"/>
              </a:spcBef>
              <a:defRPr sz="1200">
                <a:solidFill>
                  <a:schemeClr val="accent1"/>
                </a:solidFill>
              </a:defRPr>
            </a:lvl3pPr>
            <a:lvl4pPr>
              <a:spcBef>
                <a:spcPts val="0"/>
              </a:spcBef>
              <a:defRPr sz="1200">
                <a:solidFill>
                  <a:schemeClr val="accent1"/>
                </a:solidFill>
              </a:defRPr>
            </a:lvl4pPr>
            <a:lvl5pPr>
              <a:spcBef>
                <a:spcPts val="0"/>
              </a:spcBef>
              <a:defRPr sz="120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6" name="Tekstvak 55"/>
          <p:cNvSpPr txBox="1"/>
          <p:nvPr userDrawn="1"/>
        </p:nvSpPr>
        <p:spPr>
          <a:xfrm>
            <a:off x="-113409" y="-421452"/>
            <a:ext cx="4698108" cy="338554"/>
          </a:xfrm>
          <a:prstGeom prst="rect">
            <a:avLst/>
          </a:prstGeom>
          <a:noFill/>
        </p:spPr>
        <p:txBody>
          <a:bodyPr wrap="square" rtlCol="0">
            <a:spAutoFit/>
          </a:bodyPr>
          <a:lstStyle/>
          <a:p>
            <a:r>
              <a:rPr lang="nl-NL" sz="1600" b="1" noProof="0">
                <a:solidFill>
                  <a:schemeClr val="tx1"/>
                </a:solidFill>
              </a:rPr>
              <a:t>Titel en Object – verticaal paars</a:t>
            </a:r>
          </a:p>
        </p:txBody>
      </p:sp>
      <p:sp>
        <p:nvSpPr>
          <p:cNvPr id="58" name="Tijdelijke aanduiding voor tekst 99"/>
          <p:cNvSpPr>
            <a:spLocks noGrp="1"/>
          </p:cNvSpPr>
          <p:nvPr>
            <p:ph type="body" sz="quarter" idx="15" hasCustomPrompt="1"/>
          </p:nvPr>
        </p:nvSpPr>
        <p:spPr>
          <a:xfrm>
            <a:off x="501651" y="1134076"/>
            <a:ext cx="11133667" cy="355600"/>
          </a:xfrm>
        </p:spPr>
        <p:txBody>
          <a:bodyPr/>
          <a:lstStyle>
            <a:lvl1pPr>
              <a:defRPr/>
            </a:lvl1pPr>
          </a:lstStyle>
          <a:p>
            <a:pPr lvl="0"/>
            <a:r>
              <a:rPr lang="nl-NL" noProof="0"/>
              <a:t>Subtitel</a:t>
            </a:r>
          </a:p>
        </p:txBody>
      </p:sp>
      <p:grpSp>
        <p:nvGrpSpPr>
          <p:cNvPr id="80" name="Groep 79"/>
          <p:cNvGrpSpPr/>
          <p:nvPr userDrawn="1"/>
        </p:nvGrpSpPr>
        <p:grpSpPr>
          <a:xfrm>
            <a:off x="-3279573" y="5020705"/>
            <a:ext cx="3086613" cy="1841358"/>
            <a:chOff x="8427776" y="4654945"/>
            <a:chExt cx="2314960" cy="1841358"/>
          </a:xfrm>
        </p:grpSpPr>
        <p:grpSp>
          <p:nvGrpSpPr>
            <p:cNvPr id="81" name="Groep 80"/>
            <p:cNvGrpSpPr/>
            <p:nvPr userDrawn="1"/>
          </p:nvGrpSpPr>
          <p:grpSpPr>
            <a:xfrm>
              <a:off x="8432864" y="4781014"/>
              <a:ext cx="2309872" cy="1592662"/>
              <a:chOff x="-3092517" y="-83840"/>
              <a:chExt cx="3136706" cy="2509126"/>
            </a:xfrm>
          </p:grpSpPr>
          <p:sp>
            <p:nvSpPr>
              <p:cNvPr id="8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5" name="Ovaal 8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6" name="Ovaal 8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7" name="Ovaal 8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9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91" name="Ovaal 9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92" name="Ovaal 9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9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82" name="Rechte verbindingslijn 8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Rechte verbindingslijn 8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9"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50"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101" name="Tijdelijke aanduiding voor tekst 42"/>
          <p:cNvSpPr>
            <a:spLocks noGrp="1"/>
          </p:cNvSpPr>
          <p:nvPr userDrawn="1">
            <p:ph type="body" sz="quarter" idx="14" hasCustomPrompt="1"/>
          </p:nvPr>
        </p:nvSpPr>
        <p:spPr>
          <a:xfrm>
            <a:off x="3443817" y="4500563"/>
            <a:ext cx="7871883" cy="1193800"/>
          </a:xfrm>
        </p:spPr>
        <p:txBody>
          <a:bodyPr/>
          <a:lstStyle>
            <a:lvl1pPr>
              <a:spcBef>
                <a:spcPts val="0"/>
              </a:spcBef>
              <a:defRPr baseline="0">
                <a:solidFill>
                  <a:schemeClr val="accent5"/>
                </a:solidFill>
              </a:defRPr>
            </a:lvl1pPr>
            <a:lvl2pPr>
              <a:spcBef>
                <a:spcPts val="0"/>
              </a:spcBef>
              <a:defRPr>
                <a:solidFill>
                  <a:schemeClr val="tx2"/>
                </a:solidFill>
              </a:defRPr>
            </a:lvl2pPr>
            <a:lvl3pPr>
              <a:spcBef>
                <a:spcPts val="0"/>
              </a:spcBef>
              <a:defRPr>
                <a:solidFill>
                  <a:schemeClr val="tx2"/>
                </a:solidFill>
              </a:defRPr>
            </a:lvl3pPr>
            <a:lvl4pPr>
              <a:spcBef>
                <a:spcPts val="0"/>
              </a:spcBef>
              <a:defRPr>
                <a:solidFill>
                  <a:schemeClr val="tx2"/>
                </a:solidFill>
              </a:defRPr>
            </a:lvl4pPr>
            <a:lvl5pPr>
              <a:spcBef>
                <a:spcPts val="0"/>
              </a:spcBef>
              <a:defRPr>
                <a:solidFill>
                  <a:schemeClr val="tx2"/>
                </a:solidFill>
              </a:defRPr>
            </a:lvl5pPr>
          </a:lstStyle>
          <a:p>
            <a:pPr lvl="0"/>
            <a:r>
              <a:rPr lang="nl-NL" noProof="0"/>
              <a:t>Deze vorm niet vergroten/verkleinen</a:t>
            </a:r>
          </a:p>
          <a:p>
            <a:pPr lvl="0"/>
            <a:r>
              <a:rPr lang="nl-NL" noProof="0"/>
              <a:t>Alleen verplaatsen mag (naar boven of beneden) </a:t>
            </a:r>
          </a:p>
        </p:txBody>
      </p:sp>
      <p:grpSp>
        <p:nvGrpSpPr>
          <p:cNvPr id="52" name="Groep 51"/>
          <p:cNvGrpSpPr/>
          <p:nvPr userDrawn="1"/>
        </p:nvGrpSpPr>
        <p:grpSpPr>
          <a:xfrm>
            <a:off x="-3471145"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5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55"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7"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102" name="Afgeronde rechthoek 10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103" name="Rechthoek 10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104" name="Rechte verbindingslijn 10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0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1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11" name="Afgeronde rechthoek 11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1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1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1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1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1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grpSp>
        <p:nvGrpSpPr>
          <p:cNvPr id="59" name="Groep 58"/>
          <p:cNvGrpSpPr/>
          <p:nvPr userDrawn="1"/>
        </p:nvGrpSpPr>
        <p:grpSpPr>
          <a:xfrm>
            <a:off x="647585" y="4134833"/>
            <a:ext cx="10966400" cy="1754352"/>
            <a:chOff x="647585" y="4134833"/>
            <a:chExt cx="10966400" cy="1754352"/>
          </a:xfrm>
        </p:grpSpPr>
        <p:sp>
          <p:nvSpPr>
            <p:cNvPr id="60" name="Vrije vorm: vorm 59"/>
            <p:cNvSpPr/>
            <p:nvPr userDrawn="1"/>
          </p:nvSpPr>
          <p:spPr>
            <a:xfrm>
              <a:off x="647585" y="4134833"/>
              <a:ext cx="10966400" cy="1754352"/>
            </a:xfrm>
            <a:custGeom>
              <a:avLst/>
              <a:gdLst>
                <a:gd name="connsiteX0" fmla="*/ 10932276 w 10966243"/>
                <a:gd name="connsiteY0" fmla="*/ 82 h 1754352"/>
                <a:gd name="connsiteX1" fmla="*/ 10964118 w 10966243"/>
                <a:gd name="connsiteY1" fmla="*/ 66352 h 1754352"/>
                <a:gd name="connsiteX2" fmla="*/ 10966243 w 10966243"/>
                <a:gd name="connsiteY2" fmla="*/ 291957 h 1754352"/>
                <a:gd name="connsiteX3" fmla="*/ 10957407 w 10966243"/>
                <a:gd name="connsiteY3" fmla="*/ 231610 h 1754352"/>
                <a:gd name="connsiteX4" fmla="*/ 10852652 w 10966243"/>
                <a:gd name="connsiteY4" fmla="*/ 157307 h 1754352"/>
                <a:gd name="connsiteX5" fmla="*/ 10825124 w 10966243"/>
                <a:gd name="connsiteY5" fmla="*/ 157319 h 1754352"/>
                <a:gd name="connsiteX6" fmla="*/ 10878070 w 10966243"/>
                <a:gd name="connsiteY6" fmla="*/ 168008 h 1754352"/>
                <a:gd name="connsiteX7" fmla="*/ 10966243 w 10966243"/>
                <a:gd name="connsiteY7" fmla="*/ 301030 h 1754352"/>
                <a:gd name="connsiteX8" fmla="*/ 10966243 w 10966243"/>
                <a:gd name="connsiteY8" fmla="*/ 1609985 h 1754352"/>
                <a:gd name="connsiteX9" fmla="*/ 10821876 w 10966243"/>
                <a:gd name="connsiteY9" fmla="*/ 1754352 h 1754352"/>
                <a:gd name="connsiteX10" fmla="*/ 144367 w 10966243"/>
                <a:gd name="connsiteY10" fmla="*/ 1754352 h 1754352"/>
                <a:gd name="connsiteX11" fmla="*/ 0 w 10966243"/>
                <a:gd name="connsiteY11" fmla="*/ 1609985 h 1754352"/>
                <a:gd name="connsiteX12" fmla="*/ 0 w 10966243"/>
                <a:gd name="connsiteY12" fmla="*/ 301030 h 1754352"/>
                <a:gd name="connsiteX13" fmla="*/ 144367 w 10966243"/>
                <a:gd name="connsiteY13" fmla="*/ 156663 h 1754352"/>
                <a:gd name="connsiteX14" fmla="*/ 10672432 w 10966243"/>
                <a:gd name="connsiteY14" fmla="*/ 156663 h 1754352"/>
                <a:gd name="connsiteX15" fmla="*/ 10682171 w 10966243"/>
                <a:gd name="connsiteY15" fmla="*/ 155032 h 1754352"/>
                <a:gd name="connsiteX16" fmla="*/ 10788636 w 10966243"/>
                <a:gd name="connsiteY16" fmla="*/ 96513 h 1754352"/>
                <a:gd name="connsiteX17" fmla="*/ 10926380 w 10966243"/>
                <a:gd name="connsiteY17" fmla="*/ 377 h 1754352"/>
                <a:gd name="connsiteX18" fmla="*/ 10932276 w 10966243"/>
                <a:gd name="connsiteY18"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878070 w 10966243"/>
                <a:gd name="connsiteY5" fmla="*/ 168008 h 1754352"/>
                <a:gd name="connsiteX6" fmla="*/ 10966243 w 10966243"/>
                <a:gd name="connsiteY6" fmla="*/ 301030 h 1754352"/>
                <a:gd name="connsiteX7" fmla="*/ 10966243 w 10966243"/>
                <a:gd name="connsiteY7" fmla="*/ 1609985 h 1754352"/>
                <a:gd name="connsiteX8" fmla="*/ 10821876 w 10966243"/>
                <a:gd name="connsiteY8" fmla="*/ 1754352 h 1754352"/>
                <a:gd name="connsiteX9" fmla="*/ 144367 w 10966243"/>
                <a:gd name="connsiteY9" fmla="*/ 1754352 h 1754352"/>
                <a:gd name="connsiteX10" fmla="*/ 0 w 10966243"/>
                <a:gd name="connsiteY10" fmla="*/ 1609985 h 1754352"/>
                <a:gd name="connsiteX11" fmla="*/ 0 w 10966243"/>
                <a:gd name="connsiteY11" fmla="*/ 301030 h 1754352"/>
                <a:gd name="connsiteX12" fmla="*/ 144367 w 10966243"/>
                <a:gd name="connsiteY12" fmla="*/ 156663 h 1754352"/>
                <a:gd name="connsiteX13" fmla="*/ 10672432 w 10966243"/>
                <a:gd name="connsiteY13" fmla="*/ 156663 h 1754352"/>
                <a:gd name="connsiteX14" fmla="*/ 10682171 w 10966243"/>
                <a:gd name="connsiteY14" fmla="*/ 155032 h 1754352"/>
                <a:gd name="connsiteX15" fmla="*/ 10788636 w 10966243"/>
                <a:gd name="connsiteY15" fmla="*/ 96513 h 1754352"/>
                <a:gd name="connsiteX16" fmla="*/ 10926380 w 10966243"/>
                <a:gd name="connsiteY16" fmla="*/ 377 h 1754352"/>
                <a:gd name="connsiteX17" fmla="*/ 10932276 w 10966243"/>
                <a:gd name="connsiteY17"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52652 w 10966243"/>
                <a:gd name="connsiteY3" fmla="*/ 157307 h 1754352"/>
                <a:gd name="connsiteX4" fmla="*/ 10825124 w 10966243"/>
                <a:gd name="connsiteY4" fmla="*/ 157319 h 1754352"/>
                <a:gd name="connsiteX5" fmla="*/ 10966243 w 10966243"/>
                <a:gd name="connsiteY5" fmla="*/ 301030 h 1754352"/>
                <a:gd name="connsiteX6" fmla="*/ 10966243 w 10966243"/>
                <a:gd name="connsiteY6" fmla="*/ 1609985 h 1754352"/>
                <a:gd name="connsiteX7" fmla="*/ 10821876 w 10966243"/>
                <a:gd name="connsiteY7" fmla="*/ 1754352 h 1754352"/>
                <a:gd name="connsiteX8" fmla="*/ 144367 w 10966243"/>
                <a:gd name="connsiteY8" fmla="*/ 1754352 h 1754352"/>
                <a:gd name="connsiteX9" fmla="*/ 0 w 10966243"/>
                <a:gd name="connsiteY9" fmla="*/ 1609985 h 1754352"/>
                <a:gd name="connsiteX10" fmla="*/ 0 w 10966243"/>
                <a:gd name="connsiteY10" fmla="*/ 301030 h 1754352"/>
                <a:gd name="connsiteX11" fmla="*/ 144367 w 10966243"/>
                <a:gd name="connsiteY11" fmla="*/ 156663 h 1754352"/>
                <a:gd name="connsiteX12" fmla="*/ 10672432 w 10966243"/>
                <a:gd name="connsiteY12" fmla="*/ 156663 h 1754352"/>
                <a:gd name="connsiteX13" fmla="*/ 10682171 w 10966243"/>
                <a:gd name="connsiteY13" fmla="*/ 155032 h 1754352"/>
                <a:gd name="connsiteX14" fmla="*/ 10788636 w 10966243"/>
                <a:gd name="connsiteY14" fmla="*/ 96513 h 1754352"/>
                <a:gd name="connsiteX15" fmla="*/ 10926380 w 10966243"/>
                <a:gd name="connsiteY15" fmla="*/ 377 h 1754352"/>
                <a:gd name="connsiteX16" fmla="*/ 10932276 w 10966243"/>
                <a:gd name="connsiteY16" fmla="*/ 82 h 1754352"/>
                <a:gd name="connsiteX0" fmla="*/ 10932276 w 10966243"/>
                <a:gd name="connsiteY0" fmla="*/ 82 h 1754352"/>
                <a:gd name="connsiteX1" fmla="*/ 10964118 w 10966243"/>
                <a:gd name="connsiteY1" fmla="*/ 66352 h 1754352"/>
                <a:gd name="connsiteX2" fmla="*/ 10966243 w 10966243"/>
                <a:gd name="connsiteY2" fmla="*/ 291957 h 1754352"/>
                <a:gd name="connsiteX3" fmla="*/ 10825124 w 10966243"/>
                <a:gd name="connsiteY3" fmla="*/ 157319 h 1754352"/>
                <a:gd name="connsiteX4" fmla="*/ 10966243 w 10966243"/>
                <a:gd name="connsiteY4" fmla="*/ 301030 h 1754352"/>
                <a:gd name="connsiteX5" fmla="*/ 10966243 w 10966243"/>
                <a:gd name="connsiteY5" fmla="*/ 1609985 h 1754352"/>
                <a:gd name="connsiteX6" fmla="*/ 10821876 w 10966243"/>
                <a:gd name="connsiteY6" fmla="*/ 1754352 h 1754352"/>
                <a:gd name="connsiteX7" fmla="*/ 144367 w 10966243"/>
                <a:gd name="connsiteY7" fmla="*/ 1754352 h 1754352"/>
                <a:gd name="connsiteX8" fmla="*/ 0 w 10966243"/>
                <a:gd name="connsiteY8" fmla="*/ 1609985 h 1754352"/>
                <a:gd name="connsiteX9" fmla="*/ 0 w 10966243"/>
                <a:gd name="connsiteY9" fmla="*/ 301030 h 1754352"/>
                <a:gd name="connsiteX10" fmla="*/ 144367 w 10966243"/>
                <a:gd name="connsiteY10" fmla="*/ 156663 h 1754352"/>
                <a:gd name="connsiteX11" fmla="*/ 10672432 w 10966243"/>
                <a:gd name="connsiteY11" fmla="*/ 156663 h 1754352"/>
                <a:gd name="connsiteX12" fmla="*/ 10682171 w 10966243"/>
                <a:gd name="connsiteY12" fmla="*/ 155032 h 1754352"/>
                <a:gd name="connsiteX13" fmla="*/ 10788636 w 10966243"/>
                <a:gd name="connsiteY13" fmla="*/ 96513 h 1754352"/>
                <a:gd name="connsiteX14" fmla="*/ 10926380 w 10966243"/>
                <a:gd name="connsiteY14" fmla="*/ 377 h 1754352"/>
                <a:gd name="connsiteX15" fmla="*/ 10932276 w 10966243"/>
                <a:gd name="connsiteY15" fmla="*/ 82 h 1754352"/>
                <a:gd name="connsiteX0" fmla="*/ 10932276 w 10966400"/>
                <a:gd name="connsiteY0" fmla="*/ 82 h 1754352"/>
                <a:gd name="connsiteX1" fmla="*/ 10964118 w 10966400"/>
                <a:gd name="connsiteY1" fmla="*/ 66352 h 1754352"/>
                <a:gd name="connsiteX2" fmla="*/ 10966243 w 10966400"/>
                <a:gd name="connsiteY2" fmla="*/ 291957 h 1754352"/>
                <a:gd name="connsiteX3" fmla="*/ 10966243 w 10966400"/>
                <a:gd name="connsiteY3" fmla="*/ 301030 h 1754352"/>
                <a:gd name="connsiteX4" fmla="*/ 10966243 w 10966400"/>
                <a:gd name="connsiteY4" fmla="*/ 1609985 h 1754352"/>
                <a:gd name="connsiteX5" fmla="*/ 10821876 w 10966400"/>
                <a:gd name="connsiteY5" fmla="*/ 1754352 h 1754352"/>
                <a:gd name="connsiteX6" fmla="*/ 144367 w 10966400"/>
                <a:gd name="connsiteY6" fmla="*/ 1754352 h 1754352"/>
                <a:gd name="connsiteX7" fmla="*/ 0 w 10966400"/>
                <a:gd name="connsiteY7" fmla="*/ 1609985 h 1754352"/>
                <a:gd name="connsiteX8" fmla="*/ 0 w 10966400"/>
                <a:gd name="connsiteY8" fmla="*/ 301030 h 1754352"/>
                <a:gd name="connsiteX9" fmla="*/ 144367 w 10966400"/>
                <a:gd name="connsiteY9" fmla="*/ 156663 h 1754352"/>
                <a:gd name="connsiteX10" fmla="*/ 10672432 w 10966400"/>
                <a:gd name="connsiteY10" fmla="*/ 156663 h 1754352"/>
                <a:gd name="connsiteX11" fmla="*/ 10682171 w 10966400"/>
                <a:gd name="connsiteY11" fmla="*/ 155032 h 1754352"/>
                <a:gd name="connsiteX12" fmla="*/ 10788636 w 10966400"/>
                <a:gd name="connsiteY12" fmla="*/ 96513 h 1754352"/>
                <a:gd name="connsiteX13" fmla="*/ 10926380 w 10966400"/>
                <a:gd name="connsiteY13" fmla="*/ 377 h 1754352"/>
                <a:gd name="connsiteX14" fmla="*/ 10932276 w 10966400"/>
                <a:gd name="connsiteY14" fmla="*/ 82 h 175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966400" h="1754352">
                  <a:moveTo>
                    <a:pt x="10932276" y="82"/>
                  </a:moveTo>
                  <a:cubicBezTo>
                    <a:pt x="10942890" y="966"/>
                    <a:pt x="10964118" y="9802"/>
                    <a:pt x="10964118" y="66352"/>
                  </a:cubicBezTo>
                  <a:cubicBezTo>
                    <a:pt x="10965513" y="135374"/>
                    <a:pt x="10964848" y="222936"/>
                    <a:pt x="10966243" y="291957"/>
                  </a:cubicBezTo>
                  <a:cubicBezTo>
                    <a:pt x="10966597" y="331070"/>
                    <a:pt x="10966243" y="81359"/>
                    <a:pt x="10966243" y="301030"/>
                  </a:cubicBezTo>
                  <a:lnTo>
                    <a:pt x="10966243" y="1609985"/>
                  </a:lnTo>
                  <a:cubicBezTo>
                    <a:pt x="10966243" y="1689717"/>
                    <a:pt x="10901608" y="1754352"/>
                    <a:pt x="10821876" y="1754352"/>
                  </a:cubicBezTo>
                  <a:lnTo>
                    <a:pt x="144367" y="1754352"/>
                  </a:lnTo>
                  <a:cubicBezTo>
                    <a:pt x="64635" y="1754352"/>
                    <a:pt x="0" y="1689717"/>
                    <a:pt x="0" y="1609985"/>
                  </a:cubicBezTo>
                  <a:lnTo>
                    <a:pt x="0" y="301030"/>
                  </a:lnTo>
                  <a:cubicBezTo>
                    <a:pt x="0" y="221298"/>
                    <a:pt x="64635" y="156663"/>
                    <a:pt x="144367" y="156663"/>
                  </a:cubicBezTo>
                  <a:lnTo>
                    <a:pt x="10672432" y="156663"/>
                  </a:lnTo>
                  <a:lnTo>
                    <a:pt x="10682171" y="155032"/>
                  </a:lnTo>
                  <a:cubicBezTo>
                    <a:pt x="10708107" y="149840"/>
                    <a:pt x="10763164" y="134685"/>
                    <a:pt x="10788636" y="96513"/>
                  </a:cubicBezTo>
                  <a:cubicBezTo>
                    <a:pt x="10788636" y="96513"/>
                    <a:pt x="10871659" y="377"/>
                    <a:pt x="10926380" y="377"/>
                  </a:cubicBezTo>
                  <a:cubicBezTo>
                    <a:pt x="10926380" y="377"/>
                    <a:pt x="10928739" y="-212"/>
                    <a:pt x="10932276" y="82"/>
                  </a:cubicBezTo>
                  <a:close/>
                </a:path>
              </a:pathLst>
            </a:cu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1" name="Rechthoek: afgeronde bovenhoeken 60"/>
            <p:cNvSpPr/>
            <p:nvPr userDrawn="1"/>
          </p:nvSpPr>
          <p:spPr>
            <a:xfrm rot="16200000">
              <a:off x="1131983" y="3812742"/>
              <a:ext cx="1592046" cy="2560836"/>
            </a:xfrm>
            <a:prstGeom prst="round2SameRect">
              <a:avLst>
                <a:gd name="adj1" fmla="val 8291"/>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spTree>
    <p:extLst>
      <p:ext uri="{BB962C8B-B14F-4D97-AF65-F5344CB8AC3E}">
        <p14:creationId xmlns:p14="http://schemas.microsoft.com/office/powerpoint/2010/main" val="38762657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33983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nl-NL" noProof="0"/>
              <a:t>Klik om de stijl te bewerken</a:t>
            </a:r>
          </a:p>
        </p:txBody>
      </p:sp>
      <p:sp>
        <p:nvSpPr>
          <p:cNvPr id="4" name="Footer Placeholder 3"/>
          <p:cNvSpPr>
            <a:spLocks noGrp="1"/>
          </p:cNvSpPr>
          <p:nvPr>
            <p:ph type="ftr" sz="quarter" idx="11"/>
          </p:nvPr>
        </p:nvSpPr>
        <p:spPr/>
        <p:txBody>
          <a:bodyPr/>
          <a:lstStyle/>
          <a:p>
            <a:endParaRPr lang="nl-NL" noProof="0"/>
          </a:p>
        </p:txBody>
      </p:sp>
      <p:sp>
        <p:nvSpPr>
          <p:cNvPr id="5" name="Slide Number Placeholder 4"/>
          <p:cNvSpPr>
            <a:spLocks noGrp="1"/>
          </p:cNvSpPr>
          <p:nvPr>
            <p:ph type="sldNum" sz="quarter" idx="12"/>
          </p:nvPr>
        </p:nvSpPr>
        <p:spPr/>
        <p:txBody>
          <a:bodyPr/>
          <a:lstStyle/>
          <a:p>
            <a:fld id="{8A87A398-2B52-41CE-AD18-FB681F1DBEA6}" type="slidenum">
              <a:rPr lang="nl-NL" noProof="0" smtClean="0"/>
              <a:t>‹#›</a:t>
            </a:fld>
            <a:endParaRPr lang="nl-NL" noProof="0"/>
          </a:p>
        </p:txBody>
      </p:sp>
      <p:sp>
        <p:nvSpPr>
          <p:cNvPr id="6" name="Tekstvak 5"/>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Alleen Titel</a:t>
            </a:r>
          </a:p>
        </p:txBody>
      </p:sp>
      <p:sp>
        <p:nvSpPr>
          <p:cNvPr id="39"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grpSp>
        <p:nvGrpSpPr>
          <p:cNvPr id="61" name="Groep 60"/>
          <p:cNvGrpSpPr/>
          <p:nvPr userDrawn="1"/>
        </p:nvGrpSpPr>
        <p:grpSpPr>
          <a:xfrm>
            <a:off x="-3279573" y="5020705"/>
            <a:ext cx="3086613" cy="1841358"/>
            <a:chOff x="8427776" y="4654945"/>
            <a:chExt cx="2314960" cy="1841358"/>
          </a:xfrm>
        </p:grpSpPr>
        <p:grpSp>
          <p:nvGrpSpPr>
            <p:cNvPr id="62" name="Groep 61"/>
            <p:cNvGrpSpPr/>
            <p:nvPr userDrawn="1"/>
          </p:nvGrpSpPr>
          <p:grpSpPr>
            <a:xfrm>
              <a:off x="8432864" y="4781014"/>
              <a:ext cx="2309872" cy="1592662"/>
              <a:chOff x="-3092517" y="-83840"/>
              <a:chExt cx="3136706" cy="2509126"/>
            </a:xfrm>
          </p:grpSpPr>
          <p:sp>
            <p:nvSpPr>
              <p:cNvPr id="65"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66" name="Ovaal 65"/>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67" name="Ovaal 66"/>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68" name="Ovaal 67"/>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69"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0"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1"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72" name="Ovaal 71"/>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73" name="Ovaal 72"/>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74"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63" name="Rechte verbindingslijn 62"/>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5" name="Groep 74"/>
          <p:cNvGrpSpPr/>
          <p:nvPr userDrawn="1"/>
        </p:nvGrpSpPr>
        <p:grpSpPr>
          <a:xfrm>
            <a:off x="-3471145" y="-46322"/>
            <a:ext cx="3471145" cy="3781320"/>
            <a:chOff x="-2603359" y="-46322"/>
            <a:chExt cx="2603359" cy="3781320"/>
          </a:xfrm>
        </p:grpSpPr>
        <p:sp>
          <p:nvSpPr>
            <p:cNvPr id="76" name="Afgeronde rechthoek 75"/>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77"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78"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79"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80"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81" name="Afgeronde rechthoek 80"/>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82" name="Rechthoek 81"/>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83" name="Rechte verbindingslijn 82"/>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85"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86"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87"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88"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89"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90" name="Afgeronde rechthoek 89"/>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91"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92"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93"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94"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95"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30323829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leurblokken met tekstkader">
    <p:spTree>
      <p:nvGrpSpPr>
        <p:cNvPr id="1" name=""/>
        <p:cNvGrpSpPr/>
        <p:nvPr/>
      </p:nvGrpSpPr>
      <p:grpSpPr>
        <a:xfrm>
          <a:off x="0" y="0"/>
          <a:ext cx="0" cy="0"/>
          <a:chOff x="0" y="0"/>
          <a:chExt cx="0" cy="0"/>
        </a:xfrm>
      </p:grpSpPr>
      <p:pic>
        <p:nvPicPr>
          <p:cNvPr id="31" name="Afbeelding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3" y="0"/>
            <a:ext cx="12190095" cy="6858000"/>
          </a:xfrm>
          <a:prstGeom prst="rect">
            <a:avLst/>
          </a:prstGeom>
        </p:spPr>
      </p:pic>
      <p:grpSp>
        <p:nvGrpSpPr>
          <p:cNvPr id="5" name="Groep 4"/>
          <p:cNvGrpSpPr/>
          <p:nvPr userDrawn="1"/>
        </p:nvGrpSpPr>
        <p:grpSpPr>
          <a:xfrm>
            <a:off x="180230" y="159026"/>
            <a:ext cx="11789135" cy="6539948"/>
            <a:chOff x="135172" y="159026"/>
            <a:chExt cx="8841851" cy="6539948"/>
          </a:xfrm>
        </p:grpSpPr>
        <p:sp>
          <p:nvSpPr>
            <p:cNvPr id="6" name="Rechthoek 5"/>
            <p:cNvSpPr/>
            <p:nvPr/>
          </p:nvSpPr>
          <p:spPr>
            <a:xfrm>
              <a:off x="135172" y="159026"/>
              <a:ext cx="2947284" cy="3269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7" name="Rechthoek 6"/>
            <p:cNvSpPr/>
            <p:nvPr/>
          </p:nvSpPr>
          <p:spPr>
            <a:xfrm>
              <a:off x="3082456" y="159026"/>
              <a:ext cx="2947284" cy="3269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8" name="Rechthoek 7"/>
            <p:cNvSpPr/>
            <p:nvPr/>
          </p:nvSpPr>
          <p:spPr>
            <a:xfrm>
              <a:off x="6029739" y="159026"/>
              <a:ext cx="2947284" cy="32699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9" name="Rechthoek 8"/>
            <p:cNvSpPr/>
            <p:nvPr/>
          </p:nvSpPr>
          <p:spPr>
            <a:xfrm>
              <a:off x="3082456" y="3429000"/>
              <a:ext cx="2947284" cy="32699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10" name="Rechthoek 9"/>
            <p:cNvSpPr/>
            <p:nvPr/>
          </p:nvSpPr>
          <p:spPr>
            <a:xfrm>
              <a:off x="135172" y="3429000"/>
              <a:ext cx="2947284" cy="326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grpSp>
      <p:sp>
        <p:nvSpPr>
          <p:cNvPr id="11" name="Vrije vorm 10"/>
          <p:cNvSpPr/>
          <p:nvPr userDrawn="1"/>
        </p:nvSpPr>
        <p:spPr bwMode="gray">
          <a:xfrm>
            <a:off x="0" y="268"/>
            <a:ext cx="12192000" cy="6857464"/>
          </a:xfrm>
          <a:custGeom>
            <a:avLst/>
            <a:gdLst>
              <a:gd name="connsiteX0" fmla="*/ 0 w 9144000"/>
              <a:gd name="connsiteY0" fmla="*/ 0 h 6857464"/>
              <a:gd name="connsiteX1" fmla="*/ 9144000 w 9144000"/>
              <a:gd name="connsiteY1" fmla="*/ 0 h 6857464"/>
              <a:gd name="connsiteX2" fmla="*/ 9144000 w 9144000"/>
              <a:gd name="connsiteY2" fmla="*/ 6857464 h 6857464"/>
              <a:gd name="connsiteX3" fmla="*/ 0 w 9144000"/>
              <a:gd name="connsiteY3" fmla="*/ 6857464 h 6857464"/>
              <a:gd name="connsiteX4" fmla="*/ 0 w 9144000"/>
              <a:gd name="connsiteY4" fmla="*/ 0 h 6857464"/>
              <a:gd name="connsiteX5" fmla="*/ 262928 w 9144000"/>
              <a:gd name="connsiteY5" fmla="*/ 194285 h 6857464"/>
              <a:gd name="connsiteX6" fmla="*/ 175099 w 9144000"/>
              <a:gd name="connsiteY6" fmla="*/ 282114 h 6857464"/>
              <a:gd name="connsiteX7" fmla="*/ 175099 w 9144000"/>
              <a:gd name="connsiteY7" fmla="*/ 6526712 h 6857464"/>
              <a:gd name="connsiteX8" fmla="*/ 262928 w 9144000"/>
              <a:gd name="connsiteY8" fmla="*/ 6614541 h 6857464"/>
              <a:gd name="connsiteX9" fmla="*/ 8832434 w 9144000"/>
              <a:gd name="connsiteY9" fmla="*/ 6614541 h 6857464"/>
              <a:gd name="connsiteX10" fmla="*/ 8920263 w 9144000"/>
              <a:gd name="connsiteY10" fmla="*/ 6526712 h 6857464"/>
              <a:gd name="connsiteX11" fmla="*/ 8920263 w 9144000"/>
              <a:gd name="connsiteY11" fmla="*/ 282114 h 6857464"/>
              <a:gd name="connsiteX12" fmla="*/ 8832434 w 9144000"/>
              <a:gd name="connsiteY12" fmla="*/ 194285 h 6857464"/>
              <a:gd name="connsiteX13" fmla="*/ 262928 w 9144000"/>
              <a:gd name="connsiteY13" fmla="*/ 194285 h 685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6857464">
                <a:moveTo>
                  <a:pt x="0" y="0"/>
                </a:moveTo>
                <a:lnTo>
                  <a:pt x="9144000" y="0"/>
                </a:lnTo>
                <a:lnTo>
                  <a:pt x="9144000" y="6857464"/>
                </a:lnTo>
                <a:lnTo>
                  <a:pt x="0" y="6857464"/>
                </a:lnTo>
                <a:lnTo>
                  <a:pt x="0" y="0"/>
                </a:lnTo>
                <a:close/>
                <a:moveTo>
                  <a:pt x="262928" y="194285"/>
                </a:moveTo>
                <a:cubicBezTo>
                  <a:pt x="214421" y="194285"/>
                  <a:pt x="175099" y="233607"/>
                  <a:pt x="175099" y="282114"/>
                </a:cubicBezTo>
                <a:lnTo>
                  <a:pt x="175099" y="6526712"/>
                </a:lnTo>
                <a:cubicBezTo>
                  <a:pt x="175099" y="6575219"/>
                  <a:pt x="214421" y="6614541"/>
                  <a:pt x="262928" y="6614541"/>
                </a:cubicBezTo>
                <a:lnTo>
                  <a:pt x="8832434" y="6614541"/>
                </a:lnTo>
                <a:cubicBezTo>
                  <a:pt x="8880941" y="6614541"/>
                  <a:pt x="8920263" y="6575219"/>
                  <a:pt x="8920263" y="6526712"/>
                </a:cubicBezTo>
                <a:lnTo>
                  <a:pt x="8920263" y="282114"/>
                </a:lnTo>
                <a:cubicBezTo>
                  <a:pt x="8920263" y="233607"/>
                  <a:pt x="8880941" y="194285"/>
                  <a:pt x="8832434" y="194285"/>
                </a:cubicBezTo>
                <a:lnTo>
                  <a:pt x="262928" y="19428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19" name="Tijdelijke aanduiding voor tekst 13"/>
          <p:cNvSpPr>
            <a:spLocks noGrp="1"/>
          </p:cNvSpPr>
          <p:nvPr>
            <p:ph type="body" sz="quarter" idx="14" hasCustomPrompt="1"/>
          </p:nvPr>
        </p:nvSpPr>
        <p:spPr bwMode="gray">
          <a:xfrm>
            <a:off x="4630153" y="5857772"/>
            <a:ext cx="2880000" cy="556591"/>
          </a:xfrm>
        </p:spPr>
        <p:txBody>
          <a:bodyPr anchor="b" anchorCtr="0"/>
          <a:lstStyle>
            <a:lvl1pPr algn="ctr">
              <a:defRPr sz="1400">
                <a:solidFill>
                  <a:schemeClr val="bg1"/>
                </a:solidFill>
              </a:defRPr>
            </a:lvl1pPr>
          </a:lstStyle>
          <a:p>
            <a:pPr lvl="0"/>
            <a:r>
              <a:rPr lang="nl-NL" noProof="0"/>
              <a:t>Klik hier</a:t>
            </a:r>
          </a:p>
        </p:txBody>
      </p:sp>
      <p:sp>
        <p:nvSpPr>
          <p:cNvPr id="21" name="Tijdelijke aanduiding voor tekst 13"/>
          <p:cNvSpPr>
            <a:spLocks noGrp="1"/>
          </p:cNvSpPr>
          <p:nvPr>
            <p:ph type="body" sz="quarter" idx="16" hasCustomPrompt="1"/>
          </p:nvPr>
        </p:nvSpPr>
        <p:spPr bwMode="gray">
          <a:xfrm>
            <a:off x="726575" y="5857772"/>
            <a:ext cx="2880000" cy="556591"/>
          </a:xfrm>
        </p:spPr>
        <p:txBody>
          <a:bodyPr anchor="b" anchorCtr="0"/>
          <a:lstStyle>
            <a:lvl1pPr algn="ctr">
              <a:defRPr sz="1400">
                <a:solidFill>
                  <a:schemeClr val="bg1"/>
                </a:solidFill>
              </a:defRPr>
            </a:lvl1pPr>
          </a:lstStyle>
          <a:p>
            <a:pPr lvl="0"/>
            <a:r>
              <a:rPr lang="nl-NL" noProof="0"/>
              <a:t>Klik hier</a:t>
            </a:r>
          </a:p>
        </p:txBody>
      </p:sp>
      <p:sp>
        <p:nvSpPr>
          <p:cNvPr id="23" name="Tijdelijke aanduiding voor tekst 13"/>
          <p:cNvSpPr>
            <a:spLocks noGrp="1"/>
          </p:cNvSpPr>
          <p:nvPr>
            <p:ph type="body" sz="quarter" idx="18" hasCustomPrompt="1"/>
          </p:nvPr>
        </p:nvSpPr>
        <p:spPr bwMode="gray">
          <a:xfrm>
            <a:off x="8523036" y="2675420"/>
            <a:ext cx="2880000" cy="556591"/>
          </a:xfrm>
        </p:spPr>
        <p:txBody>
          <a:bodyPr anchor="b" anchorCtr="0"/>
          <a:lstStyle>
            <a:lvl1pPr algn="ctr">
              <a:defRPr sz="1400">
                <a:solidFill>
                  <a:schemeClr val="bg1"/>
                </a:solidFill>
              </a:defRPr>
            </a:lvl1pPr>
          </a:lstStyle>
          <a:p>
            <a:pPr lvl="0"/>
            <a:r>
              <a:rPr lang="nl-NL" noProof="0"/>
              <a:t>Klik hier</a:t>
            </a:r>
          </a:p>
        </p:txBody>
      </p:sp>
      <p:sp>
        <p:nvSpPr>
          <p:cNvPr id="25" name="Tijdelijke aanduiding voor tekst 13"/>
          <p:cNvSpPr>
            <a:spLocks noGrp="1"/>
          </p:cNvSpPr>
          <p:nvPr>
            <p:ph type="body" sz="quarter" idx="20" hasCustomPrompt="1"/>
          </p:nvPr>
        </p:nvSpPr>
        <p:spPr bwMode="gray">
          <a:xfrm>
            <a:off x="4630153" y="2675420"/>
            <a:ext cx="2880000" cy="556591"/>
          </a:xfrm>
        </p:spPr>
        <p:txBody>
          <a:bodyPr anchor="b" anchorCtr="0"/>
          <a:lstStyle>
            <a:lvl1pPr algn="ctr">
              <a:defRPr sz="1400">
                <a:solidFill>
                  <a:schemeClr val="bg1"/>
                </a:solidFill>
              </a:defRPr>
            </a:lvl1pPr>
          </a:lstStyle>
          <a:p>
            <a:pPr lvl="0"/>
            <a:r>
              <a:rPr lang="nl-NL" noProof="0"/>
              <a:t>Klik hier</a:t>
            </a:r>
          </a:p>
        </p:txBody>
      </p:sp>
      <p:sp>
        <p:nvSpPr>
          <p:cNvPr id="27" name="Tijdelijke aanduiding voor tekst 13"/>
          <p:cNvSpPr>
            <a:spLocks noGrp="1"/>
          </p:cNvSpPr>
          <p:nvPr>
            <p:ph type="body" sz="quarter" idx="22" hasCustomPrompt="1"/>
          </p:nvPr>
        </p:nvSpPr>
        <p:spPr bwMode="gray">
          <a:xfrm>
            <a:off x="726575" y="2675420"/>
            <a:ext cx="2880000" cy="556591"/>
          </a:xfrm>
        </p:spPr>
        <p:txBody>
          <a:bodyPr anchor="b" anchorCtr="0"/>
          <a:lstStyle>
            <a:lvl1pPr algn="ctr">
              <a:defRPr sz="1400">
                <a:solidFill>
                  <a:schemeClr val="bg1"/>
                </a:solidFill>
              </a:defRPr>
            </a:lvl1pPr>
          </a:lstStyle>
          <a:p>
            <a:pPr lvl="0"/>
            <a:r>
              <a:rPr lang="nl-NL" noProof="0"/>
              <a:t>Klik hier</a:t>
            </a:r>
          </a:p>
        </p:txBody>
      </p:sp>
      <p:sp>
        <p:nvSpPr>
          <p:cNvPr id="54" name="Tekstvak 53"/>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Kleurblokken met tekstkader</a:t>
            </a:r>
          </a:p>
        </p:txBody>
      </p:sp>
      <p:grpSp>
        <p:nvGrpSpPr>
          <p:cNvPr id="76" name="Groep 75"/>
          <p:cNvGrpSpPr/>
          <p:nvPr userDrawn="1"/>
        </p:nvGrpSpPr>
        <p:grpSpPr>
          <a:xfrm>
            <a:off x="-3279573" y="5020705"/>
            <a:ext cx="3086613" cy="1841358"/>
            <a:chOff x="8427776" y="4654945"/>
            <a:chExt cx="2314960" cy="1841358"/>
          </a:xfrm>
        </p:grpSpPr>
        <p:grpSp>
          <p:nvGrpSpPr>
            <p:cNvPr id="77" name="Groep 76"/>
            <p:cNvGrpSpPr/>
            <p:nvPr userDrawn="1"/>
          </p:nvGrpSpPr>
          <p:grpSpPr>
            <a:xfrm>
              <a:off x="8432864" y="4781014"/>
              <a:ext cx="2309872" cy="1592662"/>
              <a:chOff x="-3092517" y="-83840"/>
              <a:chExt cx="3136706" cy="2509126"/>
            </a:xfrm>
          </p:grpSpPr>
          <p:sp>
            <p:nvSpPr>
              <p:cNvPr id="80"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1" name="Ovaal 80"/>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82" name="Ovaal 81"/>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83" name="Ovaal 82"/>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4"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5"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6"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7" name="Ovaal 86"/>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88" name="Ovaal 87"/>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89"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78" name="Rechte verbindingslijn 77"/>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Rechte verbindingslijn 78"/>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2" name="Groep 51"/>
          <p:cNvGrpSpPr/>
          <p:nvPr userDrawn="1"/>
        </p:nvGrpSpPr>
        <p:grpSpPr>
          <a:xfrm>
            <a:off x="-3471145"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90"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91"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92"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3"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94" name="Afgeronde rechthoek 93"/>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95" name="Rechthoek 94"/>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96" name="Rechte verbindingslijn 95"/>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98"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99"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0"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1"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02"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03" name="Afgeronde rechthoek 102"/>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04"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5"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6"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07"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08"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pic>
        <p:nvPicPr>
          <p:cNvPr id="57" name="Afbeelding 56"/>
          <p:cNvPicPr>
            <a:picLocks noChangeAspect="1"/>
          </p:cNvPicPr>
          <p:nvPr userDrawn="1"/>
        </p:nvPicPr>
        <p:blipFill>
          <a:blip r:embed="rId4"/>
          <a:stretch>
            <a:fillRect/>
          </a:stretch>
        </p:blipFill>
        <p:spPr>
          <a:xfrm>
            <a:off x="8784596" y="4843316"/>
            <a:ext cx="2356880" cy="499942"/>
          </a:xfrm>
          <a:prstGeom prst="rect">
            <a:avLst/>
          </a:prstGeom>
        </p:spPr>
      </p:pic>
    </p:spTree>
    <p:extLst>
      <p:ext uri="{BB962C8B-B14F-4D97-AF65-F5344CB8AC3E}">
        <p14:creationId xmlns:p14="http://schemas.microsoft.com/office/powerpoint/2010/main" val="14817513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leurblokken met meerdere tekstkaders">
    <p:spTree>
      <p:nvGrpSpPr>
        <p:cNvPr id="1" name=""/>
        <p:cNvGrpSpPr/>
        <p:nvPr/>
      </p:nvGrpSpPr>
      <p:grpSpPr>
        <a:xfrm>
          <a:off x="0" y="0"/>
          <a:ext cx="0" cy="0"/>
          <a:chOff x="0" y="0"/>
          <a:chExt cx="0" cy="0"/>
        </a:xfrm>
      </p:grpSpPr>
      <p:sp>
        <p:nvSpPr>
          <p:cNvPr id="2" name="Rechthoek 1"/>
          <p:cNvSpPr/>
          <p:nvPr userDrawn="1"/>
        </p:nvSpPr>
        <p:spPr>
          <a:xfrm>
            <a:off x="10346724" y="6190059"/>
            <a:ext cx="1622640" cy="522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5" name="Groep 4"/>
          <p:cNvGrpSpPr/>
          <p:nvPr userDrawn="1"/>
        </p:nvGrpSpPr>
        <p:grpSpPr>
          <a:xfrm>
            <a:off x="180230" y="159026"/>
            <a:ext cx="11789135" cy="6539948"/>
            <a:chOff x="135172" y="159026"/>
            <a:chExt cx="8841851" cy="6539948"/>
          </a:xfrm>
        </p:grpSpPr>
        <p:sp>
          <p:nvSpPr>
            <p:cNvPr id="6" name="Rechthoek 5"/>
            <p:cNvSpPr/>
            <p:nvPr/>
          </p:nvSpPr>
          <p:spPr>
            <a:xfrm>
              <a:off x="135172" y="159026"/>
              <a:ext cx="2947284" cy="3269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7" name="Rechthoek 6"/>
            <p:cNvSpPr/>
            <p:nvPr/>
          </p:nvSpPr>
          <p:spPr>
            <a:xfrm>
              <a:off x="3082456" y="159026"/>
              <a:ext cx="2947284" cy="3269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8" name="Rechthoek 7"/>
            <p:cNvSpPr/>
            <p:nvPr/>
          </p:nvSpPr>
          <p:spPr>
            <a:xfrm>
              <a:off x="6029739" y="159026"/>
              <a:ext cx="2947284" cy="32699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9" name="Rechthoek 8"/>
            <p:cNvSpPr/>
            <p:nvPr/>
          </p:nvSpPr>
          <p:spPr>
            <a:xfrm>
              <a:off x="3082456" y="3429000"/>
              <a:ext cx="2947284" cy="32699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10" name="Rechthoek 9"/>
            <p:cNvSpPr/>
            <p:nvPr/>
          </p:nvSpPr>
          <p:spPr>
            <a:xfrm>
              <a:off x="135172" y="3429000"/>
              <a:ext cx="2947284" cy="326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grpSp>
      <p:sp>
        <p:nvSpPr>
          <p:cNvPr id="11" name="Vrije vorm 10"/>
          <p:cNvSpPr/>
          <p:nvPr userDrawn="1"/>
        </p:nvSpPr>
        <p:spPr bwMode="gray">
          <a:xfrm>
            <a:off x="0" y="268"/>
            <a:ext cx="12192000" cy="6857464"/>
          </a:xfrm>
          <a:custGeom>
            <a:avLst/>
            <a:gdLst>
              <a:gd name="connsiteX0" fmla="*/ 0 w 9144000"/>
              <a:gd name="connsiteY0" fmla="*/ 0 h 6857464"/>
              <a:gd name="connsiteX1" fmla="*/ 9144000 w 9144000"/>
              <a:gd name="connsiteY1" fmla="*/ 0 h 6857464"/>
              <a:gd name="connsiteX2" fmla="*/ 9144000 w 9144000"/>
              <a:gd name="connsiteY2" fmla="*/ 6857464 h 6857464"/>
              <a:gd name="connsiteX3" fmla="*/ 0 w 9144000"/>
              <a:gd name="connsiteY3" fmla="*/ 6857464 h 6857464"/>
              <a:gd name="connsiteX4" fmla="*/ 0 w 9144000"/>
              <a:gd name="connsiteY4" fmla="*/ 0 h 6857464"/>
              <a:gd name="connsiteX5" fmla="*/ 262928 w 9144000"/>
              <a:gd name="connsiteY5" fmla="*/ 194285 h 6857464"/>
              <a:gd name="connsiteX6" fmla="*/ 175099 w 9144000"/>
              <a:gd name="connsiteY6" fmla="*/ 282114 h 6857464"/>
              <a:gd name="connsiteX7" fmla="*/ 175099 w 9144000"/>
              <a:gd name="connsiteY7" fmla="*/ 6526712 h 6857464"/>
              <a:gd name="connsiteX8" fmla="*/ 262928 w 9144000"/>
              <a:gd name="connsiteY8" fmla="*/ 6614541 h 6857464"/>
              <a:gd name="connsiteX9" fmla="*/ 8832434 w 9144000"/>
              <a:gd name="connsiteY9" fmla="*/ 6614541 h 6857464"/>
              <a:gd name="connsiteX10" fmla="*/ 8920263 w 9144000"/>
              <a:gd name="connsiteY10" fmla="*/ 6526712 h 6857464"/>
              <a:gd name="connsiteX11" fmla="*/ 8920263 w 9144000"/>
              <a:gd name="connsiteY11" fmla="*/ 282114 h 6857464"/>
              <a:gd name="connsiteX12" fmla="*/ 8832434 w 9144000"/>
              <a:gd name="connsiteY12" fmla="*/ 194285 h 6857464"/>
              <a:gd name="connsiteX13" fmla="*/ 262928 w 9144000"/>
              <a:gd name="connsiteY13" fmla="*/ 194285 h 685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6857464">
                <a:moveTo>
                  <a:pt x="0" y="0"/>
                </a:moveTo>
                <a:lnTo>
                  <a:pt x="9144000" y="0"/>
                </a:lnTo>
                <a:lnTo>
                  <a:pt x="9144000" y="6857464"/>
                </a:lnTo>
                <a:lnTo>
                  <a:pt x="0" y="6857464"/>
                </a:lnTo>
                <a:lnTo>
                  <a:pt x="0" y="0"/>
                </a:lnTo>
                <a:close/>
                <a:moveTo>
                  <a:pt x="262928" y="194285"/>
                </a:moveTo>
                <a:cubicBezTo>
                  <a:pt x="214421" y="194285"/>
                  <a:pt x="175099" y="233607"/>
                  <a:pt x="175099" y="282114"/>
                </a:cubicBezTo>
                <a:lnTo>
                  <a:pt x="175099" y="6526712"/>
                </a:lnTo>
                <a:cubicBezTo>
                  <a:pt x="175099" y="6575219"/>
                  <a:pt x="214421" y="6614541"/>
                  <a:pt x="262928" y="6614541"/>
                </a:cubicBezTo>
                <a:lnTo>
                  <a:pt x="8832434" y="6614541"/>
                </a:lnTo>
                <a:cubicBezTo>
                  <a:pt x="8880941" y="6614541"/>
                  <a:pt x="8920263" y="6575219"/>
                  <a:pt x="8920263" y="6526712"/>
                </a:cubicBezTo>
                <a:lnTo>
                  <a:pt x="8920263" y="282114"/>
                </a:lnTo>
                <a:cubicBezTo>
                  <a:pt x="8920263" y="233607"/>
                  <a:pt x="8880941" y="194285"/>
                  <a:pt x="8832434" y="194285"/>
                </a:cubicBezTo>
                <a:lnTo>
                  <a:pt x="262928" y="19428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14" name="Tijdelijke aanduiding voor tekst 13"/>
          <p:cNvSpPr>
            <a:spLocks noGrp="1"/>
          </p:cNvSpPr>
          <p:nvPr>
            <p:ph type="body" sz="quarter" idx="12" hasCustomPrompt="1"/>
          </p:nvPr>
        </p:nvSpPr>
        <p:spPr bwMode="auto">
          <a:xfrm>
            <a:off x="8394700" y="4569608"/>
            <a:ext cx="2880000" cy="556591"/>
          </a:xfrm>
        </p:spPr>
        <p:txBody>
          <a:bodyPr/>
          <a:lstStyle>
            <a:lvl1pPr algn="l">
              <a:defRPr>
                <a:solidFill>
                  <a:schemeClr val="tx1"/>
                </a:solidFill>
              </a:defRPr>
            </a:lvl1pPr>
          </a:lstStyle>
          <a:p>
            <a:pPr lvl="0"/>
            <a:r>
              <a:rPr lang="nl-NL" noProof="0"/>
              <a:t>Klik hier</a:t>
            </a:r>
          </a:p>
        </p:txBody>
      </p:sp>
      <p:sp>
        <p:nvSpPr>
          <p:cNvPr id="18" name="Tijdelijke aanduiding voor tekst 17"/>
          <p:cNvSpPr>
            <a:spLocks noGrp="1"/>
          </p:cNvSpPr>
          <p:nvPr>
            <p:ph type="body" sz="quarter" idx="13"/>
          </p:nvPr>
        </p:nvSpPr>
        <p:spPr bwMode="auto">
          <a:xfrm>
            <a:off x="8394700" y="5126198"/>
            <a:ext cx="2880000" cy="766762"/>
          </a:xfrm>
        </p:spPr>
        <p:txBody>
          <a:bodyPr/>
          <a:lstStyle>
            <a:lvl1pPr marL="171450" indent="-171450" algn="l">
              <a:spcBef>
                <a:spcPts val="0"/>
              </a:spcBef>
              <a:buFont typeface="Arial" panose="020B0604020202020204" pitchFamily="34" charset="0"/>
              <a:buChar char="•"/>
              <a:defRPr sz="1200">
                <a:solidFill>
                  <a:schemeClr val="tx1"/>
                </a:solidFill>
              </a:defRPr>
            </a:lvl1pPr>
          </a:lstStyle>
          <a:p>
            <a:pPr lvl="0"/>
            <a:r>
              <a:rPr lang="nl-NL" noProof="0"/>
              <a:t>Klik om de modelstijlen te bewerken</a:t>
            </a:r>
          </a:p>
        </p:txBody>
      </p:sp>
      <p:sp>
        <p:nvSpPr>
          <p:cNvPr id="19" name="Tijdelijke aanduiding voor tekst 13"/>
          <p:cNvSpPr>
            <a:spLocks noGrp="1"/>
          </p:cNvSpPr>
          <p:nvPr>
            <p:ph type="body" sz="quarter" idx="14" hasCustomPrompt="1"/>
          </p:nvPr>
        </p:nvSpPr>
        <p:spPr bwMode="gray">
          <a:xfrm>
            <a:off x="4630153" y="4569608"/>
            <a:ext cx="2880000" cy="556591"/>
          </a:xfrm>
        </p:spPr>
        <p:txBody>
          <a:bodyPr/>
          <a:lstStyle>
            <a:lvl1pPr algn="l">
              <a:defRPr>
                <a:solidFill>
                  <a:schemeClr val="bg1"/>
                </a:solidFill>
              </a:defRPr>
            </a:lvl1pPr>
          </a:lstStyle>
          <a:p>
            <a:pPr lvl="0"/>
            <a:r>
              <a:rPr lang="nl-NL" noProof="0"/>
              <a:t>Klik hier</a:t>
            </a:r>
          </a:p>
        </p:txBody>
      </p:sp>
      <p:sp>
        <p:nvSpPr>
          <p:cNvPr id="20" name="Tijdelijke aanduiding voor tekst 17"/>
          <p:cNvSpPr>
            <a:spLocks noGrp="1"/>
          </p:cNvSpPr>
          <p:nvPr>
            <p:ph type="body" sz="quarter" idx="15"/>
          </p:nvPr>
        </p:nvSpPr>
        <p:spPr bwMode="gray">
          <a:xfrm>
            <a:off x="4630153" y="5126198"/>
            <a:ext cx="2880000" cy="766762"/>
          </a:xfrm>
        </p:spPr>
        <p:txBody>
          <a:bodyPr vert="horz" lIns="91440" tIns="45720" rIns="91440" bIns="45720" rtlCol="0">
            <a:noAutofit/>
          </a:bodyPr>
          <a:lstStyle>
            <a:lvl1pPr marL="171450" indent="-171450">
              <a:spcBef>
                <a:spcPts val="0"/>
              </a:spcBef>
              <a:buChar char="•"/>
              <a:defRPr lang="en-US" sz="1200" dirty="0">
                <a:solidFill>
                  <a:schemeClr val="bg1"/>
                </a:solidFill>
              </a:defRPr>
            </a:lvl1pPr>
          </a:lstStyle>
          <a:p>
            <a:pPr marL="171450" lvl="0" indent="-171450">
              <a:spcBef>
                <a:spcPts val="0"/>
              </a:spcBef>
              <a:buChar char="•"/>
            </a:pPr>
            <a:r>
              <a:rPr lang="nl-NL" noProof="0"/>
              <a:t>Klik om de modelstijlen te bewerken</a:t>
            </a:r>
          </a:p>
        </p:txBody>
      </p:sp>
      <p:sp>
        <p:nvSpPr>
          <p:cNvPr id="21" name="Tijdelijke aanduiding voor tekst 13"/>
          <p:cNvSpPr>
            <a:spLocks noGrp="1"/>
          </p:cNvSpPr>
          <p:nvPr>
            <p:ph type="body" sz="quarter" idx="16" hasCustomPrompt="1"/>
          </p:nvPr>
        </p:nvSpPr>
        <p:spPr bwMode="gray">
          <a:xfrm>
            <a:off x="737269" y="4569608"/>
            <a:ext cx="2880000" cy="556591"/>
          </a:xfrm>
        </p:spPr>
        <p:txBody>
          <a:bodyPr/>
          <a:lstStyle>
            <a:lvl1pPr algn="l">
              <a:defRPr>
                <a:solidFill>
                  <a:schemeClr val="bg1"/>
                </a:solidFill>
              </a:defRPr>
            </a:lvl1pPr>
          </a:lstStyle>
          <a:p>
            <a:pPr lvl="0"/>
            <a:r>
              <a:rPr lang="nl-NL" noProof="0"/>
              <a:t>Klik hier</a:t>
            </a:r>
          </a:p>
        </p:txBody>
      </p:sp>
      <p:sp>
        <p:nvSpPr>
          <p:cNvPr id="22" name="Tijdelijke aanduiding voor tekst 17"/>
          <p:cNvSpPr>
            <a:spLocks noGrp="1"/>
          </p:cNvSpPr>
          <p:nvPr>
            <p:ph type="body" sz="quarter" idx="17"/>
          </p:nvPr>
        </p:nvSpPr>
        <p:spPr bwMode="gray">
          <a:xfrm>
            <a:off x="737269" y="5126198"/>
            <a:ext cx="2880000" cy="766762"/>
          </a:xfrm>
        </p:spPr>
        <p:txBody>
          <a:bodyPr vert="horz" lIns="91440" tIns="45720" rIns="91440" bIns="45720" rtlCol="0">
            <a:noAutofit/>
          </a:bodyPr>
          <a:lstStyle>
            <a:lvl1pPr marL="171450" indent="-171450">
              <a:spcBef>
                <a:spcPts val="0"/>
              </a:spcBef>
              <a:buChar char="•"/>
              <a:defRPr lang="en-US" sz="1200" dirty="0">
                <a:solidFill>
                  <a:schemeClr val="bg1"/>
                </a:solidFill>
              </a:defRPr>
            </a:lvl1pPr>
          </a:lstStyle>
          <a:p>
            <a:pPr marL="171450" lvl="0" indent="-171450">
              <a:spcBef>
                <a:spcPts val="0"/>
              </a:spcBef>
              <a:buChar char="•"/>
            </a:pPr>
            <a:r>
              <a:rPr lang="nl-NL" noProof="0"/>
              <a:t>Klik om de modelstijlen te bewerken</a:t>
            </a:r>
          </a:p>
        </p:txBody>
      </p:sp>
      <p:sp>
        <p:nvSpPr>
          <p:cNvPr id="23" name="Tijdelijke aanduiding voor tekst 13"/>
          <p:cNvSpPr>
            <a:spLocks noGrp="1"/>
          </p:cNvSpPr>
          <p:nvPr>
            <p:ph type="body" sz="quarter" idx="18" hasCustomPrompt="1"/>
          </p:nvPr>
        </p:nvSpPr>
        <p:spPr bwMode="gray">
          <a:xfrm>
            <a:off x="8394700" y="1335905"/>
            <a:ext cx="2880000" cy="556591"/>
          </a:xfrm>
        </p:spPr>
        <p:txBody>
          <a:bodyPr/>
          <a:lstStyle>
            <a:lvl1pPr algn="l">
              <a:defRPr>
                <a:solidFill>
                  <a:schemeClr val="bg1"/>
                </a:solidFill>
              </a:defRPr>
            </a:lvl1pPr>
          </a:lstStyle>
          <a:p>
            <a:pPr lvl="0"/>
            <a:r>
              <a:rPr lang="nl-NL" noProof="0"/>
              <a:t>Klik hier</a:t>
            </a:r>
          </a:p>
        </p:txBody>
      </p:sp>
      <p:sp>
        <p:nvSpPr>
          <p:cNvPr id="24" name="Tijdelijke aanduiding voor tekst 17"/>
          <p:cNvSpPr>
            <a:spLocks noGrp="1"/>
          </p:cNvSpPr>
          <p:nvPr>
            <p:ph type="body" sz="quarter" idx="19"/>
          </p:nvPr>
        </p:nvSpPr>
        <p:spPr bwMode="gray">
          <a:xfrm>
            <a:off x="8394700" y="1892495"/>
            <a:ext cx="2880000" cy="766762"/>
          </a:xfrm>
        </p:spPr>
        <p:txBody>
          <a:bodyPr vert="horz" lIns="91440" tIns="45720" rIns="91440" bIns="45720" rtlCol="0">
            <a:noAutofit/>
          </a:bodyPr>
          <a:lstStyle>
            <a:lvl1pPr marL="171450" indent="-171450">
              <a:spcBef>
                <a:spcPts val="0"/>
              </a:spcBef>
              <a:buChar char="•"/>
              <a:defRPr lang="en-US" sz="1200" dirty="0">
                <a:solidFill>
                  <a:schemeClr val="bg1"/>
                </a:solidFill>
              </a:defRPr>
            </a:lvl1pPr>
          </a:lstStyle>
          <a:p>
            <a:pPr marL="171450" lvl="0" indent="-171450">
              <a:spcBef>
                <a:spcPts val="0"/>
              </a:spcBef>
              <a:buChar char="•"/>
            </a:pPr>
            <a:r>
              <a:rPr lang="nl-NL" noProof="0"/>
              <a:t>Klik om de modelstijlen te bewerken</a:t>
            </a:r>
          </a:p>
        </p:txBody>
      </p:sp>
      <p:sp>
        <p:nvSpPr>
          <p:cNvPr id="25" name="Tijdelijke aanduiding voor tekst 13"/>
          <p:cNvSpPr>
            <a:spLocks noGrp="1"/>
          </p:cNvSpPr>
          <p:nvPr>
            <p:ph type="body" sz="quarter" idx="20" hasCustomPrompt="1"/>
          </p:nvPr>
        </p:nvSpPr>
        <p:spPr bwMode="gray">
          <a:xfrm>
            <a:off x="4630153" y="1335905"/>
            <a:ext cx="2880000" cy="556591"/>
          </a:xfrm>
        </p:spPr>
        <p:txBody>
          <a:bodyPr/>
          <a:lstStyle>
            <a:lvl1pPr algn="l">
              <a:defRPr>
                <a:solidFill>
                  <a:schemeClr val="bg1"/>
                </a:solidFill>
              </a:defRPr>
            </a:lvl1pPr>
          </a:lstStyle>
          <a:p>
            <a:pPr lvl="0"/>
            <a:r>
              <a:rPr lang="nl-NL" noProof="0"/>
              <a:t>Klik hier</a:t>
            </a:r>
          </a:p>
        </p:txBody>
      </p:sp>
      <p:sp>
        <p:nvSpPr>
          <p:cNvPr id="26" name="Tijdelijke aanduiding voor tekst 17"/>
          <p:cNvSpPr>
            <a:spLocks noGrp="1"/>
          </p:cNvSpPr>
          <p:nvPr>
            <p:ph type="body" sz="quarter" idx="21"/>
          </p:nvPr>
        </p:nvSpPr>
        <p:spPr bwMode="gray">
          <a:xfrm>
            <a:off x="4630153" y="1892495"/>
            <a:ext cx="2880000" cy="766762"/>
          </a:xfrm>
        </p:spPr>
        <p:txBody>
          <a:bodyPr vert="horz" lIns="91440" tIns="45720" rIns="91440" bIns="45720" rtlCol="0">
            <a:noAutofit/>
          </a:bodyPr>
          <a:lstStyle>
            <a:lvl1pPr marL="171450" indent="-171450">
              <a:spcBef>
                <a:spcPts val="0"/>
              </a:spcBef>
              <a:buChar char="•"/>
              <a:defRPr lang="en-US" sz="1200" dirty="0">
                <a:solidFill>
                  <a:schemeClr val="bg1"/>
                </a:solidFill>
              </a:defRPr>
            </a:lvl1pPr>
          </a:lstStyle>
          <a:p>
            <a:pPr marL="171450" lvl="0" indent="-171450">
              <a:spcBef>
                <a:spcPts val="0"/>
              </a:spcBef>
              <a:buChar char="•"/>
            </a:pPr>
            <a:r>
              <a:rPr lang="nl-NL" noProof="0"/>
              <a:t>Klik om de modelstijlen te bewerken</a:t>
            </a:r>
          </a:p>
        </p:txBody>
      </p:sp>
      <p:sp>
        <p:nvSpPr>
          <p:cNvPr id="27" name="Tijdelijke aanduiding voor tekst 13"/>
          <p:cNvSpPr>
            <a:spLocks noGrp="1"/>
          </p:cNvSpPr>
          <p:nvPr>
            <p:ph type="body" sz="quarter" idx="22" hasCustomPrompt="1"/>
          </p:nvPr>
        </p:nvSpPr>
        <p:spPr bwMode="gray">
          <a:xfrm>
            <a:off x="737269" y="1335905"/>
            <a:ext cx="2880000" cy="556591"/>
          </a:xfrm>
        </p:spPr>
        <p:txBody>
          <a:bodyPr/>
          <a:lstStyle>
            <a:lvl1pPr algn="l">
              <a:defRPr>
                <a:solidFill>
                  <a:schemeClr val="bg1"/>
                </a:solidFill>
              </a:defRPr>
            </a:lvl1pPr>
          </a:lstStyle>
          <a:p>
            <a:pPr lvl="0"/>
            <a:r>
              <a:rPr lang="nl-NL" noProof="0"/>
              <a:t>Klik hier</a:t>
            </a:r>
          </a:p>
        </p:txBody>
      </p:sp>
      <p:sp>
        <p:nvSpPr>
          <p:cNvPr id="28" name="Tijdelijke aanduiding voor tekst 17"/>
          <p:cNvSpPr>
            <a:spLocks noGrp="1"/>
          </p:cNvSpPr>
          <p:nvPr>
            <p:ph type="body" sz="quarter" idx="23"/>
          </p:nvPr>
        </p:nvSpPr>
        <p:spPr bwMode="gray">
          <a:xfrm>
            <a:off x="737269" y="1892495"/>
            <a:ext cx="2880000" cy="766762"/>
          </a:xfrm>
        </p:spPr>
        <p:txBody>
          <a:bodyPr/>
          <a:lstStyle>
            <a:lvl1pPr marL="171450" indent="-171450" algn="l">
              <a:spcBef>
                <a:spcPts val="0"/>
              </a:spcBef>
              <a:buFont typeface="Arial" panose="020B0604020202020204" pitchFamily="34" charset="0"/>
              <a:buChar char="•"/>
              <a:defRPr sz="1200">
                <a:solidFill>
                  <a:schemeClr val="bg1"/>
                </a:solidFill>
              </a:defRPr>
            </a:lvl1pPr>
          </a:lstStyle>
          <a:p>
            <a:pPr lvl="0"/>
            <a:r>
              <a:rPr lang="nl-NL" noProof="0"/>
              <a:t>Klik om de modelstijlen te bewerken</a:t>
            </a:r>
          </a:p>
        </p:txBody>
      </p:sp>
      <p:grpSp>
        <p:nvGrpSpPr>
          <p:cNvPr id="40" name="Groep 39"/>
          <p:cNvGrpSpPr/>
          <p:nvPr userDrawn="1"/>
        </p:nvGrpSpPr>
        <p:grpSpPr>
          <a:xfrm>
            <a:off x="4398066" y="6768988"/>
            <a:ext cx="3497100" cy="89012"/>
            <a:chOff x="3298549" y="6768988"/>
            <a:chExt cx="2622825" cy="89012"/>
          </a:xfrm>
        </p:grpSpPr>
        <p:sp>
          <p:nvSpPr>
            <p:cNvPr id="41" name="Rechthoek 40"/>
            <p:cNvSpPr/>
            <p:nvPr/>
          </p:nvSpPr>
          <p:spPr>
            <a:xfrm>
              <a:off x="3298549" y="6768988"/>
              <a:ext cx="524565" cy="890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42" name="Rechthoek 41"/>
            <p:cNvSpPr/>
            <p:nvPr/>
          </p:nvSpPr>
          <p:spPr>
            <a:xfrm>
              <a:off x="3823114" y="6768988"/>
              <a:ext cx="524565" cy="8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43" name="Rechthoek 42"/>
            <p:cNvSpPr/>
            <p:nvPr/>
          </p:nvSpPr>
          <p:spPr>
            <a:xfrm>
              <a:off x="4347679" y="6768988"/>
              <a:ext cx="524565" cy="890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44" name="Rechthoek 43"/>
            <p:cNvSpPr/>
            <p:nvPr/>
          </p:nvSpPr>
          <p:spPr>
            <a:xfrm>
              <a:off x="4872244" y="6768988"/>
              <a:ext cx="524565" cy="890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45" name="Rechthoek 44"/>
            <p:cNvSpPr/>
            <p:nvPr/>
          </p:nvSpPr>
          <p:spPr>
            <a:xfrm>
              <a:off x="5396809" y="6768988"/>
              <a:ext cx="524565" cy="890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68" name="Tekstvak 67"/>
          <p:cNvSpPr txBox="1"/>
          <p:nvPr userDrawn="1"/>
        </p:nvSpPr>
        <p:spPr>
          <a:xfrm>
            <a:off x="-113408" y="-421452"/>
            <a:ext cx="4925184" cy="338554"/>
          </a:xfrm>
          <a:prstGeom prst="rect">
            <a:avLst/>
          </a:prstGeom>
          <a:noFill/>
        </p:spPr>
        <p:txBody>
          <a:bodyPr wrap="square" rtlCol="0">
            <a:spAutoFit/>
          </a:bodyPr>
          <a:lstStyle/>
          <a:p>
            <a:r>
              <a:rPr lang="nl-NL" sz="1600" b="1" noProof="0">
                <a:solidFill>
                  <a:schemeClr val="tx1"/>
                </a:solidFill>
              </a:rPr>
              <a:t>Kleurblokken met meerdere tekstkaders</a:t>
            </a:r>
          </a:p>
        </p:txBody>
      </p:sp>
      <p:grpSp>
        <p:nvGrpSpPr>
          <p:cNvPr id="90" name="Groep 89"/>
          <p:cNvGrpSpPr/>
          <p:nvPr userDrawn="1"/>
        </p:nvGrpSpPr>
        <p:grpSpPr>
          <a:xfrm>
            <a:off x="-3279573" y="5020705"/>
            <a:ext cx="3086613" cy="1841358"/>
            <a:chOff x="8427776" y="4654945"/>
            <a:chExt cx="2314960" cy="1841358"/>
          </a:xfrm>
        </p:grpSpPr>
        <p:grpSp>
          <p:nvGrpSpPr>
            <p:cNvPr id="91" name="Groep 90"/>
            <p:cNvGrpSpPr/>
            <p:nvPr userDrawn="1"/>
          </p:nvGrpSpPr>
          <p:grpSpPr>
            <a:xfrm>
              <a:off x="8432864" y="4781014"/>
              <a:ext cx="2309872" cy="1592662"/>
              <a:chOff x="-3092517" y="-83840"/>
              <a:chExt cx="3136706" cy="2509126"/>
            </a:xfrm>
          </p:grpSpPr>
          <p:sp>
            <p:nvSpPr>
              <p:cNvPr id="9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95" name="Ovaal 9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96" name="Ovaal 9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97" name="Ovaal 9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9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9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101" name="Ovaal 10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102" name="Ovaal 10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10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92" name="Rechte verbindingslijn 9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Rechte verbindingslijn 9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 name="Groep 64"/>
          <p:cNvGrpSpPr/>
          <p:nvPr userDrawn="1"/>
        </p:nvGrpSpPr>
        <p:grpSpPr>
          <a:xfrm>
            <a:off x="-3471145" y="-46322"/>
            <a:ext cx="3471145" cy="3781320"/>
            <a:chOff x="-2603359" y="-46322"/>
            <a:chExt cx="2603359" cy="3781320"/>
          </a:xfrm>
        </p:grpSpPr>
        <p:sp>
          <p:nvSpPr>
            <p:cNvPr id="66" name="Afgeronde rechthoek 65"/>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10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105"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106"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107"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108" name="Afgeronde rechthoek 107"/>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109" name="Rechthoek 108"/>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110" name="Rechte verbindingslijn 109"/>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112"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13"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14"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15"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16"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17" name="Afgeronde rechthoek 116"/>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18"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19"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20"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21"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22"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pic>
        <p:nvPicPr>
          <p:cNvPr id="67" name="Afbeelding 66"/>
          <p:cNvPicPr>
            <a:picLocks noChangeAspect="1"/>
          </p:cNvPicPr>
          <p:nvPr userDrawn="1"/>
        </p:nvPicPr>
        <p:blipFill>
          <a:blip r:embed="rId3"/>
          <a:stretch>
            <a:fillRect/>
          </a:stretch>
        </p:blipFill>
        <p:spPr>
          <a:xfrm>
            <a:off x="10624654" y="6391182"/>
            <a:ext cx="1018287" cy="216000"/>
          </a:xfrm>
          <a:prstGeom prst="rect">
            <a:avLst/>
          </a:prstGeom>
        </p:spPr>
      </p:pic>
    </p:spTree>
    <p:extLst>
      <p:ext uri="{BB962C8B-B14F-4D97-AF65-F5344CB8AC3E}">
        <p14:creationId xmlns:p14="http://schemas.microsoft.com/office/powerpoint/2010/main" val="22040346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leurblokken met foto / tekstkaders">
    <p:spTree>
      <p:nvGrpSpPr>
        <p:cNvPr id="1" name=""/>
        <p:cNvGrpSpPr/>
        <p:nvPr/>
      </p:nvGrpSpPr>
      <p:grpSpPr>
        <a:xfrm>
          <a:off x="0" y="0"/>
          <a:ext cx="0" cy="0"/>
          <a:chOff x="0" y="0"/>
          <a:chExt cx="0" cy="0"/>
        </a:xfrm>
      </p:grpSpPr>
      <p:pic>
        <p:nvPicPr>
          <p:cNvPr id="31" name="Afbeelding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3" y="0"/>
            <a:ext cx="12190095" cy="6858000"/>
          </a:xfrm>
          <a:prstGeom prst="rect">
            <a:avLst/>
          </a:prstGeom>
        </p:spPr>
      </p:pic>
      <p:sp>
        <p:nvSpPr>
          <p:cNvPr id="7" name="Rechthoek 6"/>
          <p:cNvSpPr/>
          <p:nvPr/>
        </p:nvSpPr>
        <p:spPr>
          <a:xfrm>
            <a:off x="2539806" y="159027"/>
            <a:ext cx="2359575" cy="23595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18" name="Rechthoek 17"/>
          <p:cNvSpPr/>
          <p:nvPr/>
        </p:nvSpPr>
        <p:spPr>
          <a:xfrm>
            <a:off x="7258957" y="159027"/>
            <a:ext cx="2359575" cy="23595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29" name="Rechthoek 28"/>
          <p:cNvSpPr/>
          <p:nvPr/>
        </p:nvSpPr>
        <p:spPr>
          <a:xfrm>
            <a:off x="180231" y="2518612"/>
            <a:ext cx="2359575" cy="23595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33" name="Rechthoek 32"/>
          <p:cNvSpPr/>
          <p:nvPr/>
        </p:nvSpPr>
        <p:spPr>
          <a:xfrm>
            <a:off x="4899382" y="2518612"/>
            <a:ext cx="2359575" cy="23595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35" name="Rechthoek 34"/>
          <p:cNvSpPr/>
          <p:nvPr/>
        </p:nvSpPr>
        <p:spPr>
          <a:xfrm>
            <a:off x="9618531" y="2518612"/>
            <a:ext cx="2359575" cy="23595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40" name="Tijdelijke aanduiding voor afbeelding 11"/>
          <p:cNvSpPr>
            <a:spLocks noGrp="1"/>
          </p:cNvSpPr>
          <p:nvPr>
            <p:ph type="pic" sz="quarter" idx="23"/>
          </p:nvPr>
        </p:nvSpPr>
        <p:spPr>
          <a:xfrm>
            <a:off x="7258051" y="2519364"/>
            <a:ext cx="2360083" cy="2359025"/>
          </a:xfrm>
        </p:spPr>
        <p:txBody>
          <a:bodyPr/>
          <a:lstStyle/>
          <a:p>
            <a:r>
              <a:rPr lang="nl-NL" noProof="0"/>
              <a:t>Klik op het pictogram als u een afbeelding wilt toevoegen</a:t>
            </a:r>
          </a:p>
        </p:txBody>
      </p:sp>
      <p:sp>
        <p:nvSpPr>
          <p:cNvPr id="41" name="Tijdelijke aanduiding voor afbeelding 11"/>
          <p:cNvSpPr>
            <a:spLocks noGrp="1"/>
          </p:cNvSpPr>
          <p:nvPr>
            <p:ph type="pic" sz="quarter" idx="24"/>
          </p:nvPr>
        </p:nvSpPr>
        <p:spPr>
          <a:xfrm>
            <a:off x="9618023" y="159027"/>
            <a:ext cx="2360083" cy="2359025"/>
          </a:xfrm>
        </p:spPr>
        <p:txBody>
          <a:bodyPr/>
          <a:lstStyle/>
          <a:p>
            <a:r>
              <a:rPr lang="nl-NL" noProof="0"/>
              <a:t>Klik op het pictogram als u een afbeelding wilt toevoegen</a:t>
            </a:r>
          </a:p>
        </p:txBody>
      </p:sp>
      <p:sp>
        <p:nvSpPr>
          <p:cNvPr id="42" name="Tijdelijke aanduiding voor afbeelding 11"/>
          <p:cNvSpPr>
            <a:spLocks noGrp="1"/>
          </p:cNvSpPr>
          <p:nvPr>
            <p:ph type="pic" sz="quarter" idx="25"/>
          </p:nvPr>
        </p:nvSpPr>
        <p:spPr>
          <a:xfrm>
            <a:off x="4899381" y="159027"/>
            <a:ext cx="2360083" cy="2359025"/>
          </a:xfrm>
        </p:spPr>
        <p:txBody>
          <a:bodyPr/>
          <a:lstStyle/>
          <a:p>
            <a:r>
              <a:rPr lang="nl-NL" noProof="0"/>
              <a:t>Klik op het pictogram als u een afbeelding wilt toevoegen</a:t>
            </a:r>
          </a:p>
        </p:txBody>
      </p:sp>
      <p:sp>
        <p:nvSpPr>
          <p:cNvPr id="43" name="Tijdelijke aanduiding voor afbeelding 11"/>
          <p:cNvSpPr>
            <a:spLocks noGrp="1"/>
          </p:cNvSpPr>
          <p:nvPr>
            <p:ph type="pic" sz="quarter" idx="26"/>
          </p:nvPr>
        </p:nvSpPr>
        <p:spPr>
          <a:xfrm>
            <a:off x="2539805" y="2519364"/>
            <a:ext cx="2360083" cy="2359025"/>
          </a:xfrm>
        </p:spPr>
        <p:txBody>
          <a:bodyPr/>
          <a:lstStyle/>
          <a:p>
            <a:r>
              <a:rPr lang="nl-NL" noProof="0"/>
              <a:t>Klik op het pictogram als u een afbeelding wilt toevoegen</a:t>
            </a:r>
          </a:p>
        </p:txBody>
      </p:sp>
      <p:sp>
        <p:nvSpPr>
          <p:cNvPr id="44" name="Tijdelijke aanduiding voor afbeelding 11"/>
          <p:cNvSpPr>
            <a:spLocks noGrp="1"/>
          </p:cNvSpPr>
          <p:nvPr>
            <p:ph type="pic" sz="quarter" idx="27"/>
          </p:nvPr>
        </p:nvSpPr>
        <p:spPr>
          <a:xfrm>
            <a:off x="180231" y="159027"/>
            <a:ext cx="2360083" cy="2359025"/>
          </a:xfrm>
        </p:spPr>
        <p:txBody>
          <a:bodyPr/>
          <a:lstStyle/>
          <a:p>
            <a:r>
              <a:rPr lang="nl-NL" noProof="0"/>
              <a:t>Klik op het pictogram als u een afbeelding wilt toevoegen</a:t>
            </a:r>
          </a:p>
        </p:txBody>
      </p:sp>
      <p:sp>
        <p:nvSpPr>
          <p:cNvPr id="11" name="Vrije vorm 10"/>
          <p:cNvSpPr/>
          <p:nvPr userDrawn="1"/>
        </p:nvSpPr>
        <p:spPr bwMode="gray">
          <a:xfrm>
            <a:off x="0" y="268"/>
            <a:ext cx="12192000" cy="6857464"/>
          </a:xfrm>
          <a:custGeom>
            <a:avLst/>
            <a:gdLst>
              <a:gd name="connsiteX0" fmla="*/ 0 w 9144000"/>
              <a:gd name="connsiteY0" fmla="*/ 0 h 6857464"/>
              <a:gd name="connsiteX1" fmla="*/ 9144000 w 9144000"/>
              <a:gd name="connsiteY1" fmla="*/ 0 h 6857464"/>
              <a:gd name="connsiteX2" fmla="*/ 9144000 w 9144000"/>
              <a:gd name="connsiteY2" fmla="*/ 6857464 h 6857464"/>
              <a:gd name="connsiteX3" fmla="*/ 0 w 9144000"/>
              <a:gd name="connsiteY3" fmla="*/ 6857464 h 6857464"/>
              <a:gd name="connsiteX4" fmla="*/ 0 w 9144000"/>
              <a:gd name="connsiteY4" fmla="*/ 0 h 6857464"/>
              <a:gd name="connsiteX5" fmla="*/ 262928 w 9144000"/>
              <a:gd name="connsiteY5" fmla="*/ 194285 h 6857464"/>
              <a:gd name="connsiteX6" fmla="*/ 175099 w 9144000"/>
              <a:gd name="connsiteY6" fmla="*/ 282114 h 6857464"/>
              <a:gd name="connsiteX7" fmla="*/ 175099 w 9144000"/>
              <a:gd name="connsiteY7" fmla="*/ 6526712 h 6857464"/>
              <a:gd name="connsiteX8" fmla="*/ 262928 w 9144000"/>
              <a:gd name="connsiteY8" fmla="*/ 6614541 h 6857464"/>
              <a:gd name="connsiteX9" fmla="*/ 8832434 w 9144000"/>
              <a:gd name="connsiteY9" fmla="*/ 6614541 h 6857464"/>
              <a:gd name="connsiteX10" fmla="*/ 8920263 w 9144000"/>
              <a:gd name="connsiteY10" fmla="*/ 6526712 h 6857464"/>
              <a:gd name="connsiteX11" fmla="*/ 8920263 w 9144000"/>
              <a:gd name="connsiteY11" fmla="*/ 282114 h 6857464"/>
              <a:gd name="connsiteX12" fmla="*/ 8832434 w 9144000"/>
              <a:gd name="connsiteY12" fmla="*/ 194285 h 6857464"/>
              <a:gd name="connsiteX13" fmla="*/ 262928 w 9144000"/>
              <a:gd name="connsiteY13" fmla="*/ 194285 h 685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6857464">
                <a:moveTo>
                  <a:pt x="0" y="0"/>
                </a:moveTo>
                <a:lnTo>
                  <a:pt x="9144000" y="0"/>
                </a:lnTo>
                <a:lnTo>
                  <a:pt x="9144000" y="6857464"/>
                </a:lnTo>
                <a:lnTo>
                  <a:pt x="0" y="6857464"/>
                </a:lnTo>
                <a:lnTo>
                  <a:pt x="0" y="0"/>
                </a:lnTo>
                <a:close/>
                <a:moveTo>
                  <a:pt x="262928" y="194285"/>
                </a:moveTo>
                <a:cubicBezTo>
                  <a:pt x="214421" y="194285"/>
                  <a:pt x="175099" y="233607"/>
                  <a:pt x="175099" y="282114"/>
                </a:cubicBezTo>
                <a:lnTo>
                  <a:pt x="175099" y="6526712"/>
                </a:lnTo>
                <a:cubicBezTo>
                  <a:pt x="175099" y="6575219"/>
                  <a:pt x="214421" y="6614541"/>
                  <a:pt x="262928" y="6614541"/>
                </a:cubicBezTo>
                <a:lnTo>
                  <a:pt x="8832434" y="6614541"/>
                </a:lnTo>
                <a:cubicBezTo>
                  <a:pt x="8880941" y="6614541"/>
                  <a:pt x="8920263" y="6575219"/>
                  <a:pt x="8920263" y="6526712"/>
                </a:cubicBezTo>
                <a:lnTo>
                  <a:pt x="8920263" y="282114"/>
                </a:lnTo>
                <a:cubicBezTo>
                  <a:pt x="8920263" y="233607"/>
                  <a:pt x="8880941" y="194285"/>
                  <a:pt x="8832434" y="194285"/>
                </a:cubicBezTo>
                <a:lnTo>
                  <a:pt x="262928" y="19428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800" noProof="0"/>
          </a:p>
        </p:txBody>
      </p:sp>
      <p:sp>
        <p:nvSpPr>
          <p:cNvPr id="14" name="Tijdelijke aanduiding voor tekst 13"/>
          <p:cNvSpPr>
            <a:spLocks noGrp="1"/>
          </p:cNvSpPr>
          <p:nvPr>
            <p:ph type="body" sz="quarter" idx="28"/>
          </p:nvPr>
        </p:nvSpPr>
        <p:spPr bwMode="gray">
          <a:xfrm>
            <a:off x="2666662" y="785813"/>
            <a:ext cx="2105861" cy="1547812"/>
          </a:xfrm>
        </p:spPr>
        <p:txBody>
          <a:bodyPr/>
          <a:lstStyle>
            <a:lvl1pPr>
              <a:defRPr sz="1200">
                <a:solidFill>
                  <a:schemeClr val="bg1"/>
                </a:solidFill>
              </a:defRPr>
            </a:lvl1pPr>
          </a:lstStyle>
          <a:p>
            <a:pPr lvl="0"/>
            <a:r>
              <a:rPr lang="nl-NL" noProof="0"/>
              <a:t>Klik om de modelstijlen te bewerken</a:t>
            </a:r>
          </a:p>
        </p:txBody>
      </p:sp>
      <p:sp>
        <p:nvSpPr>
          <p:cNvPr id="45" name="Tijdelijke aanduiding voor tekst 13"/>
          <p:cNvSpPr>
            <a:spLocks noGrp="1"/>
          </p:cNvSpPr>
          <p:nvPr>
            <p:ph type="body" sz="quarter" idx="29"/>
          </p:nvPr>
        </p:nvSpPr>
        <p:spPr bwMode="gray">
          <a:xfrm>
            <a:off x="7385812" y="785813"/>
            <a:ext cx="2105861" cy="1547812"/>
          </a:xfrm>
        </p:spPr>
        <p:txBody>
          <a:bodyPr/>
          <a:lstStyle>
            <a:lvl1pPr>
              <a:defRPr sz="1200">
                <a:solidFill>
                  <a:schemeClr val="bg1"/>
                </a:solidFill>
              </a:defRPr>
            </a:lvl1pPr>
          </a:lstStyle>
          <a:p>
            <a:pPr lvl="0"/>
            <a:r>
              <a:rPr lang="nl-NL" noProof="0"/>
              <a:t>Klik om de modelstijlen te bewerken</a:t>
            </a:r>
          </a:p>
        </p:txBody>
      </p:sp>
      <p:sp>
        <p:nvSpPr>
          <p:cNvPr id="46" name="Tijdelijke aanduiding voor tekst 13"/>
          <p:cNvSpPr>
            <a:spLocks noGrp="1"/>
          </p:cNvSpPr>
          <p:nvPr>
            <p:ph type="body" sz="quarter" idx="30"/>
          </p:nvPr>
        </p:nvSpPr>
        <p:spPr bwMode="gray">
          <a:xfrm>
            <a:off x="360560" y="3152024"/>
            <a:ext cx="2105861" cy="1547812"/>
          </a:xfrm>
        </p:spPr>
        <p:txBody>
          <a:bodyPr/>
          <a:lstStyle>
            <a:lvl1pPr>
              <a:defRPr sz="1200">
                <a:solidFill>
                  <a:schemeClr val="bg1"/>
                </a:solidFill>
              </a:defRPr>
            </a:lvl1pPr>
          </a:lstStyle>
          <a:p>
            <a:pPr lvl="0"/>
            <a:r>
              <a:rPr lang="nl-NL" noProof="0"/>
              <a:t>Klik om de modelstijlen te bewerken</a:t>
            </a:r>
          </a:p>
        </p:txBody>
      </p:sp>
      <p:sp>
        <p:nvSpPr>
          <p:cNvPr id="47" name="Tijdelijke aanduiding voor tekst 13"/>
          <p:cNvSpPr>
            <a:spLocks noGrp="1"/>
          </p:cNvSpPr>
          <p:nvPr>
            <p:ph type="body" sz="quarter" idx="31"/>
          </p:nvPr>
        </p:nvSpPr>
        <p:spPr bwMode="gray">
          <a:xfrm>
            <a:off x="5026238" y="3152024"/>
            <a:ext cx="2105861" cy="1547812"/>
          </a:xfrm>
        </p:spPr>
        <p:txBody>
          <a:bodyPr/>
          <a:lstStyle>
            <a:lvl1pPr>
              <a:defRPr sz="1200">
                <a:solidFill>
                  <a:schemeClr val="bg1"/>
                </a:solidFill>
              </a:defRPr>
            </a:lvl1pPr>
          </a:lstStyle>
          <a:p>
            <a:pPr lvl="0"/>
            <a:r>
              <a:rPr lang="nl-NL" noProof="0"/>
              <a:t>Klik om de modelstijlen te bewerken</a:t>
            </a:r>
          </a:p>
        </p:txBody>
      </p:sp>
      <p:sp>
        <p:nvSpPr>
          <p:cNvPr id="48" name="Tijdelijke aanduiding voor tekst 13"/>
          <p:cNvSpPr>
            <a:spLocks noGrp="1"/>
          </p:cNvSpPr>
          <p:nvPr>
            <p:ph type="body" sz="quarter" idx="32"/>
          </p:nvPr>
        </p:nvSpPr>
        <p:spPr bwMode="gray">
          <a:xfrm>
            <a:off x="9745387" y="3152024"/>
            <a:ext cx="2105861" cy="1547812"/>
          </a:xfrm>
        </p:spPr>
        <p:txBody>
          <a:bodyPr/>
          <a:lstStyle>
            <a:lvl1pPr>
              <a:defRPr sz="1200">
                <a:solidFill>
                  <a:schemeClr val="bg1"/>
                </a:solidFill>
              </a:defRPr>
            </a:lvl1pPr>
          </a:lstStyle>
          <a:p>
            <a:pPr lvl="0"/>
            <a:r>
              <a:rPr lang="nl-NL" noProof="0"/>
              <a:t>Klik om de modelstijlen te bewerken</a:t>
            </a:r>
          </a:p>
        </p:txBody>
      </p:sp>
      <p:sp>
        <p:nvSpPr>
          <p:cNvPr id="16" name="Tijdelijke aanduiding voor tekst 15"/>
          <p:cNvSpPr>
            <a:spLocks noGrp="1"/>
          </p:cNvSpPr>
          <p:nvPr>
            <p:ph type="body" sz="quarter" idx="33"/>
          </p:nvPr>
        </p:nvSpPr>
        <p:spPr>
          <a:xfrm>
            <a:off x="759773" y="5157788"/>
            <a:ext cx="10640484" cy="1018024"/>
          </a:xfrm>
        </p:spPr>
        <p:txBody>
          <a:bodyPr/>
          <a:lstStyle>
            <a:lvl1pPr>
              <a:spcBef>
                <a:spcPts val="0"/>
              </a:spcBef>
              <a:defRPr/>
            </a:lvl1pPr>
          </a:lstStyle>
          <a:p>
            <a:pPr lvl="0"/>
            <a:r>
              <a:rPr lang="nl-NL" noProof="0"/>
              <a:t>Klik om de modelstijlen te bewerken</a:t>
            </a:r>
          </a:p>
        </p:txBody>
      </p:sp>
      <p:grpSp>
        <p:nvGrpSpPr>
          <p:cNvPr id="52" name="Groep 51"/>
          <p:cNvGrpSpPr/>
          <p:nvPr userDrawn="1"/>
        </p:nvGrpSpPr>
        <p:grpSpPr>
          <a:xfrm>
            <a:off x="4398066" y="6768988"/>
            <a:ext cx="3497100" cy="89012"/>
            <a:chOff x="3298549" y="6768988"/>
            <a:chExt cx="2622825" cy="89012"/>
          </a:xfrm>
        </p:grpSpPr>
        <p:sp>
          <p:nvSpPr>
            <p:cNvPr id="53" name="Rechthoek 52"/>
            <p:cNvSpPr/>
            <p:nvPr/>
          </p:nvSpPr>
          <p:spPr>
            <a:xfrm>
              <a:off x="3298549" y="6768988"/>
              <a:ext cx="524565" cy="890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54" name="Rechthoek 53"/>
            <p:cNvSpPr/>
            <p:nvPr/>
          </p:nvSpPr>
          <p:spPr>
            <a:xfrm>
              <a:off x="3823114" y="6768988"/>
              <a:ext cx="524565" cy="8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55" name="Rechthoek 54"/>
            <p:cNvSpPr/>
            <p:nvPr/>
          </p:nvSpPr>
          <p:spPr>
            <a:xfrm>
              <a:off x="4347679" y="6768988"/>
              <a:ext cx="524565" cy="890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56" name="Rechthoek 55"/>
            <p:cNvSpPr/>
            <p:nvPr/>
          </p:nvSpPr>
          <p:spPr>
            <a:xfrm>
              <a:off x="4872244" y="6768988"/>
              <a:ext cx="524565" cy="890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57" name="Rechthoek 56"/>
            <p:cNvSpPr/>
            <p:nvPr/>
          </p:nvSpPr>
          <p:spPr>
            <a:xfrm>
              <a:off x="5396809" y="6768988"/>
              <a:ext cx="524565" cy="890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82" name="Tekstvak 81"/>
          <p:cNvSpPr txBox="1"/>
          <p:nvPr userDrawn="1"/>
        </p:nvSpPr>
        <p:spPr>
          <a:xfrm>
            <a:off x="-113409" y="-421452"/>
            <a:ext cx="5012788" cy="338554"/>
          </a:xfrm>
          <a:prstGeom prst="rect">
            <a:avLst/>
          </a:prstGeom>
          <a:noFill/>
        </p:spPr>
        <p:txBody>
          <a:bodyPr wrap="square" rtlCol="0">
            <a:spAutoFit/>
          </a:bodyPr>
          <a:lstStyle/>
          <a:p>
            <a:r>
              <a:rPr lang="nl-NL" sz="1600" b="1" noProof="0">
                <a:solidFill>
                  <a:schemeClr val="tx1"/>
                </a:solidFill>
              </a:rPr>
              <a:t>Kleurblokken met foto / tekstkaders</a:t>
            </a:r>
          </a:p>
        </p:txBody>
      </p:sp>
      <p:grpSp>
        <p:nvGrpSpPr>
          <p:cNvPr id="104" name="Groep 103"/>
          <p:cNvGrpSpPr/>
          <p:nvPr userDrawn="1"/>
        </p:nvGrpSpPr>
        <p:grpSpPr>
          <a:xfrm>
            <a:off x="-3279573" y="5020705"/>
            <a:ext cx="3086613" cy="1841358"/>
            <a:chOff x="8427776" y="4654945"/>
            <a:chExt cx="2314960" cy="1841358"/>
          </a:xfrm>
        </p:grpSpPr>
        <p:grpSp>
          <p:nvGrpSpPr>
            <p:cNvPr id="105" name="Groep 104"/>
            <p:cNvGrpSpPr/>
            <p:nvPr userDrawn="1"/>
          </p:nvGrpSpPr>
          <p:grpSpPr>
            <a:xfrm>
              <a:off x="8432864" y="4781014"/>
              <a:ext cx="2309872" cy="1592662"/>
              <a:chOff x="-3092517" y="-83840"/>
              <a:chExt cx="3136706" cy="2509126"/>
            </a:xfrm>
          </p:grpSpPr>
          <p:sp>
            <p:nvSpPr>
              <p:cNvPr id="108"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9" name="Ovaal 108"/>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110" name="Ovaal 109"/>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111" name="Ovaal 110"/>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112"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13"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14"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115" name="Ovaal 114"/>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116" name="Ovaal 115"/>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117"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3"/>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106" name="Rechte verbindingslijn 105"/>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5"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66"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68" name="Groep 67"/>
          <p:cNvGrpSpPr/>
          <p:nvPr userDrawn="1"/>
        </p:nvGrpSpPr>
        <p:grpSpPr>
          <a:xfrm>
            <a:off x="-3471145" y="-46322"/>
            <a:ext cx="3471145" cy="3781320"/>
            <a:chOff x="-2603359" y="-46322"/>
            <a:chExt cx="2603359" cy="3781320"/>
          </a:xfrm>
        </p:grpSpPr>
        <p:sp>
          <p:nvSpPr>
            <p:cNvPr id="69" name="Afgeronde rechthoek 68"/>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70"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71"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72"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73"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74" name="Afgeronde rechthoek 73"/>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75" name="Rechthoek 74"/>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76" name="Rechte verbindingslijn 75"/>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78"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79"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80"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81"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18"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19" name="Afgeronde rechthoek 118"/>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20"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21"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22"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23"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24"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pic>
        <p:nvPicPr>
          <p:cNvPr id="67" name="Afbeelding 66"/>
          <p:cNvPicPr>
            <a:picLocks noChangeAspect="1"/>
          </p:cNvPicPr>
          <p:nvPr userDrawn="1"/>
        </p:nvPicPr>
        <p:blipFill>
          <a:blip r:embed="rId4"/>
          <a:stretch>
            <a:fillRect/>
          </a:stretch>
        </p:blipFill>
        <p:spPr>
          <a:xfrm>
            <a:off x="10624654" y="6391182"/>
            <a:ext cx="1018287" cy="216000"/>
          </a:xfrm>
          <a:prstGeom prst="rect">
            <a:avLst/>
          </a:prstGeom>
        </p:spPr>
      </p:pic>
    </p:spTree>
    <p:extLst>
      <p:ext uri="{BB962C8B-B14F-4D97-AF65-F5344CB8AC3E}">
        <p14:creationId xmlns:p14="http://schemas.microsoft.com/office/powerpoint/2010/main" val="18126061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noProof="0"/>
          </a:p>
        </p:txBody>
      </p:sp>
      <p:sp>
        <p:nvSpPr>
          <p:cNvPr id="4" name="Slide Number Placeholder 3"/>
          <p:cNvSpPr>
            <a:spLocks noGrp="1"/>
          </p:cNvSpPr>
          <p:nvPr>
            <p:ph type="sldNum" sz="quarter" idx="12"/>
          </p:nvPr>
        </p:nvSpPr>
        <p:spPr/>
        <p:txBody>
          <a:bodyPr/>
          <a:lstStyle/>
          <a:p>
            <a:fld id="{8A87A398-2B52-41CE-AD18-FB681F1DBEA6}" type="slidenum">
              <a:rPr lang="nl-NL" noProof="0" smtClean="0"/>
              <a:t>‹#›</a:t>
            </a:fld>
            <a:endParaRPr lang="nl-NL" noProof="0"/>
          </a:p>
        </p:txBody>
      </p:sp>
      <p:sp>
        <p:nvSpPr>
          <p:cNvPr id="36" name="Tekstvak 35"/>
          <p:cNvSpPr txBox="1"/>
          <p:nvPr userDrawn="1"/>
        </p:nvSpPr>
        <p:spPr>
          <a:xfrm>
            <a:off x="-113409" y="-421452"/>
            <a:ext cx="5012788" cy="338554"/>
          </a:xfrm>
          <a:prstGeom prst="rect">
            <a:avLst/>
          </a:prstGeom>
          <a:noFill/>
        </p:spPr>
        <p:txBody>
          <a:bodyPr wrap="square" rtlCol="0">
            <a:spAutoFit/>
          </a:bodyPr>
          <a:lstStyle/>
          <a:p>
            <a:r>
              <a:rPr lang="nl-NL" sz="1600" b="1" noProof="0">
                <a:solidFill>
                  <a:schemeClr val="tx1"/>
                </a:solidFill>
              </a:rPr>
              <a:t>Leeg</a:t>
            </a:r>
          </a:p>
        </p:txBody>
      </p:sp>
      <p:grpSp>
        <p:nvGrpSpPr>
          <p:cNvPr id="58" name="Groep 57"/>
          <p:cNvGrpSpPr/>
          <p:nvPr userDrawn="1"/>
        </p:nvGrpSpPr>
        <p:grpSpPr>
          <a:xfrm>
            <a:off x="-3279573" y="5020705"/>
            <a:ext cx="3086613" cy="1841358"/>
            <a:chOff x="8427776" y="4654945"/>
            <a:chExt cx="2314960" cy="1841358"/>
          </a:xfrm>
        </p:grpSpPr>
        <p:grpSp>
          <p:nvGrpSpPr>
            <p:cNvPr id="59" name="Groep 58"/>
            <p:cNvGrpSpPr/>
            <p:nvPr userDrawn="1"/>
          </p:nvGrpSpPr>
          <p:grpSpPr>
            <a:xfrm>
              <a:off x="8432864" y="4781014"/>
              <a:ext cx="2309872" cy="1592662"/>
              <a:chOff x="-3092517" y="-83840"/>
              <a:chExt cx="3136706" cy="2509126"/>
            </a:xfrm>
          </p:grpSpPr>
          <p:sp>
            <p:nvSpPr>
              <p:cNvPr id="62"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63" name="Ovaal 62"/>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64" name="Ovaal 63"/>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65" name="Ovaal 64"/>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66"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67"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68"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69" name="Ovaal 68"/>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70" name="Ovaal 69"/>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71"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60" name="Rechte verbindingslijn 59"/>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oep 71"/>
          <p:cNvGrpSpPr/>
          <p:nvPr userDrawn="1"/>
        </p:nvGrpSpPr>
        <p:grpSpPr>
          <a:xfrm>
            <a:off x="-3471145" y="-46322"/>
            <a:ext cx="3471145" cy="3781320"/>
            <a:chOff x="-2603359" y="-46322"/>
            <a:chExt cx="2603359" cy="3781320"/>
          </a:xfrm>
        </p:grpSpPr>
        <p:sp>
          <p:nvSpPr>
            <p:cNvPr id="73" name="Afgeronde rechthoek 7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7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75"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76"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77"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78" name="Afgeronde rechthoek 77"/>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79" name="Rechthoek 78"/>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80" name="Rechte verbindingslijn 79"/>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82"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83"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84"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85"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86"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87" name="Afgeronde rechthoek 86"/>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88"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89"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90"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91"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92"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12666530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indpagina">
    <p:spTree>
      <p:nvGrpSpPr>
        <p:cNvPr id="1" name=""/>
        <p:cNvGrpSpPr/>
        <p:nvPr/>
      </p:nvGrpSpPr>
      <p:grpSpPr>
        <a:xfrm>
          <a:off x="0" y="0"/>
          <a:ext cx="0" cy="0"/>
          <a:chOff x="0" y="0"/>
          <a:chExt cx="0" cy="0"/>
        </a:xfrm>
      </p:grpSpPr>
      <p:sp>
        <p:nvSpPr>
          <p:cNvPr id="8" name="Title 1"/>
          <p:cNvSpPr>
            <a:spLocks noGrp="1"/>
          </p:cNvSpPr>
          <p:nvPr>
            <p:ph type="ctrTitle"/>
          </p:nvPr>
        </p:nvSpPr>
        <p:spPr>
          <a:xfrm>
            <a:off x="470569" y="769938"/>
            <a:ext cx="10363200" cy="2387600"/>
          </a:xfrm>
        </p:spPr>
        <p:txBody>
          <a:bodyPr vert="horz" lIns="91440" tIns="45720" rIns="91440" bIns="45720" rtlCol="0" anchor="b">
            <a:noAutofit/>
          </a:bodyPr>
          <a:lstStyle>
            <a:lvl1pPr>
              <a:lnSpc>
                <a:spcPts val="10000"/>
              </a:lnSpc>
              <a:defRPr lang="en-US" sz="8800" b="1" dirty="0">
                <a:solidFill>
                  <a:schemeClr val="tx1"/>
                </a:solidFill>
                <a:latin typeface="+mn-lt"/>
              </a:defRPr>
            </a:lvl1pPr>
          </a:lstStyle>
          <a:p>
            <a:pPr lvl="0"/>
            <a:r>
              <a:rPr lang="nl-NL" noProof="0"/>
              <a:t>Klik om de stijl te bewerken</a:t>
            </a:r>
          </a:p>
        </p:txBody>
      </p:sp>
      <p:sp>
        <p:nvSpPr>
          <p:cNvPr id="9" name="Subtitle 2"/>
          <p:cNvSpPr>
            <a:spLocks noGrp="1"/>
          </p:cNvSpPr>
          <p:nvPr>
            <p:ph type="subTitle" idx="1"/>
          </p:nvPr>
        </p:nvSpPr>
        <p:spPr>
          <a:xfrm>
            <a:off x="502653" y="3325813"/>
            <a:ext cx="9144000" cy="1655762"/>
          </a:xfrm>
        </p:spPr>
        <p:txBody>
          <a:bodyPr vert="horz" lIns="91440" tIns="45720" rIns="91440" bIns="45720" rtlCol="0">
            <a:normAutofit/>
          </a:bodyPr>
          <a:lstStyle>
            <a:lvl1pPr marL="228600" indent="-228600">
              <a:lnSpc>
                <a:spcPct val="100000"/>
              </a:lnSpc>
              <a:buNone/>
              <a:defRPr lang="en-US" sz="2800" dirty="0">
                <a:solidFill>
                  <a:schemeClr val="tx1"/>
                </a:solidFill>
              </a:defRPr>
            </a:lvl1pPr>
          </a:lstStyle>
          <a:p>
            <a:pPr marL="0" lvl="0" indent="0"/>
            <a:r>
              <a:rPr lang="nl-NL" noProof="0"/>
              <a:t>Klik om de ondertitelstijl van het model te bewerken</a:t>
            </a:r>
          </a:p>
        </p:txBody>
      </p:sp>
      <p:sp>
        <p:nvSpPr>
          <p:cNvPr id="10" name="Tijdelijke aanduiding voor tekst 8"/>
          <p:cNvSpPr>
            <a:spLocks noGrp="1"/>
          </p:cNvSpPr>
          <p:nvPr>
            <p:ph type="body" sz="quarter" idx="13" hasCustomPrompt="1"/>
          </p:nvPr>
        </p:nvSpPr>
        <p:spPr>
          <a:xfrm>
            <a:off x="502653" y="4985085"/>
            <a:ext cx="4831348" cy="356937"/>
          </a:xfrm>
        </p:spPr>
        <p:txBody>
          <a:bodyPr>
            <a:noAutofit/>
          </a:bodyPr>
          <a:lstStyle>
            <a:lvl1pPr marL="0" indent="0">
              <a:lnSpc>
                <a:spcPct val="100000"/>
              </a:lnSpc>
              <a:buNone/>
              <a:defRPr sz="1400" b="1">
                <a:solidFill>
                  <a:schemeClr val="tx1"/>
                </a:solidFill>
              </a:defRPr>
            </a:lvl1pPr>
            <a:lvl2pPr marL="457200" indent="0">
              <a:buNone/>
              <a:defRPr sz="1200" b="1"/>
            </a:lvl2pPr>
            <a:lvl3pPr marL="914400" indent="0">
              <a:buNone/>
              <a:defRPr sz="1100" b="1"/>
            </a:lvl3pPr>
            <a:lvl4pPr marL="1371600" indent="0">
              <a:buNone/>
              <a:defRPr sz="1050" b="1"/>
            </a:lvl4pPr>
            <a:lvl5pPr marL="1828800" indent="0">
              <a:buNone/>
              <a:defRPr sz="1050" b="1"/>
            </a:lvl5pPr>
          </a:lstStyle>
          <a:p>
            <a:pPr lvl="0"/>
            <a:r>
              <a:rPr lang="nl-NL" noProof="0"/>
              <a:t>Naam</a:t>
            </a:r>
          </a:p>
        </p:txBody>
      </p:sp>
      <p:sp>
        <p:nvSpPr>
          <p:cNvPr id="11" name="Text Placeholder 28"/>
          <p:cNvSpPr>
            <a:spLocks noGrp="1"/>
          </p:cNvSpPr>
          <p:nvPr>
            <p:ph type="body" sz="quarter" idx="15" hasCustomPrompt="1"/>
          </p:nvPr>
        </p:nvSpPr>
        <p:spPr>
          <a:xfrm>
            <a:off x="502653" y="5350543"/>
            <a:ext cx="4831348" cy="344404"/>
          </a:xfrm>
        </p:spPr>
        <p:txBody>
          <a:bodyPr vert="horz" lIns="91440" tIns="45720" rIns="91440" bIns="45720" rtlCol="0">
            <a:noAutofit/>
          </a:bodyPr>
          <a:lstStyle>
            <a:lvl1pPr>
              <a:defRPr lang="en-US" sz="1400" b="0" noProof="0" dirty="0">
                <a:solidFill>
                  <a:schemeClr val="tx1"/>
                </a:solidFill>
              </a:defRPr>
            </a:lvl1pPr>
          </a:lstStyle>
          <a:p>
            <a:pPr lvl="0"/>
            <a:r>
              <a:rPr lang="nl-NL" noProof="0" err="1"/>
              <a:t>Place</a:t>
            </a:r>
            <a:r>
              <a:rPr lang="nl-NL" noProof="0"/>
              <a:t>, date 2016</a:t>
            </a:r>
          </a:p>
        </p:txBody>
      </p:sp>
      <p:grpSp>
        <p:nvGrpSpPr>
          <p:cNvPr id="18" name="Groep 17"/>
          <p:cNvGrpSpPr/>
          <p:nvPr userDrawn="1"/>
        </p:nvGrpSpPr>
        <p:grpSpPr>
          <a:xfrm>
            <a:off x="652381" y="3124673"/>
            <a:ext cx="3497100" cy="89012"/>
            <a:chOff x="3298549" y="6768988"/>
            <a:chExt cx="2622825" cy="89012"/>
          </a:xfrm>
        </p:grpSpPr>
        <p:sp>
          <p:nvSpPr>
            <p:cNvPr id="19" name="Rechthoek 18"/>
            <p:cNvSpPr/>
            <p:nvPr/>
          </p:nvSpPr>
          <p:spPr>
            <a:xfrm>
              <a:off x="3298549" y="6768988"/>
              <a:ext cx="524565" cy="890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0" name="Rechthoek 19"/>
            <p:cNvSpPr/>
            <p:nvPr/>
          </p:nvSpPr>
          <p:spPr>
            <a:xfrm>
              <a:off x="3823114" y="6768988"/>
              <a:ext cx="524565" cy="8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 name="Rechthoek 20"/>
            <p:cNvSpPr/>
            <p:nvPr/>
          </p:nvSpPr>
          <p:spPr>
            <a:xfrm>
              <a:off x="4347679" y="6768988"/>
              <a:ext cx="524565" cy="890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2" name="Rechthoek 21"/>
            <p:cNvSpPr/>
            <p:nvPr/>
          </p:nvSpPr>
          <p:spPr>
            <a:xfrm>
              <a:off x="4872244" y="6768988"/>
              <a:ext cx="524565" cy="890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3" name="Rechthoek 22"/>
            <p:cNvSpPr/>
            <p:nvPr/>
          </p:nvSpPr>
          <p:spPr>
            <a:xfrm>
              <a:off x="5396809" y="6768988"/>
              <a:ext cx="524565" cy="890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55" name="Tekstvak 54"/>
          <p:cNvSpPr txBox="1"/>
          <p:nvPr userDrawn="1"/>
        </p:nvSpPr>
        <p:spPr>
          <a:xfrm>
            <a:off x="-113409" y="-421452"/>
            <a:ext cx="5012788" cy="338554"/>
          </a:xfrm>
          <a:prstGeom prst="rect">
            <a:avLst/>
          </a:prstGeom>
          <a:noFill/>
        </p:spPr>
        <p:txBody>
          <a:bodyPr wrap="square" rtlCol="0">
            <a:spAutoFit/>
          </a:bodyPr>
          <a:lstStyle/>
          <a:p>
            <a:r>
              <a:rPr lang="nl-NL" sz="1600" b="1" noProof="0">
                <a:solidFill>
                  <a:schemeClr val="tx1"/>
                </a:solidFill>
              </a:rPr>
              <a:t>Eindpagina</a:t>
            </a:r>
          </a:p>
        </p:txBody>
      </p:sp>
      <p:grpSp>
        <p:nvGrpSpPr>
          <p:cNvPr id="40" name="Groep 39"/>
          <p:cNvGrpSpPr/>
          <p:nvPr userDrawn="1"/>
        </p:nvGrpSpPr>
        <p:grpSpPr>
          <a:xfrm>
            <a:off x="-3279573" y="5384719"/>
            <a:ext cx="3086613" cy="1458586"/>
            <a:chOff x="8427776" y="5346061"/>
            <a:chExt cx="2314960" cy="1458586"/>
          </a:xfrm>
        </p:grpSpPr>
        <p:grpSp>
          <p:nvGrpSpPr>
            <p:cNvPr id="41" name="Groep 40"/>
            <p:cNvGrpSpPr/>
            <p:nvPr userDrawn="1"/>
          </p:nvGrpSpPr>
          <p:grpSpPr>
            <a:xfrm>
              <a:off x="8432864" y="5461497"/>
              <a:ext cx="2309872" cy="1243698"/>
              <a:chOff x="-3092517" y="988213"/>
              <a:chExt cx="3136706" cy="1959358"/>
            </a:xfrm>
          </p:grpSpPr>
          <p:sp>
            <p:nvSpPr>
              <p:cNvPr id="4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88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45" name="Ovaal 4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46" name="Ovaal 4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47" name="Ovaal 4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4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Ondertitel (2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49" name="Textfield placeholder"/>
              <p:cNvSpPr txBox="1">
                <a:spLocks/>
              </p:cNvSpPr>
              <p:nvPr userDrawn="1"/>
            </p:nvSpPr>
            <p:spPr>
              <a:xfrm>
                <a:off x="-2658624" y="2089368"/>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2387" lvl="0" indent="0" algn="l" defTabSz="914400" rtl="0" eaLnBrk="1" latinLnBrk="0" hangingPunct="1">
                  <a:lnSpc>
                    <a:spcPct val="100000"/>
                  </a:lnSpc>
                  <a:spcBef>
                    <a:spcPts val="0"/>
                  </a:spcBef>
                  <a:spcAft>
                    <a:spcPts val="600"/>
                  </a:spcAft>
                  <a:buClr>
                    <a:schemeClr val="tx1"/>
                  </a:buClr>
                  <a:buFont typeface="Arial" panose="020B0604020202020204" pitchFamily="34" charset="0"/>
                  <a:buNone/>
                  <a:tabLst>
                    <a:tab pos="4394200" algn="l"/>
                  </a:tabLst>
                </a:pPr>
                <a:r>
                  <a:rPr lang="nl-NL" sz="1400" b="1" kern="1200" noProof="0">
                    <a:solidFill>
                      <a:schemeClr val="accent1"/>
                    </a:solidFill>
                    <a:latin typeface="+mn-lt"/>
                    <a:ea typeface="+mn-ea"/>
                    <a:cs typeface="+mn-cs"/>
                  </a:rPr>
                  <a:t>Naam tekst </a:t>
                </a:r>
                <a:r>
                  <a:rPr lang="nl-NL" sz="1400" b="1" kern="1200" noProof="0" err="1">
                    <a:solidFill>
                      <a:schemeClr val="accent1"/>
                    </a:solidFill>
                    <a:latin typeface="+mn-lt"/>
                    <a:ea typeface="+mn-ea"/>
                    <a:cs typeface="+mn-cs"/>
                  </a:rPr>
                  <a:t>bold</a:t>
                </a:r>
                <a:r>
                  <a:rPr lang="nl-NL" sz="1400" b="1" kern="1200" noProof="0">
                    <a:solidFill>
                      <a:schemeClr val="accent1"/>
                    </a:solidFill>
                    <a:latin typeface="+mn-lt"/>
                    <a:ea typeface="+mn-ea"/>
                    <a:cs typeface="+mn-cs"/>
                  </a:rPr>
                  <a:t> (14 </a:t>
                </a:r>
                <a:r>
                  <a:rPr lang="nl-NL" sz="1400" b="1" kern="1200" noProof="0" err="1">
                    <a:solidFill>
                      <a:schemeClr val="accent1"/>
                    </a:solidFill>
                    <a:latin typeface="+mn-lt"/>
                    <a:ea typeface="+mn-ea"/>
                    <a:cs typeface="+mn-cs"/>
                  </a:rPr>
                  <a:t>pt</a:t>
                </a:r>
                <a:r>
                  <a:rPr lang="nl-NL" sz="1400" b="1" kern="1200" noProof="0">
                    <a:solidFill>
                      <a:schemeClr val="accent1"/>
                    </a:solidFill>
                    <a:latin typeface="+mn-lt"/>
                    <a:ea typeface="+mn-ea"/>
                    <a:cs typeface="+mn-cs"/>
                  </a:rPr>
                  <a:t>.)</a:t>
                </a:r>
              </a:p>
            </p:txBody>
          </p:sp>
          <p:sp>
            <p:nvSpPr>
              <p:cNvPr id="50" name="Ovaal 49"/>
              <p:cNvSpPr/>
              <p:nvPr userDrawn="1"/>
            </p:nvSpPr>
            <p:spPr>
              <a:xfrm>
                <a:off x="-3092517" y="2569679"/>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51" name="Textfield placeholder"/>
              <p:cNvSpPr txBox="1">
                <a:spLocks/>
              </p:cNvSpPr>
              <p:nvPr userDrawn="1"/>
            </p:nvSpPr>
            <p:spPr>
              <a:xfrm>
                <a:off x="-2658624" y="2611653"/>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2387" lvl="0" indent="0" algn="l" defTabSz="914400" rtl="0" eaLnBrk="1" latinLnBrk="0" hangingPunct="1">
                  <a:lnSpc>
                    <a:spcPct val="100000"/>
                  </a:lnSpc>
                  <a:spcBef>
                    <a:spcPts val="0"/>
                  </a:spcBef>
                  <a:spcAft>
                    <a:spcPts val="600"/>
                  </a:spcAft>
                  <a:buClr>
                    <a:schemeClr val="tx1"/>
                  </a:buClr>
                  <a:buFont typeface="Arial" panose="020B0604020202020204" pitchFamily="34" charset="0"/>
                  <a:buNone/>
                  <a:tabLst>
                    <a:tab pos="4394200" algn="l"/>
                  </a:tabLst>
                </a:pPr>
                <a:r>
                  <a:rPr lang="nl-NL" sz="1400" b="0" kern="1200" noProof="0">
                    <a:solidFill>
                      <a:schemeClr val="accent1"/>
                    </a:solidFill>
                    <a:latin typeface="+mn-lt"/>
                    <a:ea typeface="+mn-ea"/>
                    <a:cs typeface="+mn-cs"/>
                  </a:rPr>
                  <a:t>Plaats tekst (14 </a:t>
                </a:r>
                <a:r>
                  <a:rPr lang="nl-NL" sz="1400" b="0" kern="1200" noProof="0" err="1">
                    <a:solidFill>
                      <a:schemeClr val="accent1"/>
                    </a:solidFill>
                    <a:latin typeface="+mn-lt"/>
                    <a:ea typeface="+mn-ea"/>
                    <a:cs typeface="+mn-cs"/>
                  </a:rPr>
                  <a:t>pt</a:t>
                </a:r>
                <a:r>
                  <a:rPr lang="nl-NL" sz="1400" b="0" kern="1200" noProof="0">
                    <a:solidFill>
                      <a:schemeClr val="accent1"/>
                    </a:solidFill>
                    <a:latin typeface="+mn-lt"/>
                    <a:ea typeface="+mn-ea"/>
                    <a:cs typeface="+mn-cs"/>
                  </a:rPr>
                  <a:t>.)</a:t>
                </a:r>
              </a:p>
            </p:txBody>
          </p:sp>
        </p:grpSp>
        <p:cxnSp>
          <p:nvCxnSpPr>
            <p:cNvPr id="42" name="Rechte verbindingslijn 41"/>
            <p:cNvCxnSpPr/>
            <p:nvPr userDrawn="1"/>
          </p:nvCxnSpPr>
          <p:spPr>
            <a:xfrm>
              <a:off x="8427776" y="5346061"/>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p:cNvCxnSpPr/>
            <p:nvPr userDrawn="1"/>
          </p:nvCxnSpPr>
          <p:spPr>
            <a:xfrm>
              <a:off x="8427776" y="6804647"/>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2" name="Groep 51"/>
          <p:cNvGrpSpPr/>
          <p:nvPr userDrawn="1"/>
        </p:nvGrpSpPr>
        <p:grpSpPr>
          <a:xfrm>
            <a:off x="-3471145"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54"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56"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7"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58"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59" name="Afgeronde rechthoek 58"/>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60" name="Rechthoek 59"/>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61" name="Rechte verbindingslijn 60"/>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63"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64"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65"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66"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67"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68" name="Afgeronde rechthoek 67"/>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69"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70"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71"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72"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73"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
        <p:nvSpPr>
          <p:cNvPr id="2" name="Rechthoek 1"/>
          <p:cNvSpPr/>
          <p:nvPr userDrawn="1"/>
        </p:nvSpPr>
        <p:spPr bwMode="gray">
          <a:xfrm>
            <a:off x="4233334" y="6717208"/>
            <a:ext cx="3781777" cy="140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5650940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Eindpagina">
    <p:spTree>
      <p:nvGrpSpPr>
        <p:cNvPr id="1" name=""/>
        <p:cNvGrpSpPr/>
        <p:nvPr/>
      </p:nvGrpSpPr>
      <p:grpSpPr>
        <a:xfrm>
          <a:off x="0" y="0"/>
          <a:ext cx="0" cy="0"/>
          <a:chOff x="0" y="0"/>
          <a:chExt cx="0" cy="0"/>
        </a:xfrm>
      </p:grpSpPr>
      <p:sp>
        <p:nvSpPr>
          <p:cNvPr id="8" name="Title 1"/>
          <p:cNvSpPr>
            <a:spLocks noGrp="1"/>
          </p:cNvSpPr>
          <p:nvPr>
            <p:ph type="ctrTitle"/>
          </p:nvPr>
        </p:nvSpPr>
        <p:spPr>
          <a:xfrm>
            <a:off x="470569" y="769938"/>
            <a:ext cx="10363200" cy="2387600"/>
          </a:xfrm>
        </p:spPr>
        <p:txBody>
          <a:bodyPr vert="horz" wrap="square" lIns="91440" tIns="45720" rIns="91440" bIns="45720" rtlCol="0" anchor="b">
            <a:noAutofit/>
          </a:bodyPr>
          <a:lstStyle>
            <a:lvl1pPr>
              <a:defRPr lang="nl-NL" sz="4800" noProof="0" dirty="0">
                <a:solidFill>
                  <a:srgbClr val="616161"/>
                </a:solidFill>
              </a:defRPr>
            </a:lvl1pPr>
          </a:lstStyle>
          <a:p>
            <a:pPr lvl="0"/>
            <a:r>
              <a:rPr lang="nl-NL" noProof="0"/>
              <a:t>Klik om de stijl te bewerken</a:t>
            </a:r>
          </a:p>
        </p:txBody>
      </p:sp>
      <p:sp>
        <p:nvSpPr>
          <p:cNvPr id="9" name="Subtitle 2"/>
          <p:cNvSpPr>
            <a:spLocks noGrp="1"/>
          </p:cNvSpPr>
          <p:nvPr>
            <p:ph type="subTitle" idx="1"/>
          </p:nvPr>
        </p:nvSpPr>
        <p:spPr>
          <a:xfrm>
            <a:off x="502653" y="3325813"/>
            <a:ext cx="9144000" cy="1655762"/>
          </a:xfrm>
        </p:spPr>
        <p:txBody>
          <a:bodyPr vert="horz" lIns="91440" tIns="45720" rIns="91440" bIns="45720" rtlCol="0">
            <a:normAutofit/>
          </a:bodyPr>
          <a:lstStyle>
            <a:lvl1pPr>
              <a:defRPr lang="nl-NL" sz="2400" noProof="0" dirty="0">
                <a:solidFill>
                  <a:srgbClr val="616161"/>
                </a:solidFill>
              </a:defRPr>
            </a:lvl1pPr>
          </a:lstStyle>
          <a:p>
            <a:pPr lvl="0"/>
            <a:r>
              <a:rPr lang="nl-NL" noProof="0"/>
              <a:t>Klik om de ondertitelstijl van het model te bewerken</a:t>
            </a:r>
          </a:p>
        </p:txBody>
      </p:sp>
      <p:sp>
        <p:nvSpPr>
          <p:cNvPr id="10" name="Tijdelijke aanduiding voor tekst 8"/>
          <p:cNvSpPr>
            <a:spLocks noGrp="1"/>
          </p:cNvSpPr>
          <p:nvPr>
            <p:ph type="body" sz="quarter" idx="13" hasCustomPrompt="1"/>
          </p:nvPr>
        </p:nvSpPr>
        <p:spPr>
          <a:xfrm>
            <a:off x="502653" y="4985115"/>
            <a:ext cx="4831348" cy="356937"/>
          </a:xfrm>
        </p:spPr>
        <p:txBody>
          <a:bodyPr>
            <a:noAutofit/>
          </a:bodyPr>
          <a:lstStyle>
            <a:lvl1pPr marL="0" indent="0">
              <a:lnSpc>
                <a:spcPct val="100000"/>
              </a:lnSpc>
              <a:buNone/>
              <a:defRPr sz="1400" b="1">
                <a:solidFill>
                  <a:srgbClr val="616161"/>
                </a:solidFill>
              </a:defRPr>
            </a:lvl1pPr>
            <a:lvl2pPr marL="457200" indent="0">
              <a:buNone/>
              <a:defRPr sz="1200" b="1"/>
            </a:lvl2pPr>
            <a:lvl3pPr marL="914400" indent="0">
              <a:buNone/>
              <a:defRPr sz="1100" b="1"/>
            </a:lvl3pPr>
            <a:lvl4pPr marL="1371600" indent="0">
              <a:buNone/>
              <a:defRPr sz="1050" b="1"/>
            </a:lvl4pPr>
            <a:lvl5pPr marL="1828800" indent="0">
              <a:buNone/>
              <a:defRPr sz="1050" b="1"/>
            </a:lvl5pPr>
          </a:lstStyle>
          <a:p>
            <a:pPr lvl="0"/>
            <a:r>
              <a:rPr lang="nl-NL" noProof="0"/>
              <a:t>Naam</a:t>
            </a:r>
          </a:p>
        </p:txBody>
      </p:sp>
      <p:sp>
        <p:nvSpPr>
          <p:cNvPr id="11" name="Text Placeholder 28"/>
          <p:cNvSpPr>
            <a:spLocks noGrp="1"/>
          </p:cNvSpPr>
          <p:nvPr>
            <p:ph type="body" sz="quarter" idx="15" hasCustomPrompt="1"/>
          </p:nvPr>
        </p:nvSpPr>
        <p:spPr>
          <a:xfrm>
            <a:off x="502653" y="5350543"/>
            <a:ext cx="4831348" cy="344404"/>
          </a:xfrm>
        </p:spPr>
        <p:txBody>
          <a:bodyPr vert="horz" lIns="91440" tIns="45720" rIns="91440" bIns="45720" rtlCol="0">
            <a:noAutofit/>
          </a:bodyPr>
          <a:lstStyle>
            <a:lvl1pPr>
              <a:defRPr lang="en-US" sz="1400" b="0" noProof="0" dirty="0">
                <a:solidFill>
                  <a:srgbClr val="616161"/>
                </a:solidFill>
              </a:defRPr>
            </a:lvl1pPr>
          </a:lstStyle>
          <a:p>
            <a:pPr lvl="0"/>
            <a:r>
              <a:rPr lang="nl-NL" noProof="0" err="1"/>
              <a:t>Place</a:t>
            </a:r>
            <a:r>
              <a:rPr lang="nl-NL" noProof="0"/>
              <a:t>, date </a:t>
            </a:r>
          </a:p>
        </p:txBody>
      </p:sp>
      <p:sp>
        <p:nvSpPr>
          <p:cNvPr id="55" name="Tekstvak 54"/>
          <p:cNvSpPr txBox="1"/>
          <p:nvPr userDrawn="1"/>
        </p:nvSpPr>
        <p:spPr>
          <a:xfrm>
            <a:off x="-113402" y="-421452"/>
            <a:ext cx="5012788" cy="338554"/>
          </a:xfrm>
          <a:prstGeom prst="rect">
            <a:avLst/>
          </a:prstGeom>
          <a:noFill/>
        </p:spPr>
        <p:txBody>
          <a:bodyPr wrap="square" rtlCol="0">
            <a:spAutoFit/>
          </a:bodyPr>
          <a:lstStyle/>
          <a:p>
            <a:r>
              <a:rPr lang="nl-NL" sz="1600" b="1">
                <a:solidFill>
                  <a:srgbClr val="818181"/>
                </a:solidFill>
              </a:rPr>
              <a:t>Eindpagina</a:t>
            </a:r>
          </a:p>
        </p:txBody>
      </p:sp>
      <p:grpSp>
        <p:nvGrpSpPr>
          <p:cNvPr id="40" name="Groep 39"/>
          <p:cNvGrpSpPr/>
          <p:nvPr userDrawn="1"/>
        </p:nvGrpSpPr>
        <p:grpSpPr>
          <a:xfrm>
            <a:off x="-3279571" y="5384719"/>
            <a:ext cx="3086613" cy="1458586"/>
            <a:chOff x="8427776" y="5346061"/>
            <a:chExt cx="2314960" cy="1458586"/>
          </a:xfrm>
        </p:grpSpPr>
        <p:grpSp>
          <p:nvGrpSpPr>
            <p:cNvPr id="41" name="Groep 40"/>
            <p:cNvGrpSpPr/>
            <p:nvPr userDrawn="1"/>
          </p:nvGrpSpPr>
          <p:grpSpPr>
            <a:xfrm>
              <a:off x="8432864" y="5461497"/>
              <a:ext cx="2309872" cy="1243698"/>
              <a:chOff x="-3092517" y="988213"/>
              <a:chExt cx="3136706" cy="1959358"/>
            </a:xfrm>
          </p:grpSpPr>
          <p:sp>
            <p:nvSpPr>
              <p:cNvPr id="4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a:solidFill>
                      <a:srgbClr val="818181"/>
                    </a:solidFill>
                  </a:rPr>
                  <a:t>Titel </a:t>
                </a:r>
                <a:r>
                  <a:rPr lang="nl-NL" sz="1400" b="1" err="1">
                    <a:solidFill>
                      <a:srgbClr val="818181"/>
                    </a:solidFill>
                  </a:rPr>
                  <a:t>bold</a:t>
                </a:r>
                <a:r>
                  <a:rPr lang="nl-NL" sz="1400" b="1">
                    <a:solidFill>
                      <a:srgbClr val="818181"/>
                    </a:solidFill>
                  </a:rPr>
                  <a:t> (88 </a:t>
                </a:r>
                <a:r>
                  <a:rPr lang="nl-NL" sz="1400" b="1" err="1">
                    <a:solidFill>
                      <a:srgbClr val="818181"/>
                    </a:solidFill>
                  </a:rPr>
                  <a:t>pt</a:t>
                </a:r>
                <a:r>
                  <a:rPr lang="nl-NL" sz="1400" b="1">
                    <a:solidFill>
                      <a:srgbClr val="818181"/>
                    </a:solidFill>
                  </a:rPr>
                  <a:t>.)</a:t>
                </a:r>
              </a:p>
            </p:txBody>
          </p:sp>
          <p:sp>
            <p:nvSpPr>
              <p:cNvPr id="45" name="Ovaal 4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rgbClr val="FFFFFF"/>
                    </a:solidFill>
                  </a:rPr>
                  <a:t>1</a:t>
                </a:r>
              </a:p>
            </p:txBody>
          </p:sp>
          <p:sp>
            <p:nvSpPr>
              <p:cNvPr id="46" name="Ovaal 4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rgbClr val="FFFFFF"/>
                    </a:solidFill>
                  </a:rPr>
                  <a:t>2</a:t>
                </a:r>
              </a:p>
            </p:txBody>
          </p:sp>
          <p:sp>
            <p:nvSpPr>
              <p:cNvPr id="47" name="Ovaal 4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rgbClr val="FFFFFF"/>
                    </a:solidFill>
                  </a:rPr>
                  <a:t>3</a:t>
                </a:r>
              </a:p>
            </p:txBody>
          </p:sp>
          <p:sp>
            <p:nvSpPr>
              <p:cNvPr id="4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defTabSz="914400">
                  <a:lnSpc>
                    <a:spcPct val="100000"/>
                  </a:lnSpc>
                  <a:spcBef>
                    <a:spcPts val="0"/>
                  </a:spcBef>
                  <a:buClr>
                    <a:srgbClr val="818181"/>
                  </a:buClr>
                  <a:buSzPct val="100000"/>
                  <a:buFont typeface="Arial" panose="020B0604020202020204" pitchFamily="34" charset="0"/>
                  <a:buNone/>
                </a:pPr>
                <a:r>
                  <a:rPr lang="nl-NL" sz="1400">
                    <a:solidFill>
                      <a:srgbClr val="818181"/>
                    </a:solidFill>
                  </a:rPr>
                  <a:t>Ondertitel (28 </a:t>
                </a:r>
                <a:r>
                  <a:rPr lang="nl-NL" sz="1400" err="1">
                    <a:solidFill>
                      <a:srgbClr val="818181"/>
                    </a:solidFill>
                  </a:rPr>
                  <a:t>pt</a:t>
                </a:r>
                <a:r>
                  <a:rPr lang="nl-NL" sz="1400">
                    <a:solidFill>
                      <a:srgbClr val="818181"/>
                    </a:solidFill>
                  </a:rPr>
                  <a:t>.)</a:t>
                </a:r>
              </a:p>
            </p:txBody>
          </p:sp>
          <p:sp>
            <p:nvSpPr>
              <p:cNvPr id="49" name="Textfield placeholder"/>
              <p:cNvSpPr txBox="1">
                <a:spLocks/>
              </p:cNvSpPr>
              <p:nvPr userDrawn="1"/>
            </p:nvSpPr>
            <p:spPr>
              <a:xfrm>
                <a:off x="-2658624" y="2089368"/>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2387" defTabSz="914400">
                  <a:lnSpc>
                    <a:spcPct val="100000"/>
                  </a:lnSpc>
                  <a:spcBef>
                    <a:spcPts val="0"/>
                  </a:spcBef>
                  <a:spcAft>
                    <a:spcPts val="600"/>
                  </a:spcAft>
                  <a:buClr>
                    <a:srgbClr val="818181"/>
                  </a:buClr>
                  <a:buFont typeface="Arial" panose="020B0604020202020204" pitchFamily="34" charset="0"/>
                  <a:buNone/>
                  <a:tabLst>
                    <a:tab pos="4394200" algn="l"/>
                  </a:tabLst>
                </a:pPr>
                <a:r>
                  <a:rPr lang="nl-NL" sz="1400" b="1">
                    <a:solidFill>
                      <a:schemeClr val="tx1"/>
                    </a:solidFill>
                  </a:rPr>
                  <a:t>Naam tekst </a:t>
                </a:r>
                <a:r>
                  <a:rPr lang="nl-NL" sz="1400" b="1" err="1">
                    <a:solidFill>
                      <a:schemeClr val="tx1"/>
                    </a:solidFill>
                  </a:rPr>
                  <a:t>bold</a:t>
                </a:r>
                <a:r>
                  <a:rPr lang="nl-NL" sz="1400" b="1">
                    <a:solidFill>
                      <a:schemeClr val="tx1"/>
                    </a:solidFill>
                  </a:rPr>
                  <a:t> (14 </a:t>
                </a:r>
                <a:r>
                  <a:rPr lang="nl-NL" sz="1400" b="1" err="1">
                    <a:solidFill>
                      <a:schemeClr val="tx1"/>
                    </a:solidFill>
                  </a:rPr>
                  <a:t>pt</a:t>
                </a:r>
                <a:r>
                  <a:rPr lang="nl-NL" sz="1400" b="1">
                    <a:solidFill>
                      <a:schemeClr val="tx1"/>
                    </a:solidFill>
                  </a:rPr>
                  <a:t>.)</a:t>
                </a:r>
              </a:p>
            </p:txBody>
          </p:sp>
          <p:sp>
            <p:nvSpPr>
              <p:cNvPr id="50" name="Ovaal 49"/>
              <p:cNvSpPr/>
              <p:nvPr userDrawn="1"/>
            </p:nvSpPr>
            <p:spPr>
              <a:xfrm>
                <a:off x="-3092517" y="2569679"/>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rgbClr val="FFFFFF"/>
                    </a:solidFill>
                  </a:rPr>
                  <a:t>4</a:t>
                </a:r>
              </a:p>
            </p:txBody>
          </p:sp>
          <p:sp>
            <p:nvSpPr>
              <p:cNvPr id="51" name="Textfield placeholder"/>
              <p:cNvSpPr txBox="1">
                <a:spLocks/>
              </p:cNvSpPr>
              <p:nvPr userDrawn="1"/>
            </p:nvSpPr>
            <p:spPr>
              <a:xfrm>
                <a:off x="-2658624" y="2611653"/>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2387" defTabSz="914400">
                  <a:lnSpc>
                    <a:spcPct val="100000"/>
                  </a:lnSpc>
                  <a:spcBef>
                    <a:spcPts val="0"/>
                  </a:spcBef>
                  <a:spcAft>
                    <a:spcPts val="600"/>
                  </a:spcAft>
                  <a:buClr>
                    <a:srgbClr val="818181"/>
                  </a:buClr>
                  <a:buFont typeface="Arial" panose="020B0604020202020204" pitchFamily="34" charset="0"/>
                  <a:buNone/>
                  <a:tabLst>
                    <a:tab pos="4394200" algn="l"/>
                  </a:tabLst>
                </a:pPr>
                <a:r>
                  <a:rPr lang="nl-NL" sz="1400">
                    <a:solidFill>
                      <a:schemeClr val="tx1"/>
                    </a:solidFill>
                  </a:rPr>
                  <a:t>Plaats tekst (14 </a:t>
                </a:r>
                <a:r>
                  <a:rPr lang="nl-NL" sz="1400" err="1">
                    <a:solidFill>
                      <a:schemeClr val="tx1"/>
                    </a:solidFill>
                  </a:rPr>
                  <a:t>pt</a:t>
                </a:r>
                <a:r>
                  <a:rPr lang="nl-NL" sz="1400">
                    <a:solidFill>
                      <a:schemeClr val="tx1"/>
                    </a:solidFill>
                  </a:rPr>
                  <a:t>.)</a:t>
                </a:r>
              </a:p>
            </p:txBody>
          </p:sp>
        </p:grpSp>
        <p:cxnSp>
          <p:nvCxnSpPr>
            <p:cNvPr id="42" name="Rechte verbindingslijn 41"/>
            <p:cNvCxnSpPr/>
            <p:nvPr userDrawn="1"/>
          </p:nvCxnSpPr>
          <p:spPr>
            <a:xfrm>
              <a:off x="8427776" y="5346061"/>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p:cNvCxnSpPr/>
            <p:nvPr userDrawn="1"/>
          </p:nvCxnSpPr>
          <p:spPr>
            <a:xfrm>
              <a:off x="8427776" y="6804647"/>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2" name="Groep 51"/>
          <p:cNvGrpSpPr/>
          <p:nvPr userDrawn="1"/>
        </p:nvGrpSpPr>
        <p:grpSpPr>
          <a:xfrm>
            <a:off x="-3471141" y="-46322"/>
            <a:ext cx="3471145" cy="3781320"/>
            <a:chOff x="-2603359" y="-46322"/>
            <a:chExt cx="2603359" cy="3781320"/>
          </a:xfrm>
        </p:grpSpPr>
        <p:sp>
          <p:nvSpPr>
            <p:cNvPr id="53" name="Afgeronde rechthoek 52"/>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a:solidFill>
                    <a:srgbClr val="FFFFFF"/>
                  </a:solidFill>
                </a:rPr>
                <a:t>Light </a:t>
              </a:r>
              <a:r>
                <a:rPr lang="nl-NL" sz="1100" b="1" err="1">
                  <a:solidFill>
                    <a:srgbClr val="FFFFFF"/>
                  </a:solidFill>
                </a:rPr>
                <a:t>Grey</a:t>
              </a:r>
              <a:endParaRPr lang="nl-NL" sz="1100" b="1">
                <a:solidFill>
                  <a:srgbClr val="FFFFFF"/>
                </a:solidFill>
              </a:endParaRPr>
            </a:p>
          </p:txBody>
        </p:sp>
        <p:sp>
          <p:nvSpPr>
            <p:cNvPr id="54" name="Tekstvak 29"/>
            <p:cNvSpPr txBox="1"/>
            <p:nvPr userDrawn="1"/>
          </p:nvSpPr>
          <p:spPr>
            <a:xfrm>
              <a:off x="-1493489" y="834756"/>
              <a:ext cx="1355354" cy="261610"/>
            </a:xfrm>
            <a:prstGeom prst="rect">
              <a:avLst/>
            </a:prstGeom>
            <a:noFill/>
          </p:spPr>
          <p:txBody>
            <a:bodyPr wrap="square" rtlCol="0">
              <a:spAutoFit/>
            </a:bodyPr>
            <a:lstStyle/>
            <a:p>
              <a:pPr defTabSz="355600"/>
              <a:r>
                <a:rPr lang="nl-NL" sz="1100">
                  <a:solidFill>
                    <a:srgbClr val="818181"/>
                  </a:solidFill>
                </a:rPr>
                <a:t>R 178, G 178, B 178</a:t>
              </a:r>
            </a:p>
          </p:txBody>
        </p:sp>
        <p:sp>
          <p:nvSpPr>
            <p:cNvPr id="56"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a:solidFill>
                    <a:srgbClr val="FFFFFF"/>
                  </a:solidFill>
                </a:rPr>
                <a:t>Red</a:t>
              </a:r>
            </a:p>
          </p:txBody>
        </p:sp>
        <p:sp>
          <p:nvSpPr>
            <p:cNvPr id="57"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a:solidFill>
                    <a:srgbClr val="FFFFFF"/>
                  </a:solidFill>
                </a:rPr>
                <a:t>Black</a:t>
              </a:r>
            </a:p>
          </p:txBody>
        </p:sp>
        <p:sp>
          <p:nvSpPr>
            <p:cNvPr id="58"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a:solidFill>
                    <a:srgbClr val="FFFFFF"/>
                  </a:solidFill>
                </a:rPr>
                <a:t>Orange</a:t>
              </a:r>
            </a:p>
          </p:txBody>
        </p:sp>
        <p:sp>
          <p:nvSpPr>
            <p:cNvPr id="59" name="Afgeronde rechthoek 58"/>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err="1">
                  <a:solidFill>
                    <a:srgbClr val="FFFFFF"/>
                  </a:solidFill>
                </a:rPr>
                <a:t>Petrol</a:t>
              </a:r>
              <a:r>
                <a:rPr lang="nl-NL" sz="1100" b="1">
                  <a:solidFill>
                    <a:srgbClr val="FFFFFF"/>
                  </a:solidFill>
                </a:rPr>
                <a:t> blue</a:t>
              </a:r>
            </a:p>
          </p:txBody>
        </p:sp>
        <p:sp>
          <p:nvSpPr>
            <p:cNvPr id="60" name="Rechthoek 59"/>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r>
                <a:rPr lang="nl-NL" sz="1800" b="1">
                  <a:solidFill>
                    <a:srgbClr val="818181"/>
                  </a:solidFill>
                </a:rPr>
                <a:t>RGB-KLEUREN</a:t>
              </a:r>
            </a:p>
          </p:txBody>
        </p:sp>
        <p:cxnSp>
          <p:nvCxnSpPr>
            <p:cNvPr id="61" name="Rechte verbindingslijn 60"/>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a:solidFill>
                    <a:srgbClr val="FFFFFF"/>
                  </a:solidFill>
                </a:rPr>
                <a:t>Green</a:t>
              </a:r>
            </a:p>
          </p:txBody>
        </p:sp>
        <p:sp>
          <p:nvSpPr>
            <p:cNvPr id="63" name="Tekstvak 29"/>
            <p:cNvSpPr txBox="1"/>
            <p:nvPr userDrawn="1"/>
          </p:nvSpPr>
          <p:spPr>
            <a:xfrm>
              <a:off x="-1493489" y="1211703"/>
              <a:ext cx="1355354" cy="261610"/>
            </a:xfrm>
            <a:prstGeom prst="rect">
              <a:avLst/>
            </a:prstGeom>
            <a:noFill/>
          </p:spPr>
          <p:txBody>
            <a:bodyPr wrap="square" rtlCol="0">
              <a:spAutoFit/>
            </a:bodyPr>
            <a:lstStyle/>
            <a:p>
              <a:pPr defTabSz="355600"/>
              <a:r>
                <a:rPr lang="nl-NL" sz="1100">
                  <a:solidFill>
                    <a:srgbClr val="818181"/>
                  </a:solidFill>
                </a:rPr>
                <a:t>R 204 , G 0, B 0</a:t>
              </a:r>
            </a:p>
          </p:txBody>
        </p:sp>
        <p:sp>
          <p:nvSpPr>
            <p:cNvPr id="64" name="Tekstvak 29"/>
            <p:cNvSpPr txBox="1"/>
            <p:nvPr userDrawn="1"/>
          </p:nvSpPr>
          <p:spPr>
            <a:xfrm>
              <a:off x="-1493489" y="1588650"/>
              <a:ext cx="1355354" cy="261610"/>
            </a:xfrm>
            <a:prstGeom prst="rect">
              <a:avLst/>
            </a:prstGeom>
            <a:noFill/>
          </p:spPr>
          <p:txBody>
            <a:bodyPr wrap="square" rtlCol="0">
              <a:spAutoFit/>
            </a:bodyPr>
            <a:lstStyle/>
            <a:p>
              <a:pPr defTabSz="355600"/>
              <a:r>
                <a:rPr lang="nl-NL" sz="1100">
                  <a:solidFill>
                    <a:srgbClr val="818181"/>
                  </a:solidFill>
                </a:rPr>
                <a:t>R 0 , G 0, B 0</a:t>
              </a:r>
            </a:p>
          </p:txBody>
        </p:sp>
        <p:sp>
          <p:nvSpPr>
            <p:cNvPr id="65" name="Tekstvak 29"/>
            <p:cNvSpPr txBox="1"/>
            <p:nvPr userDrawn="1"/>
          </p:nvSpPr>
          <p:spPr>
            <a:xfrm>
              <a:off x="-1493489" y="1965597"/>
              <a:ext cx="1355354" cy="261610"/>
            </a:xfrm>
            <a:prstGeom prst="rect">
              <a:avLst/>
            </a:prstGeom>
            <a:noFill/>
          </p:spPr>
          <p:txBody>
            <a:bodyPr wrap="square" rtlCol="0">
              <a:spAutoFit/>
            </a:bodyPr>
            <a:lstStyle/>
            <a:p>
              <a:pPr defTabSz="355600"/>
              <a:r>
                <a:rPr lang="nl-NL" sz="1100">
                  <a:solidFill>
                    <a:srgbClr val="818181"/>
                  </a:solidFill>
                </a:rPr>
                <a:t>R 229 , G 123, B 003</a:t>
              </a:r>
            </a:p>
          </p:txBody>
        </p:sp>
        <p:sp>
          <p:nvSpPr>
            <p:cNvPr id="66" name="Tekstvak 29"/>
            <p:cNvSpPr txBox="1"/>
            <p:nvPr userDrawn="1"/>
          </p:nvSpPr>
          <p:spPr>
            <a:xfrm>
              <a:off x="-1493489" y="2342544"/>
              <a:ext cx="1355354" cy="261610"/>
            </a:xfrm>
            <a:prstGeom prst="rect">
              <a:avLst/>
            </a:prstGeom>
            <a:noFill/>
          </p:spPr>
          <p:txBody>
            <a:bodyPr wrap="square" rtlCol="0">
              <a:spAutoFit/>
            </a:bodyPr>
            <a:lstStyle/>
            <a:p>
              <a:pPr defTabSz="355600"/>
              <a:r>
                <a:rPr lang="nl-NL" sz="1100">
                  <a:solidFill>
                    <a:srgbClr val="818181"/>
                  </a:solidFill>
                </a:rPr>
                <a:t>R 065 , G 127, B 162</a:t>
              </a:r>
            </a:p>
          </p:txBody>
        </p:sp>
        <p:sp>
          <p:nvSpPr>
            <p:cNvPr id="67" name="Tekstvak 29"/>
            <p:cNvSpPr txBox="1"/>
            <p:nvPr userDrawn="1"/>
          </p:nvSpPr>
          <p:spPr>
            <a:xfrm>
              <a:off x="-1493489" y="2719491"/>
              <a:ext cx="1355354" cy="261610"/>
            </a:xfrm>
            <a:prstGeom prst="rect">
              <a:avLst/>
            </a:prstGeom>
            <a:noFill/>
          </p:spPr>
          <p:txBody>
            <a:bodyPr wrap="square" rtlCol="0">
              <a:spAutoFit/>
            </a:bodyPr>
            <a:lstStyle/>
            <a:p>
              <a:pPr defTabSz="355600"/>
              <a:r>
                <a:rPr lang="nl-NL" sz="1100">
                  <a:solidFill>
                    <a:srgbClr val="818181"/>
                  </a:solidFill>
                </a:rPr>
                <a:t>R 134 , G 135, B 034</a:t>
              </a:r>
            </a:p>
          </p:txBody>
        </p:sp>
        <p:sp>
          <p:nvSpPr>
            <p:cNvPr id="68" name="Afgeronde rechthoek 67"/>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err="1">
                  <a:solidFill>
                    <a:srgbClr val="FFFFFF"/>
                  </a:solidFill>
                </a:rPr>
                <a:t>Grey</a:t>
              </a:r>
              <a:endParaRPr lang="nl-NL" sz="1100" b="1">
                <a:solidFill>
                  <a:srgbClr val="FFFFFF"/>
                </a:solidFill>
              </a:endParaRPr>
            </a:p>
          </p:txBody>
        </p:sp>
        <p:sp>
          <p:nvSpPr>
            <p:cNvPr id="69" name="Tekstvak 29"/>
            <p:cNvSpPr txBox="1"/>
            <p:nvPr userDrawn="1"/>
          </p:nvSpPr>
          <p:spPr>
            <a:xfrm>
              <a:off x="-1493489" y="457809"/>
              <a:ext cx="1355354" cy="261610"/>
            </a:xfrm>
            <a:prstGeom prst="rect">
              <a:avLst/>
            </a:prstGeom>
            <a:noFill/>
          </p:spPr>
          <p:txBody>
            <a:bodyPr wrap="square" rtlCol="0">
              <a:spAutoFit/>
            </a:bodyPr>
            <a:lstStyle/>
            <a:p>
              <a:pPr defTabSz="355600"/>
              <a:r>
                <a:rPr lang="nl-NL" sz="1100">
                  <a:solidFill>
                    <a:srgbClr val="818181"/>
                  </a:solidFill>
                </a:rPr>
                <a:t>R 129 , G 129, B 129</a:t>
              </a:r>
            </a:p>
          </p:txBody>
        </p:sp>
        <p:sp>
          <p:nvSpPr>
            <p:cNvPr id="70"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err="1">
                  <a:solidFill>
                    <a:srgbClr val="FFFFFF"/>
                  </a:solidFill>
                </a:rPr>
                <a:t>Purple</a:t>
              </a:r>
              <a:endParaRPr lang="nl-NL" sz="1100" b="1">
                <a:solidFill>
                  <a:srgbClr val="FFFFFF"/>
                </a:solidFill>
              </a:endParaRPr>
            </a:p>
          </p:txBody>
        </p:sp>
        <p:sp>
          <p:nvSpPr>
            <p:cNvPr id="71"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a:solidFill>
                    <a:srgbClr val="FFFFFF"/>
                  </a:solidFill>
                </a:rPr>
                <a:t>Cyaan</a:t>
              </a:r>
            </a:p>
          </p:txBody>
        </p:sp>
        <p:sp>
          <p:nvSpPr>
            <p:cNvPr id="72" name="Tekstvak 29"/>
            <p:cNvSpPr txBox="1"/>
            <p:nvPr userDrawn="1"/>
          </p:nvSpPr>
          <p:spPr>
            <a:xfrm>
              <a:off x="-1493489" y="3096438"/>
              <a:ext cx="1355354" cy="261610"/>
            </a:xfrm>
            <a:prstGeom prst="rect">
              <a:avLst/>
            </a:prstGeom>
            <a:noFill/>
          </p:spPr>
          <p:txBody>
            <a:bodyPr wrap="square" rtlCol="0">
              <a:spAutoFit/>
            </a:bodyPr>
            <a:lstStyle/>
            <a:p>
              <a:pPr defTabSz="355600"/>
              <a:r>
                <a:rPr lang="nl-NL" sz="1100">
                  <a:solidFill>
                    <a:srgbClr val="818181"/>
                  </a:solidFill>
                </a:rPr>
                <a:t>R 082 , G 083, B 135</a:t>
              </a:r>
            </a:p>
          </p:txBody>
        </p:sp>
        <p:sp>
          <p:nvSpPr>
            <p:cNvPr id="73" name="Tekstvak 29"/>
            <p:cNvSpPr txBox="1"/>
            <p:nvPr userDrawn="1"/>
          </p:nvSpPr>
          <p:spPr>
            <a:xfrm>
              <a:off x="-1493489" y="3473388"/>
              <a:ext cx="1355354" cy="261610"/>
            </a:xfrm>
            <a:prstGeom prst="rect">
              <a:avLst/>
            </a:prstGeom>
            <a:noFill/>
          </p:spPr>
          <p:txBody>
            <a:bodyPr wrap="square" rtlCol="0">
              <a:spAutoFit/>
            </a:bodyPr>
            <a:lstStyle/>
            <a:p>
              <a:pPr defTabSz="355600"/>
              <a:r>
                <a:rPr lang="nl-NL" sz="1100">
                  <a:solidFill>
                    <a:srgbClr val="818181"/>
                  </a:solidFill>
                </a:rPr>
                <a:t>R 70 , G 181, B 212</a:t>
              </a:r>
            </a:p>
          </p:txBody>
        </p:sp>
      </p:grpSp>
      <p:sp>
        <p:nvSpPr>
          <p:cNvPr id="74" name="Rechthoek 73"/>
          <p:cNvSpPr/>
          <p:nvPr userDrawn="1"/>
        </p:nvSpPr>
        <p:spPr bwMode="gray">
          <a:xfrm>
            <a:off x="4233337" y="6717208"/>
            <a:ext cx="3781777" cy="140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grpSp>
        <p:nvGrpSpPr>
          <p:cNvPr id="87" name="Groep 86"/>
          <p:cNvGrpSpPr/>
          <p:nvPr userDrawn="1"/>
        </p:nvGrpSpPr>
        <p:grpSpPr>
          <a:xfrm>
            <a:off x="652381" y="3124673"/>
            <a:ext cx="3497100" cy="89012"/>
            <a:chOff x="3298549" y="6768988"/>
            <a:chExt cx="2622825" cy="89012"/>
          </a:xfrm>
        </p:grpSpPr>
        <p:sp>
          <p:nvSpPr>
            <p:cNvPr id="88" name="Rechthoek 87"/>
            <p:cNvSpPr/>
            <p:nvPr/>
          </p:nvSpPr>
          <p:spPr>
            <a:xfrm>
              <a:off x="3298549" y="6768988"/>
              <a:ext cx="524565" cy="890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89" name="Rechthoek 88"/>
            <p:cNvSpPr/>
            <p:nvPr/>
          </p:nvSpPr>
          <p:spPr>
            <a:xfrm>
              <a:off x="3823114" y="6768988"/>
              <a:ext cx="524565" cy="8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0" name="Rechthoek 89"/>
            <p:cNvSpPr/>
            <p:nvPr/>
          </p:nvSpPr>
          <p:spPr>
            <a:xfrm>
              <a:off x="4347679" y="6768988"/>
              <a:ext cx="524565" cy="890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1" name="Rechthoek 90"/>
            <p:cNvSpPr/>
            <p:nvPr/>
          </p:nvSpPr>
          <p:spPr>
            <a:xfrm>
              <a:off x="4872244" y="6768988"/>
              <a:ext cx="524565" cy="890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2" name="Rechthoek 91"/>
            <p:cNvSpPr/>
            <p:nvPr/>
          </p:nvSpPr>
          <p:spPr>
            <a:xfrm>
              <a:off x="5396809" y="6768988"/>
              <a:ext cx="524565" cy="890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75" name="Tijdelijke aanduiding voor tekst 4"/>
          <p:cNvSpPr>
            <a:spLocks noGrp="1"/>
          </p:cNvSpPr>
          <p:nvPr>
            <p:ph type="body" sz="quarter" idx="16" hasCustomPrompt="1"/>
          </p:nvPr>
        </p:nvSpPr>
        <p:spPr>
          <a:xfrm>
            <a:off x="502654" y="5711781"/>
            <a:ext cx="4831348" cy="382587"/>
          </a:xfrm>
        </p:spPr>
        <p:txBody>
          <a:bodyPr vert="horz" lIns="91440" tIns="45720" rIns="91440" bIns="45720" rtlCol="0">
            <a:noAutofit/>
          </a:bodyPr>
          <a:lstStyle>
            <a:lvl1pPr>
              <a:defRPr lang="nl-NL" sz="1100" b="0" smtClean="0">
                <a:solidFill>
                  <a:schemeClr val="tx1"/>
                </a:solidFill>
              </a:defRPr>
            </a:lvl1pPr>
            <a:lvl2pPr>
              <a:defRPr lang="nl-NL" smtClean="0"/>
            </a:lvl2pPr>
            <a:lvl3pPr>
              <a:defRPr lang="nl-NL" smtClean="0"/>
            </a:lvl3pPr>
            <a:lvl4pPr>
              <a:defRPr lang="nl-NL" smtClean="0"/>
            </a:lvl4pPr>
            <a:lvl5pPr>
              <a:defRPr lang="en-US"/>
            </a:lvl5pPr>
          </a:lstStyle>
          <a:p>
            <a:r>
              <a:rPr lang="nl-NL" sz="1400"/>
              <a:t>Typ hier [Bedrijfsintern] [Vertrouwelijk] of [Geheim]</a:t>
            </a:r>
          </a:p>
        </p:txBody>
      </p:sp>
    </p:spTree>
    <p:extLst>
      <p:ext uri="{BB962C8B-B14F-4D97-AF65-F5344CB8AC3E}">
        <p14:creationId xmlns:p14="http://schemas.microsoft.com/office/powerpoint/2010/main" val="5708386"/>
      </p:ext>
    </p:extLst>
  </p:cSld>
  <p:clrMapOvr>
    <a:masterClrMapping/>
  </p:clrMapOvr>
  <mc:AlternateContent xmlns:mc="http://schemas.openxmlformats.org/markup-compatibility/2006">
    <mc:Choice xmlns:p14="http://schemas.microsoft.com/office/powerpoint/2010/main" Requires="p14">
      <p:transition p14:dur="400">
        <p:wipe dir="r"/>
      </p:transition>
    </mc:Choice>
    <mc:Fallback>
      <p:transition>
        <p:wipe dir="r"/>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DIA/AFSLUITIN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104BC9A4-C991-4F53-A0A7-889E630CFEAA}"/>
              </a:ext>
            </a:extLst>
          </p:cNvPr>
          <p:cNvSpPr/>
          <p:nvPr userDrawn="1"/>
        </p:nvSpPr>
        <p:spPr>
          <a:xfrm>
            <a:off x="-2" y="0"/>
            <a:ext cx="1219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noProof="0"/>
          </a:p>
        </p:txBody>
      </p:sp>
      <p:pic>
        <p:nvPicPr>
          <p:cNvPr id="74" name="Afbeelding 73">
            <a:extLst>
              <a:ext uri="{FF2B5EF4-FFF2-40B4-BE49-F238E27FC236}">
                <a16:creationId xmlns:a16="http://schemas.microsoft.com/office/drawing/2014/main" id="{BBF28759-83DA-E845-8C50-86753E213E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59" name="GRID" hidden="1">
            <a:extLst>
              <a:ext uri="{FF2B5EF4-FFF2-40B4-BE49-F238E27FC236}">
                <a16:creationId xmlns:a16="http://schemas.microsoft.com/office/drawing/2014/main" id="{E4C2A759-8F26-4F33-B83B-C40BE60F085F}"/>
              </a:ext>
            </a:extLst>
          </p:cNvPr>
          <p:cNvGrpSpPr/>
          <p:nvPr userDrawn="1"/>
        </p:nvGrpSpPr>
        <p:grpSpPr>
          <a:xfrm>
            <a:off x="0" y="0"/>
            <a:ext cx="12192000" cy="6858000"/>
            <a:chOff x="0" y="0"/>
            <a:chExt cx="12192000" cy="6858000"/>
          </a:xfrm>
          <a:solidFill>
            <a:schemeClr val="tx1">
              <a:alpha val="30000"/>
            </a:schemeClr>
          </a:solidFill>
        </p:grpSpPr>
        <p:sp>
          <p:nvSpPr>
            <p:cNvPr id="60" name="Rechthoek 59">
              <a:extLst>
                <a:ext uri="{FF2B5EF4-FFF2-40B4-BE49-F238E27FC236}">
                  <a16:creationId xmlns:a16="http://schemas.microsoft.com/office/drawing/2014/main" id="{B34F9F53-D2D3-4D8E-A83D-3B954A176349}"/>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4E03818F-4B22-4B19-A092-A2F8C97EBBC1}"/>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D8D3F0EC-420E-48DC-AFD1-32B337B33BEA}"/>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3" name="Rechthoek 62">
              <a:extLst>
                <a:ext uri="{FF2B5EF4-FFF2-40B4-BE49-F238E27FC236}">
                  <a16:creationId xmlns:a16="http://schemas.microsoft.com/office/drawing/2014/main" id="{0571A95A-D1C2-4221-94DA-22CEB80F9B52}"/>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4" name="Rechthoek 63">
              <a:extLst>
                <a:ext uri="{FF2B5EF4-FFF2-40B4-BE49-F238E27FC236}">
                  <a16:creationId xmlns:a16="http://schemas.microsoft.com/office/drawing/2014/main" id="{3AA57B5A-A3CF-4D53-BDDF-A09CD9FC28B8}"/>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5" name="Rechthoek 64">
              <a:extLst>
                <a:ext uri="{FF2B5EF4-FFF2-40B4-BE49-F238E27FC236}">
                  <a16:creationId xmlns:a16="http://schemas.microsoft.com/office/drawing/2014/main" id="{45BE349D-76A4-4C5E-8712-6532587820F9}"/>
                </a:ext>
              </a:extLst>
            </p:cNvPr>
            <p:cNvSpPr/>
            <p:nvPr userDrawn="1"/>
          </p:nvSpPr>
          <p:spPr>
            <a:xfrm>
              <a:off x="0" y="6426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8" name="Rechthoek 67">
              <a:extLst>
                <a:ext uri="{FF2B5EF4-FFF2-40B4-BE49-F238E27FC236}">
                  <a16:creationId xmlns:a16="http://schemas.microsoft.com/office/drawing/2014/main" id="{1F721CCE-28AF-4770-A966-48719EA5DD36}"/>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9" name="Rechthoek 68">
              <a:extLst>
                <a:ext uri="{FF2B5EF4-FFF2-40B4-BE49-F238E27FC236}">
                  <a16:creationId xmlns:a16="http://schemas.microsoft.com/office/drawing/2014/main" id="{652CC678-784F-447B-B4D7-B10F5335906A}"/>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70" name="Rechthoek 69">
              <a:extLst>
                <a:ext uri="{FF2B5EF4-FFF2-40B4-BE49-F238E27FC236}">
                  <a16:creationId xmlns:a16="http://schemas.microsoft.com/office/drawing/2014/main" id="{D5BC6CEE-7574-4A92-92B5-AD22648B1A96}"/>
                </a:ext>
              </a:extLst>
            </p:cNvPr>
            <p:cNvSpPr/>
            <p:nvPr userDrawn="1"/>
          </p:nvSpPr>
          <p:spPr>
            <a:xfrm>
              <a:off x="0" y="497242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6" name="Afgeronde rechthoek 65">
            <a:extLst>
              <a:ext uri="{FF2B5EF4-FFF2-40B4-BE49-F238E27FC236}">
                <a16:creationId xmlns:a16="http://schemas.microsoft.com/office/drawing/2014/main" id="{27350766-25D8-D14D-8FF3-78B69CC7A00E}"/>
              </a:ext>
            </a:extLst>
          </p:cNvPr>
          <p:cNvSpPr/>
          <p:nvPr userDrawn="1"/>
        </p:nvSpPr>
        <p:spPr>
          <a:xfrm>
            <a:off x="320895" y="245807"/>
            <a:ext cx="11550210" cy="6017342"/>
          </a:xfrm>
          <a:prstGeom prst="roundRect">
            <a:avLst>
              <a:gd name="adj" fmla="val 4951"/>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7" name="Afbeelding 66">
            <a:extLst>
              <a:ext uri="{FF2B5EF4-FFF2-40B4-BE49-F238E27FC236}">
                <a16:creationId xmlns:a16="http://schemas.microsoft.com/office/drawing/2014/main" id="{AAB982BD-BFD4-2941-8611-BECAF23CE9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4594" y="5280185"/>
            <a:ext cx="4774714" cy="1248434"/>
          </a:xfrm>
          <a:prstGeom prst="rect">
            <a:avLst/>
          </a:prstGeom>
        </p:spPr>
      </p:pic>
      <p:pic>
        <p:nvPicPr>
          <p:cNvPr id="71" name="Afbeelding 70">
            <a:extLst>
              <a:ext uri="{FF2B5EF4-FFF2-40B4-BE49-F238E27FC236}">
                <a16:creationId xmlns:a16="http://schemas.microsoft.com/office/drawing/2014/main" id="{4911E1A8-2C16-D548-AA82-CF3B5C900D3A}"/>
              </a:ext>
            </a:extLst>
          </p:cNvPr>
          <p:cNvPicPr>
            <a:picLocks noChangeAspect="1"/>
          </p:cNvPicPr>
          <p:nvPr userDrawn="1"/>
        </p:nvPicPr>
        <p:blipFill>
          <a:blip r:embed="rId4"/>
          <a:stretch>
            <a:fillRect/>
          </a:stretch>
        </p:blipFill>
        <p:spPr>
          <a:xfrm>
            <a:off x="700753" y="638073"/>
            <a:ext cx="1587500" cy="292100"/>
          </a:xfrm>
          <a:prstGeom prst="rect">
            <a:avLst/>
          </a:prstGeom>
        </p:spPr>
      </p:pic>
    </p:spTree>
    <p:extLst>
      <p:ext uri="{BB962C8B-B14F-4D97-AF65-F5344CB8AC3E}">
        <p14:creationId xmlns:p14="http://schemas.microsoft.com/office/powerpoint/2010/main" val="13249290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3"/>
            <a:ext cx="11112000" cy="301139"/>
          </a:xfrm>
        </p:spPr>
        <p:txBody>
          <a:bodyPr/>
          <a:lstStyle>
            <a:lvl1pPr>
              <a:defRPr sz="2400" b="1">
                <a:solidFill>
                  <a:schemeClr val="accent1"/>
                </a:solidFill>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p:txBody>
          <a:bodyPr vert="horz"/>
          <a:lstStyle>
            <a:lvl1pPr marL="177800" indent="-177800">
              <a:buSzPct val="110000"/>
              <a:buFont typeface="Arial"/>
              <a:buChar char="•"/>
              <a:defRPr>
                <a:solidFill>
                  <a:schemeClr val="bg1">
                    <a:lumMod val="50000"/>
                  </a:schemeClr>
                </a:solidFill>
              </a:defRPr>
            </a:lvl1pPr>
            <a:lvl2pPr marL="355600" indent="-177800">
              <a:buSzPct val="110000"/>
              <a:buFont typeface="Arial"/>
              <a:buChar char="•"/>
              <a:defRPr>
                <a:solidFill>
                  <a:schemeClr val="bg1">
                    <a:lumMod val="50000"/>
                  </a:schemeClr>
                </a:solidFill>
              </a:defRPr>
            </a:lvl2pPr>
            <a:lvl3pPr>
              <a:buClrTx/>
              <a:defRPr>
                <a:solidFill>
                  <a:schemeClr val="bg1">
                    <a:lumMod val="50000"/>
                  </a:schemeClr>
                </a:solidFill>
              </a:defRPr>
            </a:lvl3pPr>
            <a:lvl4pPr>
              <a:defRPr>
                <a:solidFill>
                  <a:schemeClr val="bg1">
                    <a:lumMod val="50000"/>
                  </a:schemeClr>
                </a:solidFill>
              </a:defRPr>
            </a:lvl4pPr>
            <a:lvl5pPr>
              <a:defRPr/>
            </a:lvl5pPr>
            <a:lvl6pPr>
              <a:buClrTx/>
              <a:defRPr>
                <a:solidFill>
                  <a:schemeClr val="bg1">
                    <a:lumMod val="50000"/>
                  </a:schemeClr>
                </a:solidFill>
              </a:defRPr>
            </a:lvl6pPr>
            <a:lvl7pPr>
              <a:buClrTx/>
              <a:defRPr>
                <a:solidFill>
                  <a:schemeClr val="bg1">
                    <a:lumMod val="50000"/>
                  </a:schemeClr>
                </a:solidFill>
              </a:defRPr>
            </a:lvl7pPr>
            <a:lvl8pPr>
              <a:defRPr>
                <a:solidFill>
                  <a:schemeClr val="bg1">
                    <a:lumMod val="50000"/>
                  </a:schemeClr>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chemeClr val="bg1">
                    <a:lumMod val="50000"/>
                  </a:schemeClr>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solidFill>
                  <a:srgbClr val="7F7F7F"/>
                </a:solidFill>
              </a:defRPr>
            </a:lvl1pPr>
          </a:lstStyle>
          <a:p>
            <a:pPr lvl="0"/>
            <a:r>
              <a:rPr lang="nl-NL" noProof="0"/>
              <a:t>Vul hier een bron in (of laat dit </a:t>
            </a:r>
            <a:r>
              <a:rPr lang="nl-NL" noProof="0" err="1"/>
              <a:t>tekstvak</a:t>
            </a:r>
            <a:r>
              <a:rPr lang="nl-NL" noProof="0"/>
              <a:t> leeg wanneer een bron ontbreekt)</a:t>
            </a:r>
          </a:p>
        </p:txBody>
      </p:sp>
      <p:grpSp>
        <p:nvGrpSpPr>
          <p:cNvPr id="120" name="GRID" hidden="1">
            <a:extLst>
              <a:ext uri="{FF2B5EF4-FFF2-40B4-BE49-F238E27FC236}">
                <a16:creationId xmlns:a16="http://schemas.microsoft.com/office/drawing/2014/main" id="{5296AF35-F896-43B3-ABCB-C095CFAAB915}"/>
              </a:ext>
            </a:extLst>
          </p:cNvPr>
          <p:cNvGrpSpPr/>
          <p:nvPr userDrawn="1"/>
        </p:nvGrpSpPr>
        <p:grpSpPr>
          <a:xfrm>
            <a:off x="0" y="0"/>
            <a:ext cx="12192000" cy="6858000"/>
            <a:chOff x="0" y="0"/>
            <a:chExt cx="12192000" cy="6858000"/>
          </a:xfrm>
          <a:solidFill>
            <a:schemeClr val="tx1">
              <a:alpha val="30000"/>
            </a:schemeClr>
          </a:solidFill>
        </p:grpSpPr>
        <p:sp>
          <p:nvSpPr>
            <p:cNvPr id="121" name="Rechthoek 120">
              <a:extLst>
                <a:ext uri="{FF2B5EF4-FFF2-40B4-BE49-F238E27FC236}">
                  <a16:creationId xmlns:a16="http://schemas.microsoft.com/office/drawing/2014/main" id="{F2EB2891-3A99-4ED4-8AFD-B438775A0AB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2" name="Rechthoek 121">
              <a:extLst>
                <a:ext uri="{FF2B5EF4-FFF2-40B4-BE49-F238E27FC236}">
                  <a16:creationId xmlns:a16="http://schemas.microsoft.com/office/drawing/2014/main" id="{FA8CC251-260C-48FB-A21A-4064D59E44A3}"/>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3" name="Rechthoek 122">
              <a:extLst>
                <a:ext uri="{FF2B5EF4-FFF2-40B4-BE49-F238E27FC236}">
                  <a16:creationId xmlns:a16="http://schemas.microsoft.com/office/drawing/2014/main" id="{7F3AA528-EF26-4236-99E2-579FAE2766C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4" name="Rechthoek 123">
              <a:extLst>
                <a:ext uri="{FF2B5EF4-FFF2-40B4-BE49-F238E27FC236}">
                  <a16:creationId xmlns:a16="http://schemas.microsoft.com/office/drawing/2014/main" id="{7DC92546-1751-4BAA-AA77-5307E8FACDC5}"/>
                </a:ext>
              </a:extLst>
            </p:cNvPr>
            <p:cNvSpPr/>
            <p:nvPr userDrawn="1"/>
          </p:nvSpPr>
          <p:spPr>
            <a:xfrm>
              <a:off x="0" y="825345"/>
              <a:ext cx="12192000" cy="754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5" name="Rechthoek 124">
              <a:extLst>
                <a:ext uri="{FF2B5EF4-FFF2-40B4-BE49-F238E27FC236}">
                  <a16:creationId xmlns:a16="http://schemas.microsoft.com/office/drawing/2014/main" id="{C45E7145-B912-4200-A331-B4273BB6199F}"/>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6" name="Rechthoek 125">
              <a:extLst>
                <a:ext uri="{FF2B5EF4-FFF2-40B4-BE49-F238E27FC236}">
                  <a16:creationId xmlns:a16="http://schemas.microsoft.com/office/drawing/2014/main" id="{D3D0F0CB-C84E-4062-996E-C129FEC2E3C5}"/>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7" name="Rechthoek 126">
              <a:extLst>
                <a:ext uri="{FF2B5EF4-FFF2-40B4-BE49-F238E27FC236}">
                  <a16:creationId xmlns:a16="http://schemas.microsoft.com/office/drawing/2014/main" id="{838D424E-D3A6-4B95-BFB7-234BCBF65129}"/>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8" name="Rechthoek 127">
              <a:extLst>
                <a:ext uri="{FF2B5EF4-FFF2-40B4-BE49-F238E27FC236}">
                  <a16:creationId xmlns:a16="http://schemas.microsoft.com/office/drawing/2014/main" id="{E0EC2466-F391-4C48-905A-547E5255BBA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9" name="Rechthoek 128">
              <a:extLst>
                <a:ext uri="{FF2B5EF4-FFF2-40B4-BE49-F238E27FC236}">
                  <a16:creationId xmlns:a16="http://schemas.microsoft.com/office/drawing/2014/main" id="{FA3DF976-567F-4CC5-8362-205B3BE176DB}"/>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0" name="Rechthoek 129">
              <a:extLst>
                <a:ext uri="{FF2B5EF4-FFF2-40B4-BE49-F238E27FC236}">
                  <a16:creationId xmlns:a16="http://schemas.microsoft.com/office/drawing/2014/main" id="{A2F401FB-26A6-4D49-A1E7-E09BC52F1A3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1" name="Rechthoek 130">
              <a:extLst>
                <a:ext uri="{FF2B5EF4-FFF2-40B4-BE49-F238E27FC236}">
                  <a16:creationId xmlns:a16="http://schemas.microsoft.com/office/drawing/2014/main" id="{7A917718-DF85-48ED-8424-FC9E59AA36E1}"/>
                </a:ext>
              </a:extLst>
            </p:cNvPr>
            <p:cNvSpPr/>
            <p:nvPr userDrawn="1"/>
          </p:nvSpPr>
          <p:spPr>
            <a:xfrm>
              <a:off x="0" y="1114210"/>
              <a:ext cx="12192000" cy="3423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13" name="Tijdelijke aanduiding voor tekst 34">
            <a:extLst>
              <a:ext uri="{FF2B5EF4-FFF2-40B4-BE49-F238E27FC236}">
                <a16:creationId xmlns:a16="http://schemas.microsoft.com/office/drawing/2014/main" id="{290E2073-9C5E-4043-8BB4-8AE3CB873781}"/>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11677581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en Object - cyaan">
    <p:spTree>
      <p:nvGrpSpPr>
        <p:cNvPr id="1" name=""/>
        <p:cNvGrpSpPr/>
        <p:nvPr/>
      </p:nvGrpSpPr>
      <p:grpSpPr>
        <a:xfrm>
          <a:off x="0" y="0"/>
          <a:ext cx="0" cy="0"/>
          <a:chOff x="0" y="0"/>
          <a:chExt cx="0" cy="0"/>
        </a:xfrm>
      </p:grpSpPr>
      <p:sp>
        <p:nvSpPr>
          <p:cNvPr id="2" name="Title 1"/>
          <p:cNvSpPr>
            <a:spLocks noGrp="1"/>
          </p:cNvSpPr>
          <p:nvPr>
            <p:ph type="title"/>
          </p:nvPr>
        </p:nvSpPr>
        <p:spPr>
          <a:xfrm>
            <a:off x="502652" y="533569"/>
            <a:ext cx="11133221" cy="584775"/>
          </a:xfrm>
        </p:spPr>
        <p:txBody>
          <a:bodyPr>
            <a:spAutoFit/>
          </a:bodyPr>
          <a:lstStyle>
            <a:lvl1pPr>
              <a:defRPr>
                <a:solidFill>
                  <a:schemeClr val="accent6"/>
                </a:solidFill>
              </a:defRPr>
            </a:lvl1pPr>
          </a:lstStyle>
          <a:p>
            <a:r>
              <a:rPr lang="nl-NL" noProof="0"/>
              <a:t>Klik om de stijl te bewerken</a:t>
            </a:r>
          </a:p>
        </p:txBody>
      </p:sp>
      <p:sp>
        <p:nvSpPr>
          <p:cNvPr id="8" name="Tekstvak 7"/>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 Cyaan</a:t>
            </a:r>
          </a:p>
        </p:txBody>
      </p:sp>
      <p:sp>
        <p:nvSpPr>
          <p:cNvPr id="41"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77" name="Content Placeholder 2"/>
          <p:cNvSpPr>
            <a:spLocks noGrp="1"/>
          </p:cNvSpPr>
          <p:nvPr>
            <p:ph sz="half" idx="1"/>
          </p:nvPr>
        </p:nvSpPr>
        <p:spPr>
          <a:xfrm>
            <a:off x="502654" y="1708486"/>
            <a:ext cx="11133220" cy="333065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78" name="Content Placeholder 2"/>
          <p:cNvSpPr>
            <a:spLocks noGrp="1"/>
          </p:cNvSpPr>
          <p:nvPr>
            <p:ph sz="half" idx="14"/>
          </p:nvPr>
        </p:nvSpPr>
        <p:spPr>
          <a:xfrm>
            <a:off x="502654" y="5172796"/>
            <a:ext cx="11133220" cy="276999"/>
          </a:xfrm>
        </p:spPr>
        <p:txBody>
          <a:bodyPr>
            <a:sp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Klik om de modelstijlen te bewerken</a:t>
            </a:r>
          </a:p>
        </p:txBody>
      </p:sp>
      <p:grpSp>
        <p:nvGrpSpPr>
          <p:cNvPr id="100" name="Groep 99"/>
          <p:cNvGrpSpPr/>
          <p:nvPr userDrawn="1"/>
        </p:nvGrpSpPr>
        <p:grpSpPr>
          <a:xfrm>
            <a:off x="-3279573" y="5020705"/>
            <a:ext cx="3086613" cy="1841358"/>
            <a:chOff x="8427776" y="4654945"/>
            <a:chExt cx="2314960" cy="1841358"/>
          </a:xfrm>
        </p:grpSpPr>
        <p:grpSp>
          <p:nvGrpSpPr>
            <p:cNvPr id="101" name="Groep 100"/>
            <p:cNvGrpSpPr/>
            <p:nvPr userDrawn="1"/>
          </p:nvGrpSpPr>
          <p:grpSpPr>
            <a:xfrm>
              <a:off x="8432864" y="4781014"/>
              <a:ext cx="2309872" cy="1592662"/>
              <a:chOff x="-3092517" y="-83840"/>
              <a:chExt cx="3136706" cy="2509126"/>
            </a:xfrm>
          </p:grpSpPr>
          <p:sp>
            <p:nvSpPr>
              <p:cNvPr id="10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5" name="Ovaal 10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106" name="Ovaal 10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107" name="Ovaal 10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10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1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111" name="Ovaal 11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112" name="Ovaal 11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11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102" name="Rechte verbindingslijn 10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5"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46"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44" name="Groep 43"/>
          <p:cNvGrpSpPr/>
          <p:nvPr userDrawn="1"/>
        </p:nvGrpSpPr>
        <p:grpSpPr>
          <a:xfrm>
            <a:off x="-3471145" y="-46322"/>
            <a:ext cx="3471145" cy="3781320"/>
            <a:chOff x="-2603359" y="-46322"/>
            <a:chExt cx="2603359" cy="3781320"/>
          </a:xfrm>
        </p:grpSpPr>
        <p:sp>
          <p:nvSpPr>
            <p:cNvPr id="47" name="Afgeronde rechthoek 46"/>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48"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49"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0"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51"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52" name="Afgeronde rechthoek 5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53" name="Rechthoek 5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54" name="Rechte verbindingslijn 5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5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5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5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5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6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61" name="Afgeronde rechthoek 6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6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6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6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6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6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21439535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3"/>
            <a:ext cx="11112000" cy="301139"/>
          </a:xfrm>
        </p:spPr>
        <p:txBody>
          <a:bodyPr/>
          <a:lstStyle>
            <a:lvl1pPr>
              <a:defRPr sz="2400" b="1">
                <a:solidFill>
                  <a:schemeClr val="accent1"/>
                </a:solidFill>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286001" cy="4119774"/>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chemeClr val="bg1">
                    <a:lumMod val="50000"/>
                  </a:schemeClr>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solidFill>
                  <a:srgbClr val="7F7F7F"/>
                </a:solidFill>
              </a:defRPr>
            </a:lvl1pPr>
          </a:lstStyle>
          <a:p>
            <a:pPr lvl="0"/>
            <a:r>
              <a:rPr lang="nl-NL" noProof="0"/>
              <a:t>Vul hier een bron in (of laat dit </a:t>
            </a:r>
            <a:r>
              <a:rPr lang="nl-NL" noProof="0" err="1"/>
              <a:t>tekstvak</a:t>
            </a:r>
            <a:r>
              <a:rPr lang="nl-NL" noProof="0"/>
              <a:t> leeg wanneer een bron ontbreekt)</a:t>
            </a:r>
          </a:p>
        </p:txBody>
      </p:sp>
      <p:grpSp>
        <p:nvGrpSpPr>
          <p:cNvPr id="22" name="GRID" hidden="1">
            <a:extLst>
              <a:ext uri="{FF2B5EF4-FFF2-40B4-BE49-F238E27FC236}">
                <a16:creationId xmlns:a16="http://schemas.microsoft.com/office/drawing/2014/main" id="{33B8CDDA-3569-43D9-8953-9A57FF3750DF}"/>
              </a:ext>
            </a:extLst>
          </p:cNvPr>
          <p:cNvGrpSpPr/>
          <p:nvPr userDrawn="1"/>
        </p:nvGrpSpPr>
        <p:grpSpPr>
          <a:xfrm>
            <a:off x="0" y="0"/>
            <a:ext cx="12192000" cy="6858000"/>
            <a:chOff x="0" y="0"/>
            <a:chExt cx="12192000" cy="6858000"/>
          </a:xfrm>
          <a:solidFill>
            <a:schemeClr val="tx1">
              <a:alpha val="30000"/>
            </a:schemeClr>
          </a:solidFill>
        </p:grpSpPr>
        <p:sp>
          <p:nvSpPr>
            <p:cNvPr id="23" name="Rechthoek 22">
              <a:extLst>
                <a:ext uri="{FF2B5EF4-FFF2-40B4-BE49-F238E27FC236}">
                  <a16:creationId xmlns:a16="http://schemas.microsoft.com/office/drawing/2014/main" id="{A6538B19-C966-4937-AB93-B157026AFF8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77024D41-999B-4242-8677-91ABF0A9E718}"/>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31DBE81E-F298-48AD-9D42-19989D672470}"/>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8DE20BBB-B456-42A9-8832-C7377C8570B3}"/>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E56AFE03-13D0-4E70-965E-27236D5B2FE0}"/>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441DBCA-2CF0-465C-9104-B3831E479CD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C008D542-07D8-43D9-B841-E9558BFC34B1}"/>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0C647EEC-C065-4B5F-8C18-6436515CDB91}"/>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B3E90288-6716-4D55-8093-F74729D589E7}"/>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9C4FE5F3-67DB-4F58-B12D-A654035D116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3D223C7A-1192-46B2-A8CA-690AB0004B12}"/>
                </a:ext>
              </a:extLst>
            </p:cNvPr>
            <p:cNvSpPr/>
            <p:nvPr userDrawn="1"/>
          </p:nvSpPr>
          <p:spPr>
            <a:xfrm>
              <a:off x="5826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8" name="Tijdelijke aanduiding voor verticale tekst 2">
            <a:extLst>
              <a:ext uri="{FF2B5EF4-FFF2-40B4-BE49-F238E27FC236}">
                <a16:creationId xmlns:a16="http://schemas.microsoft.com/office/drawing/2014/main" id="{AA81A0BB-4577-42E5-AB0A-8F767EEAD740}"/>
              </a:ext>
            </a:extLst>
          </p:cNvPr>
          <p:cNvSpPr>
            <a:spLocks noGrp="1"/>
          </p:cNvSpPr>
          <p:nvPr>
            <p:ph type="body" orient="vert" idx="16" hasCustomPrompt="1"/>
          </p:nvPr>
        </p:nvSpPr>
        <p:spPr>
          <a:xfrm>
            <a:off x="6365999" y="1459112"/>
            <a:ext cx="5286001" cy="4119774"/>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105" name="Tijdelijke aanduiding voor tekst 34">
            <a:extLst>
              <a:ext uri="{FF2B5EF4-FFF2-40B4-BE49-F238E27FC236}">
                <a16:creationId xmlns:a16="http://schemas.microsoft.com/office/drawing/2014/main" id="{D81762AC-5895-4D8F-8D5A-7121D01FC880}"/>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37401850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 / AFBEELDING (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3"/>
            <a:ext cx="6876353" cy="301139"/>
          </a:xfrm>
        </p:spPr>
        <p:txBody>
          <a:bodyPr/>
          <a:lstStyle>
            <a:lvl1pPr>
              <a:defRPr sz="2400" b="1">
                <a:solidFill>
                  <a:schemeClr val="accent1"/>
                </a:solidFill>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68519"/>
            <a:ext cx="6876354" cy="4119774"/>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750" y="839972"/>
            <a:ext cx="6876616" cy="259612"/>
          </a:xfrm>
        </p:spPr>
        <p:txBody>
          <a:bodyPr/>
          <a:lstStyle>
            <a:lvl1pPr marL="0" indent="0">
              <a:buNone/>
              <a:defRPr sz="2000" b="0" i="1">
                <a:solidFill>
                  <a:schemeClr val="bg1">
                    <a:lumMod val="50000"/>
                  </a:schemeClr>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90"/>
            <a:ext cx="6856845" cy="130148"/>
          </a:xfrm>
        </p:spPr>
        <p:txBody>
          <a:bodyPr anchor="b"/>
          <a:lstStyle>
            <a:lvl1pPr marL="0" indent="0">
              <a:buNone/>
              <a:defRPr sz="1000" i="1">
                <a:solidFill>
                  <a:srgbClr val="7F7F7F"/>
                </a:solidFill>
              </a:defRPr>
            </a:lvl1pPr>
          </a:lstStyle>
          <a:p>
            <a:pPr lvl="0"/>
            <a:r>
              <a:rPr lang="nl-NL" noProof="0"/>
              <a:t>Bron…</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7789333" y="0"/>
            <a:ext cx="4402667" cy="6857999"/>
          </a:xfrm>
          <a:prstGeom prst="roundRect">
            <a:avLst>
              <a:gd name="adj" fmla="val 0"/>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pic>
        <p:nvPicPr>
          <p:cNvPr id="151" name="Afbeelding 150">
            <a:extLst>
              <a:ext uri="{FF2B5EF4-FFF2-40B4-BE49-F238E27FC236}">
                <a16:creationId xmlns:a16="http://schemas.microsoft.com/office/drawing/2014/main" id="{B9EBF0CF-FDA5-A448-9758-0BD0F22953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sp>
        <p:nvSpPr>
          <p:cNvPr id="5" name="Tekstvak 4"/>
          <p:cNvSpPr txBox="1"/>
          <p:nvPr userDrawn="1"/>
        </p:nvSpPr>
        <p:spPr>
          <a:xfrm>
            <a:off x="1852083" y="7577667"/>
            <a:ext cx="914400" cy="914400"/>
          </a:xfrm>
          <a:prstGeom prst="rect">
            <a:avLst/>
          </a:prstGeom>
          <a:noFill/>
        </p:spPr>
        <p:txBody>
          <a:bodyPr wrap="none" lIns="0" tIns="0" rIns="0" bIns="0" rtlCol="0">
            <a:noAutofit/>
          </a:bodyPr>
          <a:lstStyle/>
          <a:p>
            <a:pPr algn="l"/>
            <a:endParaRPr lang="nl-NL" sz="1600"/>
          </a:p>
        </p:txBody>
      </p:sp>
      <p:pic>
        <p:nvPicPr>
          <p:cNvPr id="152" name="Afbeelding 151">
            <a:extLst>
              <a:ext uri="{FF2B5EF4-FFF2-40B4-BE49-F238E27FC236}">
                <a16:creationId xmlns:a16="http://schemas.microsoft.com/office/drawing/2014/main" id="{6A381818-9858-5D46-BE74-F85236BE872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11406" y="6035220"/>
            <a:ext cx="1366570" cy="357314"/>
          </a:xfrm>
          <a:prstGeom prst="rect">
            <a:avLst/>
          </a:prstGeom>
        </p:spPr>
      </p:pic>
      <p:sp>
        <p:nvSpPr>
          <p:cNvPr id="154" name="Tijdelijke aanduiding voor tekst 34">
            <a:extLst>
              <a:ext uri="{FF2B5EF4-FFF2-40B4-BE49-F238E27FC236}">
                <a16:creationId xmlns:a16="http://schemas.microsoft.com/office/drawing/2014/main" id="{6A66BDE1-FA91-4171-A56C-6D0C1F738BDB}"/>
              </a:ext>
            </a:extLst>
          </p:cNvPr>
          <p:cNvSpPr>
            <a:spLocks noGrp="1"/>
          </p:cNvSpPr>
          <p:nvPr>
            <p:ph type="body" sz="quarter" idx="16"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15926855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KST / AFBEELDING (S) / GESPIEGE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4754990" y="520477"/>
            <a:ext cx="6876353" cy="301139"/>
          </a:xfrm>
        </p:spPr>
        <p:txBody>
          <a:bodyPr/>
          <a:lstStyle>
            <a:lvl1pPr>
              <a:defRPr sz="2400" b="1">
                <a:solidFill>
                  <a:schemeClr val="accent1"/>
                </a:solidFill>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4754989" y="1450163"/>
            <a:ext cx="6876354" cy="4119774"/>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4754740" y="821616"/>
            <a:ext cx="6876616" cy="259612"/>
          </a:xfrm>
        </p:spPr>
        <p:txBody>
          <a:bodyPr/>
          <a:lstStyle>
            <a:lvl1pPr marL="0" indent="0">
              <a:buNone/>
              <a:defRPr sz="2000" b="0" i="1">
                <a:solidFill>
                  <a:schemeClr val="bg1">
                    <a:lumMod val="50000"/>
                  </a:schemeClr>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4754739" y="5758890"/>
            <a:ext cx="6856845" cy="130148"/>
          </a:xfrm>
        </p:spPr>
        <p:txBody>
          <a:bodyPr anchor="b"/>
          <a:lstStyle>
            <a:lvl1pPr marL="0" indent="0">
              <a:buNone/>
              <a:defRPr sz="1000" i="1">
                <a:solidFill>
                  <a:srgbClr val="7F7F7F"/>
                </a:solidFill>
              </a:defRPr>
            </a:lvl1pPr>
          </a:lstStyle>
          <a:p>
            <a:pPr lvl="0"/>
            <a:r>
              <a:rPr lang="nl-NL" noProof="0"/>
              <a:t>Bron…</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7660" y="0"/>
            <a:ext cx="4402667" cy="6857999"/>
          </a:xfrm>
          <a:prstGeom prst="roundRect">
            <a:avLst>
              <a:gd name="adj" fmla="val 0"/>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pic>
        <p:nvPicPr>
          <p:cNvPr id="151" name="Afbeelding 150">
            <a:extLst>
              <a:ext uri="{FF2B5EF4-FFF2-40B4-BE49-F238E27FC236}">
                <a16:creationId xmlns:a16="http://schemas.microsoft.com/office/drawing/2014/main" id="{B9EBF0CF-FDA5-A448-9758-0BD0F22953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sp>
        <p:nvSpPr>
          <p:cNvPr id="5" name="Tekstvak 4"/>
          <p:cNvSpPr txBox="1"/>
          <p:nvPr userDrawn="1"/>
        </p:nvSpPr>
        <p:spPr>
          <a:xfrm>
            <a:off x="1852083" y="7577667"/>
            <a:ext cx="914400" cy="914400"/>
          </a:xfrm>
          <a:prstGeom prst="rect">
            <a:avLst/>
          </a:prstGeom>
          <a:noFill/>
        </p:spPr>
        <p:txBody>
          <a:bodyPr wrap="none" lIns="0" tIns="0" rIns="0" bIns="0" rtlCol="0">
            <a:noAutofit/>
          </a:bodyPr>
          <a:lstStyle/>
          <a:p>
            <a:pPr algn="l"/>
            <a:endParaRPr lang="nl-NL" sz="1600"/>
          </a:p>
        </p:txBody>
      </p:sp>
      <p:sp>
        <p:nvSpPr>
          <p:cNvPr id="152" name="Tijdelijke aanduiding voor tekst 34">
            <a:extLst>
              <a:ext uri="{FF2B5EF4-FFF2-40B4-BE49-F238E27FC236}">
                <a16:creationId xmlns:a16="http://schemas.microsoft.com/office/drawing/2014/main" id="{6832CBD6-3379-4D6F-9CE6-728A1B5CE9CD}"/>
              </a:ext>
            </a:extLst>
          </p:cNvPr>
          <p:cNvSpPr>
            <a:spLocks noGrp="1"/>
          </p:cNvSpPr>
          <p:nvPr>
            <p:ph type="body" sz="quarter" idx="16"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
        <p:nvSpPr>
          <p:cNvPr id="153" name="Tijdelijke aanduiding voor dianummer 3">
            <a:extLst>
              <a:ext uri="{FF2B5EF4-FFF2-40B4-BE49-F238E27FC236}">
                <a16:creationId xmlns:a16="http://schemas.microsoft.com/office/drawing/2014/main" id="{90183263-0F6A-4A9A-A4AB-F6BB2B899CF4}"/>
              </a:ext>
            </a:extLst>
          </p:cNvPr>
          <p:cNvSpPr txBox="1">
            <a:spLocks/>
          </p:cNvSpPr>
          <p:nvPr userDrawn="1"/>
        </p:nvSpPr>
        <p:spPr>
          <a:xfrm>
            <a:off x="263467" y="6547709"/>
            <a:ext cx="539998" cy="224300"/>
          </a:xfrm>
          <a:prstGeom prst="rect">
            <a:avLst/>
          </a:prstGeom>
        </p:spPr>
        <p:txBody>
          <a:bodyPr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fld id="{8D374ABD-355D-4B52-8A38-020B3DD5CC75}" type="slidenum">
              <a:rPr kumimoji="0" lang="nl-NL" sz="1200" b="1" i="0" u="none" strike="noStrike" kern="1200" cap="none" spc="0" normalizeH="0" baseline="0" noProof="0" smtClean="0">
                <a:ln>
                  <a:noFill/>
                </a:ln>
                <a:solidFill>
                  <a:schemeClr val="accent1"/>
                </a:solidFill>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a:t>
            </a:fld>
            <a:endParaRPr kumimoji="0" lang="nl-NL" sz="1200" b="1" i="0" u="none" strike="noStrike" kern="1200" cap="none" spc="0" normalizeH="0" baseline="0" noProof="0">
              <a:ln>
                <a:noFill/>
              </a:ln>
              <a:solidFill>
                <a:schemeClr val="accent1"/>
              </a:solidFill>
              <a:effectLst/>
              <a:uLnTx/>
              <a:uFillTx/>
              <a:latin typeface="Calibri"/>
              <a:ea typeface="+mn-ea"/>
              <a:cs typeface="+mn-cs"/>
            </a:endParaRPr>
          </a:p>
        </p:txBody>
      </p:sp>
    </p:spTree>
    <p:extLst>
      <p:ext uri="{BB962C8B-B14F-4D97-AF65-F5344CB8AC3E}">
        <p14:creationId xmlns:p14="http://schemas.microsoft.com/office/powerpoint/2010/main" val="18879334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 TEKST / 2/3 AFBEELD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2" y="538833"/>
            <a:ext cx="3230304" cy="301139"/>
          </a:xfrm>
        </p:spPr>
        <p:txBody>
          <a:bodyPr/>
          <a:lstStyle>
            <a:lvl1pPr>
              <a:defRPr sz="2400" b="1">
                <a:solidFill>
                  <a:schemeClr val="accent1"/>
                </a:solidFill>
              </a:defRPr>
            </a:lvl1pPr>
          </a:lstStyle>
          <a:p>
            <a:r>
              <a:rPr lang="nl-NL" noProof="0"/>
              <a:t>Titel</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1" y="1468519"/>
            <a:ext cx="3230305" cy="4119774"/>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751" y="839972"/>
            <a:ext cx="3230428" cy="259612"/>
          </a:xfrm>
        </p:spPr>
        <p:txBody>
          <a:bodyPr/>
          <a:lstStyle>
            <a:lvl1pPr marL="0" indent="0">
              <a:buNone/>
              <a:defRPr sz="2000" b="0" i="1">
                <a:solidFill>
                  <a:schemeClr val="bg1">
                    <a:lumMod val="50000"/>
                  </a:schemeClr>
                </a:solidFill>
              </a:defRPr>
            </a:lvl1pPr>
          </a:lstStyle>
          <a:p>
            <a:pPr lvl="0"/>
            <a:r>
              <a:rPr lang="nl-NL" noProof="0"/>
              <a:t>Subtitel</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0" y="5758890"/>
            <a:ext cx="3221141" cy="130148"/>
          </a:xfrm>
        </p:spPr>
        <p:txBody>
          <a:bodyPr anchor="b"/>
          <a:lstStyle>
            <a:lvl1pPr marL="0" indent="0">
              <a:buNone/>
              <a:defRPr sz="1000" i="1">
                <a:solidFill>
                  <a:srgbClr val="7F7F7F"/>
                </a:solidFill>
              </a:defRPr>
            </a:lvl1pPr>
          </a:lstStyle>
          <a:p>
            <a:pPr lvl="0"/>
            <a:r>
              <a:rPr lang="nl-NL" noProof="0"/>
              <a:t>Bron…</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4059024" y="0"/>
            <a:ext cx="8132976" cy="6857999"/>
          </a:xfrm>
          <a:prstGeom prst="roundRect">
            <a:avLst>
              <a:gd name="adj" fmla="val 0"/>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pic>
        <p:nvPicPr>
          <p:cNvPr id="151" name="Afbeelding 150">
            <a:extLst>
              <a:ext uri="{FF2B5EF4-FFF2-40B4-BE49-F238E27FC236}">
                <a16:creationId xmlns:a16="http://schemas.microsoft.com/office/drawing/2014/main" id="{B9EBF0CF-FDA5-A448-9758-0BD0F22953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sp>
        <p:nvSpPr>
          <p:cNvPr id="5" name="Tekstvak 4"/>
          <p:cNvSpPr txBox="1"/>
          <p:nvPr userDrawn="1"/>
        </p:nvSpPr>
        <p:spPr>
          <a:xfrm>
            <a:off x="1852083" y="7577667"/>
            <a:ext cx="914400" cy="914400"/>
          </a:xfrm>
          <a:prstGeom prst="rect">
            <a:avLst/>
          </a:prstGeom>
          <a:noFill/>
        </p:spPr>
        <p:txBody>
          <a:bodyPr wrap="none" lIns="0" tIns="0" rIns="0" bIns="0" rtlCol="0">
            <a:noAutofit/>
          </a:bodyPr>
          <a:lstStyle/>
          <a:p>
            <a:pPr algn="l"/>
            <a:endParaRPr lang="nl-NL" sz="1600"/>
          </a:p>
        </p:txBody>
      </p:sp>
      <p:sp>
        <p:nvSpPr>
          <p:cNvPr id="6" name="Tekstvak 5">
            <a:extLst>
              <a:ext uri="{FF2B5EF4-FFF2-40B4-BE49-F238E27FC236}">
                <a16:creationId xmlns:a16="http://schemas.microsoft.com/office/drawing/2014/main" id="{FF653B23-0AAD-2C4D-AE2D-2082153E17E4}"/>
              </a:ext>
            </a:extLst>
          </p:cNvPr>
          <p:cNvSpPr txBox="1"/>
          <p:nvPr userDrawn="1"/>
        </p:nvSpPr>
        <p:spPr>
          <a:xfrm>
            <a:off x="3976577" y="-1594884"/>
            <a:ext cx="0" cy="0"/>
          </a:xfrm>
          <a:prstGeom prst="rect">
            <a:avLst/>
          </a:prstGeom>
          <a:noFill/>
        </p:spPr>
        <p:txBody>
          <a:bodyPr wrap="none" lIns="0" tIns="0" rIns="0" bIns="0" rtlCol="0">
            <a:noAutofit/>
          </a:bodyPr>
          <a:lstStyle/>
          <a:p>
            <a:pPr algn="l"/>
            <a:endParaRPr lang="nl-NL" sz="1600"/>
          </a:p>
        </p:txBody>
      </p:sp>
      <p:pic>
        <p:nvPicPr>
          <p:cNvPr id="152" name="Afbeelding 151">
            <a:extLst>
              <a:ext uri="{FF2B5EF4-FFF2-40B4-BE49-F238E27FC236}">
                <a16:creationId xmlns:a16="http://schemas.microsoft.com/office/drawing/2014/main" id="{79CB4840-4670-5747-8D7C-06D4491DE4E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11406" y="6035220"/>
            <a:ext cx="1366570" cy="357314"/>
          </a:xfrm>
          <a:prstGeom prst="rect">
            <a:avLst/>
          </a:prstGeom>
        </p:spPr>
      </p:pic>
      <p:sp>
        <p:nvSpPr>
          <p:cNvPr id="153" name="Tijdelijke aanduiding voor tekst 34">
            <a:extLst>
              <a:ext uri="{FF2B5EF4-FFF2-40B4-BE49-F238E27FC236}">
                <a16:creationId xmlns:a16="http://schemas.microsoft.com/office/drawing/2014/main" id="{359B09E0-B813-4A96-8A33-AF25762E37B7}"/>
              </a:ext>
            </a:extLst>
          </p:cNvPr>
          <p:cNvSpPr>
            <a:spLocks noGrp="1"/>
          </p:cNvSpPr>
          <p:nvPr>
            <p:ph type="body" sz="quarter" idx="16"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35688863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1/3 TEKST / 2/3 AFBEELDING / GESPIEGE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8496685" y="538833"/>
            <a:ext cx="3230304" cy="301139"/>
          </a:xfrm>
        </p:spPr>
        <p:txBody>
          <a:bodyPr/>
          <a:lstStyle>
            <a:lvl1pPr>
              <a:defRPr sz="2400" b="1">
                <a:solidFill>
                  <a:schemeClr val="accent1"/>
                </a:solidFill>
              </a:defRPr>
            </a:lvl1pPr>
          </a:lstStyle>
          <a:p>
            <a:r>
              <a:rPr lang="nl-NL" noProof="0"/>
              <a:t>Titel</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8496684" y="1468519"/>
            <a:ext cx="3230305" cy="4119774"/>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8496434" y="839972"/>
            <a:ext cx="3230428" cy="259612"/>
          </a:xfrm>
        </p:spPr>
        <p:txBody>
          <a:bodyPr/>
          <a:lstStyle>
            <a:lvl1pPr marL="0" indent="0">
              <a:buNone/>
              <a:defRPr sz="2000" b="0" i="1">
                <a:solidFill>
                  <a:schemeClr val="bg1">
                    <a:lumMod val="50000"/>
                  </a:schemeClr>
                </a:solidFill>
              </a:defRPr>
            </a:lvl1pPr>
          </a:lstStyle>
          <a:p>
            <a:pPr lvl="0"/>
            <a:r>
              <a:rPr lang="nl-NL" noProof="0"/>
              <a:t>Subtitel</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8496433" y="5758890"/>
            <a:ext cx="3221141" cy="130148"/>
          </a:xfrm>
        </p:spPr>
        <p:txBody>
          <a:bodyPr anchor="b"/>
          <a:lstStyle>
            <a:lvl1pPr marL="0" indent="0">
              <a:buNone/>
              <a:defRPr sz="1000" i="1">
                <a:solidFill>
                  <a:srgbClr val="7F7F7F"/>
                </a:solidFill>
              </a:defRPr>
            </a:lvl1pPr>
          </a:lstStyle>
          <a:p>
            <a:pPr lvl="0"/>
            <a:r>
              <a:rPr lang="nl-NL" noProof="0"/>
              <a:t>Bron…</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3182" y="0"/>
            <a:ext cx="8132976" cy="6857999"/>
          </a:xfrm>
          <a:prstGeom prst="roundRect">
            <a:avLst>
              <a:gd name="adj" fmla="val 0"/>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pic>
        <p:nvPicPr>
          <p:cNvPr id="151" name="Afbeelding 150">
            <a:extLst>
              <a:ext uri="{FF2B5EF4-FFF2-40B4-BE49-F238E27FC236}">
                <a16:creationId xmlns:a16="http://schemas.microsoft.com/office/drawing/2014/main" id="{B9EBF0CF-FDA5-A448-9758-0BD0F22953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sp>
        <p:nvSpPr>
          <p:cNvPr id="5" name="Tekstvak 4"/>
          <p:cNvSpPr txBox="1"/>
          <p:nvPr userDrawn="1"/>
        </p:nvSpPr>
        <p:spPr>
          <a:xfrm>
            <a:off x="1852083" y="7577667"/>
            <a:ext cx="914400" cy="914400"/>
          </a:xfrm>
          <a:prstGeom prst="rect">
            <a:avLst/>
          </a:prstGeom>
          <a:noFill/>
        </p:spPr>
        <p:txBody>
          <a:bodyPr wrap="none" lIns="0" tIns="0" rIns="0" bIns="0" rtlCol="0">
            <a:noAutofit/>
          </a:bodyPr>
          <a:lstStyle/>
          <a:p>
            <a:pPr algn="l"/>
            <a:endParaRPr lang="nl-NL" sz="1600"/>
          </a:p>
        </p:txBody>
      </p:sp>
      <p:sp>
        <p:nvSpPr>
          <p:cNvPr id="6" name="Tekstvak 5">
            <a:extLst>
              <a:ext uri="{FF2B5EF4-FFF2-40B4-BE49-F238E27FC236}">
                <a16:creationId xmlns:a16="http://schemas.microsoft.com/office/drawing/2014/main" id="{FF653B23-0AAD-2C4D-AE2D-2082153E17E4}"/>
              </a:ext>
            </a:extLst>
          </p:cNvPr>
          <p:cNvSpPr txBox="1"/>
          <p:nvPr userDrawn="1"/>
        </p:nvSpPr>
        <p:spPr>
          <a:xfrm>
            <a:off x="3976577" y="-1594884"/>
            <a:ext cx="0" cy="0"/>
          </a:xfrm>
          <a:prstGeom prst="rect">
            <a:avLst/>
          </a:prstGeom>
          <a:noFill/>
        </p:spPr>
        <p:txBody>
          <a:bodyPr wrap="none" lIns="0" tIns="0" rIns="0" bIns="0" rtlCol="0">
            <a:noAutofit/>
          </a:bodyPr>
          <a:lstStyle/>
          <a:p>
            <a:pPr algn="l"/>
            <a:endParaRPr lang="nl-NL" sz="1600"/>
          </a:p>
        </p:txBody>
      </p:sp>
      <p:sp>
        <p:nvSpPr>
          <p:cNvPr id="152" name="Tijdelijke aanduiding voor tekst 34">
            <a:extLst>
              <a:ext uri="{FF2B5EF4-FFF2-40B4-BE49-F238E27FC236}">
                <a16:creationId xmlns:a16="http://schemas.microsoft.com/office/drawing/2014/main" id="{3E4C4D54-69F1-4A32-8A61-61DFCF6ED53A}"/>
              </a:ext>
            </a:extLst>
          </p:cNvPr>
          <p:cNvSpPr>
            <a:spLocks noGrp="1"/>
          </p:cNvSpPr>
          <p:nvPr>
            <p:ph type="body" sz="quarter" idx="16"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
        <p:nvSpPr>
          <p:cNvPr id="153" name="Tijdelijke aanduiding voor dianummer 3">
            <a:extLst>
              <a:ext uri="{FF2B5EF4-FFF2-40B4-BE49-F238E27FC236}">
                <a16:creationId xmlns:a16="http://schemas.microsoft.com/office/drawing/2014/main" id="{4C792D59-C791-492B-9186-8DEEBC5555DC}"/>
              </a:ext>
            </a:extLst>
          </p:cNvPr>
          <p:cNvSpPr txBox="1">
            <a:spLocks/>
          </p:cNvSpPr>
          <p:nvPr userDrawn="1"/>
        </p:nvSpPr>
        <p:spPr>
          <a:xfrm>
            <a:off x="263467" y="6547709"/>
            <a:ext cx="539998" cy="224300"/>
          </a:xfrm>
          <a:prstGeom prst="rect">
            <a:avLst/>
          </a:prstGeom>
        </p:spPr>
        <p:txBody>
          <a:bodyPr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fld id="{8D374ABD-355D-4B52-8A38-020B3DD5CC75}" type="slidenum">
              <a:rPr kumimoji="0" lang="nl-NL" sz="1200" b="1" i="0" u="none" strike="noStrike" kern="1200" cap="none" spc="0" normalizeH="0" baseline="0" noProof="0" smtClean="0">
                <a:ln>
                  <a:noFill/>
                </a:ln>
                <a:solidFill>
                  <a:schemeClr val="accent1"/>
                </a:solidFill>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a:t>
            </a:fld>
            <a:endParaRPr kumimoji="0" lang="nl-NL" sz="1200" b="1" i="0" u="none" strike="noStrike" kern="1200" cap="none" spc="0" normalizeH="0" baseline="0" noProof="0">
              <a:ln>
                <a:noFill/>
              </a:ln>
              <a:solidFill>
                <a:schemeClr val="accent1"/>
              </a:solidFill>
              <a:effectLst/>
              <a:uLnTx/>
              <a:uFillTx/>
              <a:latin typeface="Calibri"/>
              <a:ea typeface="+mn-ea"/>
              <a:cs typeface="+mn-cs"/>
            </a:endParaRPr>
          </a:p>
        </p:txBody>
      </p:sp>
    </p:spTree>
    <p:extLst>
      <p:ext uri="{BB962C8B-B14F-4D97-AF65-F5344CB8AC3E}">
        <p14:creationId xmlns:p14="http://schemas.microsoft.com/office/powerpoint/2010/main" val="9130250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4 TEKST / 3/4 AFBEELDING">
    <p:spTree>
      <p:nvGrpSpPr>
        <p:cNvPr id="1" name=""/>
        <p:cNvGrpSpPr/>
        <p:nvPr/>
      </p:nvGrpSpPr>
      <p:grpSpPr>
        <a:xfrm>
          <a:off x="0" y="0"/>
          <a:ext cx="0" cy="0"/>
          <a:chOff x="0" y="0"/>
          <a:chExt cx="0" cy="0"/>
        </a:xfrm>
      </p:grpSpPr>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3070556" y="0"/>
            <a:ext cx="9121443" cy="6857999"/>
          </a:xfrm>
          <a:prstGeom prst="roundRect">
            <a:avLst>
              <a:gd name="adj" fmla="val 0"/>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pic>
        <p:nvPicPr>
          <p:cNvPr id="151" name="Afbeelding 150">
            <a:extLst>
              <a:ext uri="{FF2B5EF4-FFF2-40B4-BE49-F238E27FC236}">
                <a16:creationId xmlns:a16="http://schemas.microsoft.com/office/drawing/2014/main" id="{B9EBF0CF-FDA5-A448-9758-0BD0F22953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sp>
        <p:nvSpPr>
          <p:cNvPr id="5" name="Tekstvak 4"/>
          <p:cNvSpPr txBox="1"/>
          <p:nvPr userDrawn="1"/>
        </p:nvSpPr>
        <p:spPr>
          <a:xfrm>
            <a:off x="1852083" y="7577667"/>
            <a:ext cx="914400" cy="914400"/>
          </a:xfrm>
          <a:prstGeom prst="rect">
            <a:avLst/>
          </a:prstGeom>
          <a:noFill/>
        </p:spPr>
        <p:txBody>
          <a:bodyPr wrap="none" lIns="0" tIns="0" rIns="0" bIns="0" rtlCol="0">
            <a:noAutofit/>
          </a:bodyPr>
          <a:lstStyle/>
          <a:p>
            <a:pPr algn="l"/>
            <a:endParaRPr lang="nl-NL" sz="1600"/>
          </a:p>
        </p:txBody>
      </p:sp>
      <p:sp>
        <p:nvSpPr>
          <p:cNvPr id="6" name="Tekstvak 5">
            <a:extLst>
              <a:ext uri="{FF2B5EF4-FFF2-40B4-BE49-F238E27FC236}">
                <a16:creationId xmlns:a16="http://schemas.microsoft.com/office/drawing/2014/main" id="{EA07560D-FE38-BA44-9400-ECBE42DE30E7}"/>
              </a:ext>
            </a:extLst>
          </p:cNvPr>
          <p:cNvSpPr txBox="1"/>
          <p:nvPr userDrawn="1"/>
        </p:nvSpPr>
        <p:spPr>
          <a:xfrm>
            <a:off x="-302781" y="3106538"/>
            <a:ext cx="0" cy="0"/>
          </a:xfrm>
          <a:prstGeom prst="rect">
            <a:avLst/>
          </a:prstGeom>
          <a:noFill/>
        </p:spPr>
        <p:txBody>
          <a:bodyPr wrap="none" lIns="0" tIns="0" rIns="0" bIns="0" rtlCol="0">
            <a:noAutofit/>
          </a:bodyPr>
          <a:lstStyle/>
          <a:p>
            <a:pPr algn="l"/>
            <a:endParaRPr lang="nl-NL" sz="1600"/>
          </a:p>
        </p:txBody>
      </p:sp>
      <p:sp>
        <p:nvSpPr>
          <p:cNvPr id="8" name="Tekstvak 7">
            <a:extLst>
              <a:ext uri="{FF2B5EF4-FFF2-40B4-BE49-F238E27FC236}">
                <a16:creationId xmlns:a16="http://schemas.microsoft.com/office/drawing/2014/main" id="{75D0CB5B-93A2-9D4E-9288-CFE55BDF7C16}"/>
              </a:ext>
            </a:extLst>
          </p:cNvPr>
          <p:cNvSpPr txBox="1"/>
          <p:nvPr userDrawn="1"/>
        </p:nvSpPr>
        <p:spPr>
          <a:xfrm>
            <a:off x="8378456" y="-1552353"/>
            <a:ext cx="0" cy="0"/>
          </a:xfrm>
          <a:prstGeom prst="rect">
            <a:avLst/>
          </a:prstGeom>
          <a:noFill/>
        </p:spPr>
        <p:txBody>
          <a:bodyPr wrap="none" lIns="0" tIns="0" rIns="0" bIns="0" rtlCol="0">
            <a:noAutofit/>
          </a:bodyPr>
          <a:lstStyle/>
          <a:p>
            <a:pPr algn="l"/>
            <a:endParaRPr lang="nl-NL" sz="1600"/>
          </a:p>
        </p:txBody>
      </p:sp>
      <p:sp>
        <p:nvSpPr>
          <p:cNvPr id="10" name="Tekstvak 9">
            <a:extLst>
              <a:ext uri="{FF2B5EF4-FFF2-40B4-BE49-F238E27FC236}">
                <a16:creationId xmlns:a16="http://schemas.microsoft.com/office/drawing/2014/main" id="{F9CDAEB5-3E11-6746-89F2-505AE660593B}"/>
              </a:ext>
            </a:extLst>
          </p:cNvPr>
          <p:cNvSpPr txBox="1"/>
          <p:nvPr userDrawn="1"/>
        </p:nvSpPr>
        <p:spPr>
          <a:xfrm>
            <a:off x="10239153" y="-935665"/>
            <a:ext cx="0" cy="0"/>
          </a:xfrm>
          <a:prstGeom prst="rect">
            <a:avLst/>
          </a:prstGeom>
          <a:noFill/>
        </p:spPr>
        <p:txBody>
          <a:bodyPr wrap="none" lIns="0" tIns="0" rIns="0" bIns="0" rtlCol="0">
            <a:noAutofit/>
          </a:bodyPr>
          <a:lstStyle/>
          <a:p>
            <a:pPr algn="l"/>
            <a:endParaRPr lang="nl-NL" sz="1600"/>
          </a:p>
        </p:txBody>
      </p:sp>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2" y="538833"/>
            <a:ext cx="2242390" cy="301139"/>
          </a:xfrm>
        </p:spPr>
        <p:txBody>
          <a:bodyPr/>
          <a:lstStyle>
            <a:lvl1pPr>
              <a:defRPr sz="2400" b="1">
                <a:solidFill>
                  <a:schemeClr val="accent1"/>
                </a:solidFill>
              </a:defRPr>
            </a:lvl1pPr>
          </a:lstStyle>
          <a:p>
            <a:r>
              <a:rPr lang="nl-NL" noProof="0"/>
              <a:t>Titel</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1" y="1468519"/>
            <a:ext cx="2242391" cy="4119774"/>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752" y="839972"/>
            <a:ext cx="2242476" cy="259612"/>
          </a:xfrm>
        </p:spPr>
        <p:txBody>
          <a:bodyPr/>
          <a:lstStyle>
            <a:lvl1pPr marL="0" indent="0">
              <a:buNone/>
              <a:defRPr sz="2000" b="0" i="1">
                <a:solidFill>
                  <a:schemeClr val="bg1">
                    <a:lumMod val="50000"/>
                  </a:schemeClr>
                </a:solidFill>
              </a:defRPr>
            </a:lvl1pPr>
          </a:lstStyle>
          <a:p>
            <a:pPr lvl="0"/>
            <a:r>
              <a:rPr lang="nl-NL" noProof="0"/>
              <a:t>Subtitel</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51" y="5758890"/>
            <a:ext cx="2236028" cy="130148"/>
          </a:xfrm>
        </p:spPr>
        <p:txBody>
          <a:bodyPr anchor="b"/>
          <a:lstStyle>
            <a:lvl1pPr marL="0" indent="0">
              <a:buNone/>
              <a:defRPr sz="1000" i="1">
                <a:solidFill>
                  <a:srgbClr val="7F7F7F"/>
                </a:solidFill>
              </a:defRPr>
            </a:lvl1pPr>
          </a:lstStyle>
          <a:p>
            <a:pPr lvl="0"/>
            <a:r>
              <a:rPr lang="nl-NL" noProof="0"/>
              <a:t>Bron…</a:t>
            </a:r>
          </a:p>
        </p:txBody>
      </p:sp>
      <p:pic>
        <p:nvPicPr>
          <p:cNvPr id="157" name="Afbeelding 156">
            <a:extLst>
              <a:ext uri="{FF2B5EF4-FFF2-40B4-BE49-F238E27FC236}">
                <a16:creationId xmlns:a16="http://schemas.microsoft.com/office/drawing/2014/main" id="{3CD30923-88D1-C941-BC48-7085F6417B2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11406" y="6035220"/>
            <a:ext cx="1366570" cy="357314"/>
          </a:xfrm>
          <a:prstGeom prst="rect">
            <a:avLst/>
          </a:prstGeom>
        </p:spPr>
      </p:pic>
      <p:sp>
        <p:nvSpPr>
          <p:cNvPr id="152" name="Tijdelijke aanduiding voor tekst 34">
            <a:extLst>
              <a:ext uri="{FF2B5EF4-FFF2-40B4-BE49-F238E27FC236}">
                <a16:creationId xmlns:a16="http://schemas.microsoft.com/office/drawing/2014/main" id="{5453A90F-ABA6-428F-B333-E92AC79D67A0}"/>
              </a:ext>
            </a:extLst>
          </p:cNvPr>
          <p:cNvSpPr>
            <a:spLocks noGrp="1"/>
          </p:cNvSpPr>
          <p:nvPr>
            <p:ph type="body" sz="quarter" idx="16"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34560752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1/4 TEKST / 3/4 AFBEELDING / GESPIEGELD">
    <p:spTree>
      <p:nvGrpSpPr>
        <p:cNvPr id="1" name=""/>
        <p:cNvGrpSpPr/>
        <p:nvPr/>
      </p:nvGrpSpPr>
      <p:grpSpPr>
        <a:xfrm>
          <a:off x="0" y="0"/>
          <a:ext cx="0" cy="0"/>
          <a:chOff x="0" y="0"/>
          <a:chExt cx="0" cy="0"/>
        </a:xfrm>
      </p:grpSpPr>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751" y="0"/>
            <a:ext cx="9121443" cy="6857999"/>
          </a:xfrm>
          <a:prstGeom prst="roundRect">
            <a:avLst>
              <a:gd name="adj" fmla="val 0"/>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pic>
        <p:nvPicPr>
          <p:cNvPr id="151" name="Afbeelding 150">
            <a:extLst>
              <a:ext uri="{FF2B5EF4-FFF2-40B4-BE49-F238E27FC236}">
                <a16:creationId xmlns:a16="http://schemas.microsoft.com/office/drawing/2014/main" id="{B9EBF0CF-FDA5-A448-9758-0BD0F22953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sp>
        <p:nvSpPr>
          <p:cNvPr id="5" name="Tekstvak 4"/>
          <p:cNvSpPr txBox="1"/>
          <p:nvPr userDrawn="1"/>
        </p:nvSpPr>
        <p:spPr>
          <a:xfrm>
            <a:off x="1852083" y="7577667"/>
            <a:ext cx="914400" cy="914400"/>
          </a:xfrm>
          <a:prstGeom prst="rect">
            <a:avLst/>
          </a:prstGeom>
          <a:noFill/>
        </p:spPr>
        <p:txBody>
          <a:bodyPr wrap="none" lIns="0" tIns="0" rIns="0" bIns="0" rtlCol="0">
            <a:noAutofit/>
          </a:bodyPr>
          <a:lstStyle/>
          <a:p>
            <a:pPr algn="l"/>
            <a:endParaRPr lang="nl-NL" sz="1600"/>
          </a:p>
        </p:txBody>
      </p:sp>
      <p:sp>
        <p:nvSpPr>
          <p:cNvPr id="6" name="Tekstvak 5">
            <a:extLst>
              <a:ext uri="{FF2B5EF4-FFF2-40B4-BE49-F238E27FC236}">
                <a16:creationId xmlns:a16="http://schemas.microsoft.com/office/drawing/2014/main" id="{EA07560D-FE38-BA44-9400-ECBE42DE30E7}"/>
              </a:ext>
            </a:extLst>
          </p:cNvPr>
          <p:cNvSpPr txBox="1"/>
          <p:nvPr userDrawn="1"/>
        </p:nvSpPr>
        <p:spPr>
          <a:xfrm>
            <a:off x="-302781" y="3106538"/>
            <a:ext cx="0" cy="0"/>
          </a:xfrm>
          <a:prstGeom prst="rect">
            <a:avLst/>
          </a:prstGeom>
          <a:noFill/>
        </p:spPr>
        <p:txBody>
          <a:bodyPr wrap="none" lIns="0" tIns="0" rIns="0" bIns="0" rtlCol="0">
            <a:noAutofit/>
          </a:bodyPr>
          <a:lstStyle/>
          <a:p>
            <a:pPr algn="l"/>
            <a:endParaRPr lang="nl-NL" sz="1600"/>
          </a:p>
        </p:txBody>
      </p:sp>
      <p:sp>
        <p:nvSpPr>
          <p:cNvPr id="8" name="Tekstvak 7">
            <a:extLst>
              <a:ext uri="{FF2B5EF4-FFF2-40B4-BE49-F238E27FC236}">
                <a16:creationId xmlns:a16="http://schemas.microsoft.com/office/drawing/2014/main" id="{75D0CB5B-93A2-9D4E-9288-CFE55BDF7C16}"/>
              </a:ext>
            </a:extLst>
          </p:cNvPr>
          <p:cNvSpPr txBox="1"/>
          <p:nvPr userDrawn="1"/>
        </p:nvSpPr>
        <p:spPr>
          <a:xfrm>
            <a:off x="8378456" y="-1552353"/>
            <a:ext cx="0" cy="0"/>
          </a:xfrm>
          <a:prstGeom prst="rect">
            <a:avLst/>
          </a:prstGeom>
          <a:noFill/>
        </p:spPr>
        <p:txBody>
          <a:bodyPr wrap="none" lIns="0" tIns="0" rIns="0" bIns="0" rtlCol="0">
            <a:noAutofit/>
          </a:bodyPr>
          <a:lstStyle/>
          <a:p>
            <a:pPr algn="l"/>
            <a:endParaRPr lang="nl-NL" sz="1600"/>
          </a:p>
        </p:txBody>
      </p:sp>
      <p:sp>
        <p:nvSpPr>
          <p:cNvPr id="10" name="Tekstvak 9">
            <a:extLst>
              <a:ext uri="{FF2B5EF4-FFF2-40B4-BE49-F238E27FC236}">
                <a16:creationId xmlns:a16="http://schemas.microsoft.com/office/drawing/2014/main" id="{F9CDAEB5-3E11-6746-89F2-505AE660593B}"/>
              </a:ext>
            </a:extLst>
          </p:cNvPr>
          <p:cNvSpPr txBox="1"/>
          <p:nvPr userDrawn="1"/>
        </p:nvSpPr>
        <p:spPr>
          <a:xfrm>
            <a:off x="10239153" y="-935665"/>
            <a:ext cx="0" cy="0"/>
          </a:xfrm>
          <a:prstGeom prst="rect">
            <a:avLst/>
          </a:prstGeom>
          <a:noFill/>
        </p:spPr>
        <p:txBody>
          <a:bodyPr wrap="none" lIns="0" tIns="0" rIns="0" bIns="0" rtlCol="0">
            <a:noAutofit/>
          </a:bodyPr>
          <a:lstStyle/>
          <a:p>
            <a:pPr algn="l"/>
            <a:endParaRPr lang="nl-NL" sz="1600"/>
          </a:p>
        </p:txBody>
      </p:sp>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9472826" y="538833"/>
            <a:ext cx="2242390" cy="301139"/>
          </a:xfrm>
        </p:spPr>
        <p:txBody>
          <a:bodyPr/>
          <a:lstStyle>
            <a:lvl1pPr>
              <a:defRPr sz="2400" b="1">
                <a:solidFill>
                  <a:schemeClr val="accent1"/>
                </a:solidFill>
              </a:defRPr>
            </a:lvl1pPr>
          </a:lstStyle>
          <a:p>
            <a:r>
              <a:rPr lang="nl-NL" noProof="0"/>
              <a:t>Titel</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9472825" y="1468519"/>
            <a:ext cx="2242391" cy="4119774"/>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9472576" y="839972"/>
            <a:ext cx="2242476" cy="259612"/>
          </a:xfrm>
        </p:spPr>
        <p:txBody>
          <a:bodyPr/>
          <a:lstStyle>
            <a:lvl1pPr marL="0" indent="0">
              <a:buNone/>
              <a:defRPr sz="2000" b="0" i="1">
                <a:solidFill>
                  <a:schemeClr val="bg1">
                    <a:lumMod val="50000"/>
                  </a:schemeClr>
                </a:solidFill>
              </a:defRPr>
            </a:lvl1pPr>
          </a:lstStyle>
          <a:p>
            <a:pPr lvl="0"/>
            <a:r>
              <a:rPr lang="nl-NL" noProof="0"/>
              <a:t>Subtitel</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9472575" y="5758890"/>
            <a:ext cx="2236028" cy="130148"/>
          </a:xfrm>
        </p:spPr>
        <p:txBody>
          <a:bodyPr anchor="b"/>
          <a:lstStyle>
            <a:lvl1pPr marL="0" indent="0">
              <a:buNone/>
              <a:defRPr sz="1000" i="1">
                <a:solidFill>
                  <a:srgbClr val="7F7F7F"/>
                </a:solidFill>
              </a:defRPr>
            </a:lvl1pPr>
          </a:lstStyle>
          <a:p>
            <a:pPr lvl="0"/>
            <a:r>
              <a:rPr lang="nl-NL" noProof="0"/>
              <a:t>Bron…</a:t>
            </a:r>
          </a:p>
        </p:txBody>
      </p:sp>
      <p:sp>
        <p:nvSpPr>
          <p:cNvPr id="152" name="Tijdelijke aanduiding voor tekst 34">
            <a:extLst>
              <a:ext uri="{FF2B5EF4-FFF2-40B4-BE49-F238E27FC236}">
                <a16:creationId xmlns:a16="http://schemas.microsoft.com/office/drawing/2014/main" id="{73F07C6A-9652-4A23-B969-2B50832E188E}"/>
              </a:ext>
            </a:extLst>
          </p:cNvPr>
          <p:cNvSpPr>
            <a:spLocks noGrp="1"/>
          </p:cNvSpPr>
          <p:nvPr>
            <p:ph type="body" sz="quarter" idx="16"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
        <p:nvSpPr>
          <p:cNvPr id="153" name="Tijdelijke aanduiding voor dianummer 3">
            <a:extLst>
              <a:ext uri="{FF2B5EF4-FFF2-40B4-BE49-F238E27FC236}">
                <a16:creationId xmlns:a16="http://schemas.microsoft.com/office/drawing/2014/main" id="{113C72B7-3E76-40AF-A917-CEA1675628CC}"/>
              </a:ext>
            </a:extLst>
          </p:cNvPr>
          <p:cNvSpPr txBox="1">
            <a:spLocks/>
          </p:cNvSpPr>
          <p:nvPr userDrawn="1"/>
        </p:nvSpPr>
        <p:spPr>
          <a:xfrm>
            <a:off x="263467" y="6547709"/>
            <a:ext cx="539998" cy="224300"/>
          </a:xfrm>
          <a:prstGeom prst="rect">
            <a:avLst/>
          </a:prstGeom>
        </p:spPr>
        <p:txBody>
          <a:bodyPr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fld id="{8D374ABD-355D-4B52-8A38-020B3DD5CC75}" type="slidenum">
              <a:rPr kumimoji="0" lang="nl-NL" sz="1200" b="1" i="0" u="none" strike="noStrike" kern="1200" cap="none" spc="0" normalizeH="0" baseline="0" noProof="0" smtClean="0">
                <a:ln>
                  <a:noFill/>
                </a:ln>
                <a:solidFill>
                  <a:schemeClr val="accent1"/>
                </a:solidFill>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a:t>
            </a:fld>
            <a:endParaRPr kumimoji="0" lang="nl-NL" sz="1200" b="1" i="0" u="none" strike="noStrike" kern="1200" cap="none" spc="0" normalizeH="0" baseline="0" noProof="0">
              <a:ln>
                <a:noFill/>
              </a:ln>
              <a:solidFill>
                <a:schemeClr val="accent1"/>
              </a:solidFill>
              <a:effectLst/>
              <a:uLnTx/>
              <a:uFillTx/>
              <a:latin typeface="Calibri"/>
              <a:ea typeface="+mn-ea"/>
              <a:cs typeface="+mn-cs"/>
            </a:endParaRPr>
          </a:p>
        </p:txBody>
      </p:sp>
    </p:spTree>
    <p:extLst>
      <p:ext uri="{BB962C8B-B14F-4D97-AF65-F5344CB8AC3E}">
        <p14:creationId xmlns:p14="http://schemas.microsoft.com/office/powerpoint/2010/main" val="37954816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46A8D6-83C6-854B-ABC0-ED2912D8EC72}"/>
              </a:ext>
            </a:extLst>
          </p:cNvPr>
          <p:cNvSpPr>
            <a:spLocks noGrp="1"/>
          </p:cNvSpPr>
          <p:nvPr>
            <p:ph type="title"/>
          </p:nvPr>
        </p:nvSpPr>
        <p:spPr/>
        <p:txBody>
          <a:bodyPr/>
          <a:lstStyle/>
          <a:p>
            <a:r>
              <a:rPr lang="nl-NL"/>
              <a:t>Klik om stijl te bewerken</a:t>
            </a:r>
          </a:p>
        </p:txBody>
      </p:sp>
      <p:sp>
        <p:nvSpPr>
          <p:cNvPr id="6" name="Tijdelijke aanduiding voor tekst 34">
            <a:extLst>
              <a:ext uri="{FF2B5EF4-FFF2-40B4-BE49-F238E27FC236}">
                <a16:creationId xmlns:a16="http://schemas.microsoft.com/office/drawing/2014/main" id="{04D035A9-5946-4B13-B4F3-DD2237EB6518}"/>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28911400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angepaste indeling">
    <p:spTree>
      <p:nvGrpSpPr>
        <p:cNvPr id="1" name=""/>
        <p:cNvGrpSpPr/>
        <p:nvPr/>
      </p:nvGrpSpPr>
      <p:grpSpPr>
        <a:xfrm>
          <a:off x="0" y="0"/>
          <a:ext cx="0" cy="0"/>
          <a:chOff x="0" y="0"/>
          <a:chExt cx="0" cy="0"/>
        </a:xfrm>
      </p:grpSpPr>
      <p:sp>
        <p:nvSpPr>
          <p:cNvPr id="4" name="Afgeronde rechthoek 4">
            <a:extLst>
              <a:ext uri="{FF2B5EF4-FFF2-40B4-BE49-F238E27FC236}">
                <a16:creationId xmlns:a16="http://schemas.microsoft.com/office/drawing/2014/main" id="{C217F7DA-94A0-49A2-9A38-AF11C291CFDC}"/>
              </a:ext>
            </a:extLst>
          </p:cNvPr>
          <p:cNvSpPr/>
          <p:nvPr userDrawn="1"/>
        </p:nvSpPr>
        <p:spPr>
          <a:xfrm>
            <a:off x="320895" y="245806"/>
            <a:ext cx="11550210" cy="6257262"/>
          </a:xfrm>
          <a:prstGeom prst="roundRect">
            <a:avLst>
              <a:gd name="adj" fmla="val 216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
          </a:p>
        </p:txBody>
      </p:sp>
      <p:pic>
        <p:nvPicPr>
          <p:cNvPr id="7" name="Afbeelding 6">
            <a:extLst>
              <a:ext uri="{FF2B5EF4-FFF2-40B4-BE49-F238E27FC236}">
                <a16:creationId xmlns:a16="http://schemas.microsoft.com/office/drawing/2014/main" id="{063CAF18-D660-49D5-8B94-8D9554BC4550}"/>
              </a:ext>
            </a:extLst>
          </p:cNvPr>
          <p:cNvPicPr>
            <a:picLocks noChangeAspect="1"/>
          </p:cNvPicPr>
          <p:nvPr userDrawn="1"/>
        </p:nvPicPr>
        <p:blipFill>
          <a:blip r:embed="rId2"/>
          <a:stretch>
            <a:fillRect/>
          </a:stretch>
        </p:blipFill>
        <p:spPr>
          <a:xfrm>
            <a:off x="9841832" y="6263037"/>
            <a:ext cx="1811769" cy="480061"/>
          </a:xfrm>
          <a:prstGeom prst="rect">
            <a:avLst/>
          </a:prstGeom>
        </p:spPr>
      </p:pic>
    </p:spTree>
    <p:extLst>
      <p:ext uri="{BB962C8B-B14F-4D97-AF65-F5344CB8AC3E}">
        <p14:creationId xmlns:p14="http://schemas.microsoft.com/office/powerpoint/2010/main" val="16122898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 AFBEELDING (M)">
    <p:spTree>
      <p:nvGrpSpPr>
        <p:cNvPr id="1" name=""/>
        <p:cNvGrpSpPr/>
        <p:nvPr/>
      </p:nvGrpSpPr>
      <p:grpSpPr>
        <a:xfrm>
          <a:off x="0" y="0"/>
          <a:ext cx="0" cy="0"/>
          <a:chOff x="0" y="0"/>
          <a:chExt cx="0" cy="0"/>
        </a:xfrm>
      </p:grpSpPr>
      <p:sp>
        <p:nvSpPr>
          <p:cNvPr id="137"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0" y="0"/>
            <a:ext cx="12192000" cy="6857999"/>
          </a:xfrm>
          <a:prstGeom prst="roundRect">
            <a:avLst>
              <a:gd name="adj" fmla="val 0"/>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pic>
        <p:nvPicPr>
          <p:cNvPr id="133" name="Afbeelding 132">
            <a:extLst>
              <a:ext uri="{FF2B5EF4-FFF2-40B4-BE49-F238E27FC236}">
                <a16:creationId xmlns:a16="http://schemas.microsoft.com/office/drawing/2014/main" id="{6F8F834A-3545-9C4E-A55E-3FBBA07523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96684" y="270521"/>
            <a:ext cx="4787900" cy="4025900"/>
          </a:xfrm>
          <a:prstGeom prst="rect">
            <a:avLst/>
          </a:prstGeom>
        </p:spPr>
      </p:pic>
      <p:sp>
        <p:nvSpPr>
          <p:cNvPr id="131"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7409287" y="621056"/>
            <a:ext cx="4067063" cy="248232"/>
          </a:xfrm>
        </p:spPr>
        <p:txBody>
          <a:bodyPr/>
          <a:lstStyle>
            <a:lvl1pPr>
              <a:defRPr sz="2400" b="1">
                <a:solidFill>
                  <a:schemeClr val="accent1"/>
                </a:solidFill>
              </a:defRPr>
            </a:lvl1pPr>
          </a:lstStyle>
          <a:p>
            <a:r>
              <a:rPr lang="nl-NL" noProof="0"/>
              <a:t>Voeg hier een titel in</a:t>
            </a:r>
            <a:endParaRPr lang="nl-NL"/>
          </a:p>
        </p:txBody>
      </p:sp>
      <p:sp>
        <p:nvSpPr>
          <p:cNvPr id="132"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7409286" y="1148576"/>
            <a:ext cx="4061225" cy="2706539"/>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3"/>
            <a:r>
              <a:rPr lang="nl-NL" noProof="0"/>
              <a:t>Leestekst -Kies een wolkje uit op slide 2 als achtergrond</a:t>
            </a:r>
          </a:p>
        </p:txBody>
      </p:sp>
      <p:pic>
        <p:nvPicPr>
          <p:cNvPr id="136" name="Afbeelding 135">
            <a:extLst>
              <a:ext uri="{FF2B5EF4-FFF2-40B4-BE49-F238E27FC236}">
                <a16:creationId xmlns:a16="http://schemas.microsoft.com/office/drawing/2014/main" id="{B9EBF0CF-FDA5-A448-9758-0BD0F22953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pic>
        <p:nvPicPr>
          <p:cNvPr id="150" name="Afbeelding 149">
            <a:extLst>
              <a:ext uri="{FF2B5EF4-FFF2-40B4-BE49-F238E27FC236}">
                <a16:creationId xmlns:a16="http://schemas.microsoft.com/office/drawing/2014/main" id="{F08445DB-675B-314D-8293-D5C4128CEE4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11406" y="6035220"/>
            <a:ext cx="1366570" cy="357314"/>
          </a:xfrm>
          <a:prstGeom prst="rect">
            <a:avLst/>
          </a:prstGeom>
        </p:spPr>
      </p:pic>
      <p:sp>
        <p:nvSpPr>
          <p:cNvPr id="151" name="Tijdelijke aanduiding voor tekst 34">
            <a:extLst>
              <a:ext uri="{FF2B5EF4-FFF2-40B4-BE49-F238E27FC236}">
                <a16:creationId xmlns:a16="http://schemas.microsoft.com/office/drawing/2014/main" id="{504257D6-DFD6-46E6-B059-CC1273295373}"/>
              </a:ext>
            </a:extLst>
          </p:cNvPr>
          <p:cNvSpPr>
            <a:spLocks noGrp="1"/>
          </p:cNvSpPr>
          <p:nvPr>
            <p:ph type="body" sz="quarter" idx="16"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
        <p:nvSpPr>
          <p:cNvPr id="152" name="Tijdelijke aanduiding voor dianummer 3">
            <a:extLst>
              <a:ext uri="{FF2B5EF4-FFF2-40B4-BE49-F238E27FC236}">
                <a16:creationId xmlns:a16="http://schemas.microsoft.com/office/drawing/2014/main" id="{8A8ABDE9-678D-4007-A7AF-A3899829C454}"/>
              </a:ext>
            </a:extLst>
          </p:cNvPr>
          <p:cNvSpPr txBox="1">
            <a:spLocks/>
          </p:cNvSpPr>
          <p:nvPr userDrawn="1"/>
        </p:nvSpPr>
        <p:spPr>
          <a:xfrm>
            <a:off x="263467" y="6547709"/>
            <a:ext cx="539998" cy="224300"/>
          </a:xfrm>
          <a:prstGeom prst="rect">
            <a:avLst/>
          </a:prstGeom>
        </p:spPr>
        <p:txBody>
          <a:bodyPr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fld id="{8D374ABD-355D-4B52-8A38-020B3DD5CC75}" type="slidenum">
              <a:rPr kumimoji="0" lang="nl-NL" sz="1200" b="1" i="0" u="none" strike="noStrike" kern="1200" cap="none" spc="0" normalizeH="0" baseline="0" noProof="0" smtClean="0">
                <a:ln>
                  <a:noFill/>
                </a:ln>
                <a:solidFill>
                  <a:schemeClr val="accent1"/>
                </a:solidFill>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a:t>
            </a:fld>
            <a:endParaRPr kumimoji="0" lang="nl-NL" sz="1200" b="1" i="0" u="none" strike="noStrike" kern="1200" cap="none" spc="0" normalizeH="0" baseline="0" noProof="0">
              <a:ln>
                <a:noFill/>
              </a:ln>
              <a:solidFill>
                <a:schemeClr val="accent1"/>
              </a:solidFill>
              <a:effectLst/>
              <a:uLnTx/>
              <a:uFillTx/>
              <a:latin typeface="Calibri"/>
              <a:ea typeface="+mn-ea"/>
              <a:cs typeface="+mn-cs"/>
            </a:endParaRPr>
          </a:p>
        </p:txBody>
      </p:sp>
    </p:spTree>
    <p:extLst>
      <p:ext uri="{BB962C8B-B14F-4D97-AF65-F5344CB8AC3E}">
        <p14:creationId xmlns:p14="http://schemas.microsoft.com/office/powerpoint/2010/main" val="12620891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en Object - oranje">
    <p:spTree>
      <p:nvGrpSpPr>
        <p:cNvPr id="1" name=""/>
        <p:cNvGrpSpPr/>
        <p:nvPr/>
      </p:nvGrpSpPr>
      <p:grpSpPr>
        <a:xfrm>
          <a:off x="0" y="0"/>
          <a:ext cx="0" cy="0"/>
          <a:chOff x="0" y="0"/>
          <a:chExt cx="0" cy="0"/>
        </a:xfrm>
      </p:grpSpPr>
      <p:sp>
        <p:nvSpPr>
          <p:cNvPr id="2" name="Title 1"/>
          <p:cNvSpPr>
            <a:spLocks noGrp="1"/>
          </p:cNvSpPr>
          <p:nvPr>
            <p:ph type="title"/>
          </p:nvPr>
        </p:nvSpPr>
        <p:spPr>
          <a:xfrm>
            <a:off x="502652" y="533569"/>
            <a:ext cx="11133221" cy="584775"/>
          </a:xfrm>
        </p:spPr>
        <p:txBody>
          <a:bodyPr>
            <a:spAutoFit/>
          </a:bodyPr>
          <a:lstStyle>
            <a:lvl1pPr>
              <a:defRPr>
                <a:solidFill>
                  <a:schemeClr val="accent2"/>
                </a:solidFill>
              </a:defRPr>
            </a:lvl1pPr>
          </a:lstStyle>
          <a:p>
            <a:r>
              <a:rPr lang="nl-NL" noProof="0"/>
              <a:t>Klik om de stijl te bewerken</a:t>
            </a:r>
          </a:p>
        </p:txBody>
      </p:sp>
      <p:sp>
        <p:nvSpPr>
          <p:cNvPr id="8" name="Tekstvak 7"/>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 Oranje</a:t>
            </a:r>
          </a:p>
        </p:txBody>
      </p:sp>
      <p:sp>
        <p:nvSpPr>
          <p:cNvPr id="41"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77" name="Content Placeholder 2"/>
          <p:cNvSpPr>
            <a:spLocks noGrp="1"/>
          </p:cNvSpPr>
          <p:nvPr>
            <p:ph sz="half" idx="1"/>
          </p:nvPr>
        </p:nvSpPr>
        <p:spPr>
          <a:xfrm>
            <a:off x="502654" y="1708486"/>
            <a:ext cx="11133220" cy="333065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78" name="Content Placeholder 2"/>
          <p:cNvSpPr>
            <a:spLocks noGrp="1"/>
          </p:cNvSpPr>
          <p:nvPr>
            <p:ph sz="half" idx="14"/>
          </p:nvPr>
        </p:nvSpPr>
        <p:spPr>
          <a:xfrm>
            <a:off x="502654" y="5172796"/>
            <a:ext cx="11133220" cy="276999"/>
          </a:xfrm>
        </p:spPr>
        <p:txBody>
          <a:bodyPr>
            <a:sp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Klik om de modelstijlen te bewerken</a:t>
            </a:r>
          </a:p>
        </p:txBody>
      </p:sp>
      <p:grpSp>
        <p:nvGrpSpPr>
          <p:cNvPr id="100" name="Groep 99"/>
          <p:cNvGrpSpPr/>
          <p:nvPr userDrawn="1"/>
        </p:nvGrpSpPr>
        <p:grpSpPr>
          <a:xfrm>
            <a:off x="-3279573" y="5020705"/>
            <a:ext cx="3086613" cy="1841358"/>
            <a:chOff x="8427776" y="4654945"/>
            <a:chExt cx="2314960" cy="1841358"/>
          </a:xfrm>
        </p:grpSpPr>
        <p:grpSp>
          <p:nvGrpSpPr>
            <p:cNvPr id="101" name="Groep 100"/>
            <p:cNvGrpSpPr/>
            <p:nvPr userDrawn="1"/>
          </p:nvGrpSpPr>
          <p:grpSpPr>
            <a:xfrm>
              <a:off x="8432864" y="4781014"/>
              <a:ext cx="2309872" cy="1592662"/>
              <a:chOff x="-3092517" y="-83840"/>
              <a:chExt cx="3136706" cy="2509126"/>
            </a:xfrm>
          </p:grpSpPr>
          <p:sp>
            <p:nvSpPr>
              <p:cNvPr id="10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5" name="Ovaal 10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106" name="Ovaal 10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107" name="Ovaal 10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10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1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111" name="Ovaal 11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112" name="Ovaal 11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11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102" name="Rechte verbindingslijn 10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45"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46" name="Groep 45"/>
          <p:cNvGrpSpPr/>
          <p:nvPr userDrawn="1"/>
        </p:nvGrpSpPr>
        <p:grpSpPr>
          <a:xfrm>
            <a:off x="-3471145" y="-46322"/>
            <a:ext cx="3471145" cy="3781320"/>
            <a:chOff x="-2603359" y="-46322"/>
            <a:chExt cx="2603359" cy="3781320"/>
          </a:xfrm>
        </p:grpSpPr>
        <p:sp>
          <p:nvSpPr>
            <p:cNvPr id="47" name="Afgeronde rechthoek 46"/>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48"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49"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0"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51"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52" name="Afgeronde rechthoek 5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53" name="Rechthoek 5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54" name="Rechte verbindingslijn 5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5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5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5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5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6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61" name="Afgeronde rechthoek 6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6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6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6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6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6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23244659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EKST / AFBEELDING (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3692A6E-E990-4903-80EF-36A164609C63}"/>
              </a:ext>
            </a:extLst>
          </p:cNvPr>
          <p:cNvGraphicFramePr>
            <a:graphicFrameLocks noChangeAspect="1"/>
          </p:cNvGraphicFramePr>
          <p:nvPr userDrawn="1">
            <p:custDataLst>
              <p:tags r:id="rId1"/>
            </p:custDataLst>
            <p:extLst>
              <p:ext uri="{D42A27DB-BD31-4B8C-83A1-F6EECF244321}">
                <p14:modId xmlns:p14="http://schemas.microsoft.com/office/powerpoint/2010/main" val="3756971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F3692A6E-E990-4903-80EF-36A164609C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hoek 3">
            <a:extLst>
              <a:ext uri="{FF2B5EF4-FFF2-40B4-BE49-F238E27FC236}">
                <a16:creationId xmlns:a16="http://schemas.microsoft.com/office/drawing/2014/main" id="{97951907-7A05-4682-AF6D-4F0A557A5C9F}"/>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err="1"/>
          </a:p>
        </p:txBody>
      </p:sp>
      <p:pic>
        <p:nvPicPr>
          <p:cNvPr id="134" name="Afbeelding 133">
            <a:extLst>
              <a:ext uri="{FF2B5EF4-FFF2-40B4-BE49-F238E27FC236}">
                <a16:creationId xmlns:a16="http://schemas.microsoft.com/office/drawing/2014/main" id="{994670F5-C1D2-2143-8EAA-FE8BCA6BA4F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61271" y="1987826"/>
            <a:ext cx="6725920" cy="3685691"/>
          </a:xfrm>
          <a:prstGeom prst="rect">
            <a:avLst/>
          </a:prstGeom>
        </p:spPr>
      </p:pic>
      <p:sp>
        <p:nvSpPr>
          <p:cNvPr id="131"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871980" y="1269760"/>
            <a:ext cx="4596483" cy="346577"/>
          </a:xfrm>
        </p:spPr>
        <p:txBody>
          <a:bodyPr vert="horz"/>
          <a:lstStyle>
            <a:lvl1pPr>
              <a:defRPr sz="3200" b="1">
                <a:solidFill>
                  <a:schemeClr val="accent1"/>
                </a:solidFill>
              </a:defRPr>
            </a:lvl1pPr>
          </a:lstStyle>
          <a:p>
            <a:r>
              <a:rPr lang="nl-NL" noProof="0"/>
              <a:t>Voeg hier een titel in</a:t>
            </a:r>
            <a:endParaRPr lang="nl-NL"/>
          </a:p>
        </p:txBody>
      </p:sp>
      <p:sp>
        <p:nvSpPr>
          <p:cNvPr id="132"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1329179" y="2686399"/>
            <a:ext cx="4589885" cy="2492130"/>
          </a:xfrm>
        </p:spPr>
        <p:txBody>
          <a:bodyPr vert="horz"/>
          <a:lstStyle>
            <a:lvl1pPr marL="177800" indent="-177800">
              <a:buSzPct val="110000"/>
              <a:buFont typeface="Arial"/>
              <a:buChar char="•"/>
              <a:defRPr>
                <a:solidFill>
                  <a:srgbClr val="7F7F7F"/>
                </a:solidFill>
              </a:defRPr>
            </a:lvl1pPr>
            <a:lvl2pPr marL="355600" indent="-177800">
              <a:buSzPct val="110000"/>
              <a:buFont typeface="Arial"/>
              <a:buChar char="•"/>
              <a:defRPr>
                <a:solidFill>
                  <a:srgbClr val="7F7F7F"/>
                </a:solidFill>
              </a:defRPr>
            </a:lvl2pPr>
            <a:lvl3pPr>
              <a:buClrTx/>
              <a:defRPr>
                <a:solidFill>
                  <a:srgbClr val="7F7F7F"/>
                </a:solidFill>
              </a:defRPr>
            </a:lvl3pPr>
            <a:lvl4pPr marL="0" marR="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solidFill>
                  <a:srgbClr val="7F7F7F"/>
                </a:solidFill>
              </a:defRPr>
            </a:lvl4pPr>
            <a:lvl5pPr>
              <a:defRPr/>
            </a:lvl5pPr>
            <a:lvl6pPr>
              <a:buClrTx/>
              <a:defRPr>
                <a:solidFill>
                  <a:srgbClr val="7F7F7F"/>
                </a:solidFill>
              </a:defRPr>
            </a:lvl6pPr>
            <a:lvl7pPr>
              <a:buClrTx/>
              <a:defRPr>
                <a:solidFill>
                  <a:srgbClr val="7F7F7F"/>
                </a:solidFill>
              </a:defRPr>
            </a:lvl7pPr>
            <a:lvl8pPr>
              <a:defRPr>
                <a:solidFill>
                  <a:srgbClr val="7F7F7F"/>
                </a:solidFill>
              </a:defRPr>
            </a:lvl8pPr>
            <a:lvl9pPr>
              <a:defRPr>
                <a:solidFill>
                  <a:srgbClr val="7F7F7F"/>
                </a:solidFill>
              </a:defRPr>
            </a:lvl9pPr>
          </a:lstStyle>
          <a:p>
            <a:pPr lvl="3"/>
            <a:r>
              <a:rPr lang="nl-NL" noProof="0"/>
              <a:t>Leestekst - Kies een wolkje uit op slide 2 als achtergrond</a:t>
            </a:r>
          </a:p>
          <a:p>
            <a:pPr lvl="3"/>
            <a:endParaRPr lang="nl-NL" noProof="0"/>
          </a:p>
        </p:txBody>
      </p:sp>
      <p:pic>
        <p:nvPicPr>
          <p:cNvPr id="136" name="Afbeelding 135">
            <a:extLst>
              <a:ext uri="{FF2B5EF4-FFF2-40B4-BE49-F238E27FC236}">
                <a16:creationId xmlns:a16="http://schemas.microsoft.com/office/drawing/2014/main" id="{B9EBF0CF-FDA5-A448-9758-0BD0F22953E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sp>
        <p:nvSpPr>
          <p:cNvPr id="2" name="Tekstvak 1"/>
          <p:cNvSpPr txBox="1"/>
          <p:nvPr userDrawn="1"/>
        </p:nvSpPr>
        <p:spPr>
          <a:xfrm>
            <a:off x="9916583" y="-762000"/>
            <a:ext cx="914400" cy="914400"/>
          </a:xfrm>
          <a:prstGeom prst="rect">
            <a:avLst/>
          </a:prstGeom>
          <a:noFill/>
        </p:spPr>
        <p:txBody>
          <a:bodyPr wrap="none" lIns="0" tIns="0" rIns="0" bIns="0" rtlCol="0">
            <a:noAutofit/>
          </a:bodyPr>
          <a:lstStyle/>
          <a:p>
            <a:pPr algn="l"/>
            <a:endParaRPr lang="nl-NL" sz="1600"/>
          </a:p>
        </p:txBody>
      </p:sp>
      <p:sp>
        <p:nvSpPr>
          <p:cNvPr id="3" name="Tekstvak 2"/>
          <p:cNvSpPr txBox="1"/>
          <p:nvPr userDrawn="1"/>
        </p:nvSpPr>
        <p:spPr>
          <a:xfrm>
            <a:off x="4635500" y="-1735667"/>
            <a:ext cx="914400" cy="914400"/>
          </a:xfrm>
          <a:prstGeom prst="rect">
            <a:avLst/>
          </a:prstGeom>
          <a:noFill/>
        </p:spPr>
        <p:txBody>
          <a:bodyPr wrap="none" lIns="0" tIns="0" rIns="0" bIns="0" rtlCol="0">
            <a:noAutofit/>
          </a:bodyPr>
          <a:lstStyle/>
          <a:p>
            <a:pPr algn="l"/>
            <a:endParaRPr lang="nl-NL" sz="1600"/>
          </a:p>
        </p:txBody>
      </p:sp>
      <p:pic>
        <p:nvPicPr>
          <p:cNvPr id="150" name="Afbeelding 149">
            <a:extLst>
              <a:ext uri="{FF2B5EF4-FFF2-40B4-BE49-F238E27FC236}">
                <a16:creationId xmlns:a16="http://schemas.microsoft.com/office/drawing/2014/main" id="{1F2FE97B-086D-8944-BACD-9BD676C0EE7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511406" y="6035220"/>
            <a:ext cx="1366570" cy="357314"/>
          </a:xfrm>
          <a:prstGeom prst="rect">
            <a:avLst/>
          </a:prstGeom>
        </p:spPr>
      </p:pic>
    </p:spTree>
    <p:extLst>
      <p:ext uri="{BB962C8B-B14F-4D97-AF65-F5344CB8AC3E}">
        <p14:creationId xmlns:p14="http://schemas.microsoft.com/office/powerpoint/2010/main" val="25966504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KST / AFBEELDING (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sz="2400"/>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11112250" cy="4119774"/>
          </a:xfrm>
        </p:spPr>
        <p:txBody>
          <a:bodyPr vert="horz"/>
          <a:lstStyle>
            <a:lvl1pPr>
              <a:defRPr/>
            </a:lvl1pPr>
            <a:lvl2pPr>
              <a:defRPr/>
            </a:lvl2pPr>
            <a:lvl3pPr>
              <a:defRPr/>
            </a:lvl3pPr>
            <a:lvl4pPr>
              <a:defRPr/>
            </a:lvl4pPr>
            <a:lvl5pPr>
              <a:defRPr/>
            </a:lvl5pPr>
            <a:lvl6pPr>
              <a:defRPr/>
            </a:lvl6pPr>
            <a:lvl7pPr>
              <a:buAutoNum type="alphaLcPeriod"/>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3"/>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grpSp>
        <p:nvGrpSpPr>
          <p:cNvPr id="12" name="GRID" hidden="1">
            <a:extLst>
              <a:ext uri="{FF2B5EF4-FFF2-40B4-BE49-F238E27FC236}">
                <a16:creationId xmlns:a16="http://schemas.microsoft.com/office/drawing/2014/main" id="{1E41F764-1AFD-4406-8FC3-8AFDE81A144B}"/>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A48EBADC-7828-4BE0-96FE-54072374E48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93FEF0DA-6152-49B4-88A9-FA1B029BA12E}"/>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9D7895AD-EFA0-49FE-B48C-7F8CB364A30A}"/>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CFF143D-181F-426E-8325-F22238B7EEBE}"/>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E79AA7-F8F1-455E-9B66-D81495328928}"/>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533D6696-A362-4DD7-803F-2DC08411661E}"/>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EFCCFC8E-71E5-444E-ACBB-E36F283C7588}"/>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5D8956D1-457D-40F8-8190-FA6F756085CB}"/>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1AEE44CE-345A-41FC-8F3E-46B190D19250}"/>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B5CFE119-C5CF-4E3E-9E92-B99F66582E74}"/>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3F952043-26FE-4C8E-A1A4-5780FB85A1A5}"/>
                </a:ext>
              </a:extLst>
            </p:cNvPr>
            <p:cNvSpPr/>
            <p:nvPr userDrawn="1"/>
          </p:nvSpPr>
          <p:spPr>
            <a:xfrm>
              <a:off x="5826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B1470838-9E0F-49A1-AFAE-65487F57FB08}"/>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D9E6C3CF-16A6-4C4A-A370-DB04E3A4CF43}"/>
                </a:ext>
              </a:extLst>
            </p:cNvPr>
            <p:cNvSpPr/>
            <p:nvPr userDrawn="1"/>
          </p:nvSpPr>
          <p:spPr>
            <a:xfrm>
              <a:off x="3452873"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45" name="Tijdelijke aanduiding voor tekst 34">
            <a:extLst>
              <a:ext uri="{FF2B5EF4-FFF2-40B4-BE49-F238E27FC236}">
                <a16:creationId xmlns:a16="http://schemas.microsoft.com/office/drawing/2014/main" id="{FFB0A33A-D483-4A8F-8965-5CF6CE7434A3}"/>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12889386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9277F49C-3EF0-4FE1-9AEE-1B569D8AC0AA}"/>
              </a:ext>
            </a:extLst>
          </p:cNvPr>
          <p:cNvSpPr>
            <a:spLocks noGrp="1"/>
          </p:cNvSpPr>
          <p:nvPr>
            <p:ph type="pic" sz="quarter" idx="16" hasCustomPrompt="1"/>
          </p:nvPr>
        </p:nvSpPr>
        <p:spPr>
          <a:xfrm>
            <a:off x="0" y="-1"/>
            <a:ext cx="12191998" cy="6858001"/>
          </a:xfrm>
          <a:solidFill>
            <a:schemeClr val="bg1">
              <a:lumMod val="95000"/>
            </a:schemeClr>
          </a:solidFill>
        </p:spPr>
        <p:txBody>
          <a:bodyPr tIns="270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52" name="Titel 1">
            <a:extLst>
              <a:ext uri="{FF2B5EF4-FFF2-40B4-BE49-F238E27FC236}">
                <a16:creationId xmlns:a16="http://schemas.microsoft.com/office/drawing/2014/main" id="{01F6C60D-5159-4B7A-B934-3A1B555544A0}"/>
              </a:ext>
            </a:extLst>
          </p:cNvPr>
          <p:cNvSpPr>
            <a:spLocks noGrp="1"/>
          </p:cNvSpPr>
          <p:nvPr>
            <p:ph type="title" hasCustomPrompt="1"/>
          </p:nvPr>
        </p:nvSpPr>
        <p:spPr>
          <a:xfrm>
            <a:off x="540000" y="538833"/>
            <a:ext cx="11112000" cy="301139"/>
          </a:xfrm>
        </p:spPr>
        <p:txBody>
          <a:bodyPr/>
          <a:lstStyle>
            <a:lvl1pPr>
              <a:defRPr/>
            </a:lvl1pPr>
          </a:lstStyle>
          <a:p>
            <a:r>
              <a:rPr lang="nl-NL" noProof="0"/>
              <a:t>Voeg hier een titel in</a:t>
            </a:r>
            <a:endParaRPr lang="nl-NL"/>
          </a:p>
        </p:txBody>
      </p:sp>
      <p:sp>
        <p:nvSpPr>
          <p:cNvPr id="53" name="Tijdelijke aanduiding voor tekst 32">
            <a:extLst>
              <a:ext uri="{FF2B5EF4-FFF2-40B4-BE49-F238E27FC236}">
                <a16:creationId xmlns:a16="http://schemas.microsoft.com/office/drawing/2014/main" id="{F650475A-DF8D-4155-91B4-07580ED73B72}"/>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chemeClr val="bg1">
                    <a:lumMod val="50000"/>
                  </a:schemeClr>
                </a:solidFill>
              </a:defRPr>
            </a:lvl1pPr>
          </a:lstStyle>
          <a:p>
            <a:pPr lvl="0"/>
            <a:r>
              <a:rPr lang="nl-NL" noProof="0"/>
              <a:t>Voeg hier een subtitel in</a:t>
            </a:r>
          </a:p>
        </p:txBody>
      </p:sp>
      <p:sp>
        <p:nvSpPr>
          <p:cNvPr id="46" name="Tijdelijke aanduiding voor tekst 34">
            <a:extLst>
              <a:ext uri="{FF2B5EF4-FFF2-40B4-BE49-F238E27FC236}">
                <a16:creationId xmlns:a16="http://schemas.microsoft.com/office/drawing/2014/main" id="{EF490EE7-D7ED-4773-BB94-DCE9AEDD1719}"/>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
        <p:nvSpPr>
          <p:cNvPr id="47" name="Tijdelijke aanduiding voor dianummer 3">
            <a:extLst>
              <a:ext uri="{FF2B5EF4-FFF2-40B4-BE49-F238E27FC236}">
                <a16:creationId xmlns:a16="http://schemas.microsoft.com/office/drawing/2014/main" id="{F3A4102E-AE59-48AE-A069-720767A7557D}"/>
              </a:ext>
            </a:extLst>
          </p:cNvPr>
          <p:cNvSpPr txBox="1">
            <a:spLocks/>
          </p:cNvSpPr>
          <p:nvPr userDrawn="1"/>
        </p:nvSpPr>
        <p:spPr>
          <a:xfrm>
            <a:off x="263467" y="6547709"/>
            <a:ext cx="539998" cy="224300"/>
          </a:xfrm>
          <a:prstGeom prst="rect">
            <a:avLst/>
          </a:prstGeom>
        </p:spPr>
        <p:txBody>
          <a:bodyPr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fld id="{8D374ABD-355D-4B52-8A38-020B3DD5CC75}" type="slidenum">
              <a:rPr kumimoji="0" lang="nl-NL" sz="1200" b="1" i="0" u="none" strike="noStrike" kern="1200" cap="none" spc="0" normalizeH="0" baseline="0" noProof="0" smtClean="0">
                <a:ln>
                  <a:noFill/>
                </a:ln>
                <a:solidFill>
                  <a:schemeClr val="accent1"/>
                </a:solidFill>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a:t>
            </a:fld>
            <a:endParaRPr kumimoji="0" lang="nl-NL" sz="1200" b="1" i="0" u="none" strike="noStrike" kern="1200" cap="none" spc="0" normalizeH="0" baseline="0" noProof="0">
              <a:ln>
                <a:noFill/>
              </a:ln>
              <a:solidFill>
                <a:schemeClr val="accent1"/>
              </a:solidFill>
              <a:effectLst/>
              <a:uLnTx/>
              <a:uFillTx/>
              <a:latin typeface="Calibri"/>
              <a:ea typeface="+mn-ea"/>
              <a:cs typeface="+mn-cs"/>
            </a:endParaRPr>
          </a:p>
        </p:txBody>
      </p:sp>
    </p:spTree>
    <p:extLst>
      <p:ext uri="{BB962C8B-B14F-4D97-AF65-F5344CB8AC3E}">
        <p14:creationId xmlns:p14="http://schemas.microsoft.com/office/powerpoint/2010/main" val="779883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KST /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6" name="Tijdelijke aanduiding voor inhoud 5">
            <a:extLst>
              <a:ext uri="{FF2B5EF4-FFF2-40B4-BE49-F238E27FC236}">
                <a16:creationId xmlns:a16="http://schemas.microsoft.com/office/drawing/2014/main" id="{42EFBC3B-A12C-8C49-AC29-566906B4A914}"/>
              </a:ext>
            </a:extLst>
          </p:cNvPr>
          <p:cNvSpPr>
            <a:spLocks noGrp="1"/>
          </p:cNvSpPr>
          <p:nvPr>
            <p:ph sz="quarter" idx="16"/>
          </p:nvPr>
        </p:nvSpPr>
        <p:spPr>
          <a:xfrm>
            <a:off x="6611649" y="1446213"/>
            <a:ext cx="5040349" cy="4119773"/>
          </a:xfrm>
          <a:solidFill>
            <a:srgbClr val="F2F2F2"/>
          </a:solidFill>
        </p:spPr>
        <p:txBody>
          <a:bodyPr/>
          <a:lstStyle/>
          <a:p>
            <a:pPr lvl="0"/>
            <a:endParaRPr lang="nl-NL"/>
          </a:p>
        </p:txBody>
      </p:sp>
      <p:sp>
        <p:nvSpPr>
          <p:cNvPr id="159" name="Tijdelijke aanduiding voor tekst 34">
            <a:extLst>
              <a:ext uri="{FF2B5EF4-FFF2-40B4-BE49-F238E27FC236}">
                <a16:creationId xmlns:a16="http://schemas.microsoft.com/office/drawing/2014/main" id="{46D24D29-782C-443E-AFF1-7994197A1BB1}"/>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2664398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KST / OBJECT / GESPIEGE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6636380"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6" name="Tijdelijke aanduiding voor inhoud 5">
            <a:extLst>
              <a:ext uri="{FF2B5EF4-FFF2-40B4-BE49-F238E27FC236}">
                <a16:creationId xmlns:a16="http://schemas.microsoft.com/office/drawing/2014/main" id="{42EFBC3B-A12C-8C49-AC29-566906B4A914}"/>
              </a:ext>
            </a:extLst>
          </p:cNvPr>
          <p:cNvSpPr>
            <a:spLocks noGrp="1"/>
          </p:cNvSpPr>
          <p:nvPr>
            <p:ph sz="quarter" idx="16"/>
          </p:nvPr>
        </p:nvSpPr>
        <p:spPr>
          <a:xfrm>
            <a:off x="536353" y="1446213"/>
            <a:ext cx="5040349" cy="4119773"/>
          </a:xfrm>
          <a:solidFill>
            <a:srgbClr val="F2F2F2"/>
          </a:solidFill>
        </p:spPr>
        <p:txBody>
          <a:bodyPr/>
          <a:lstStyle/>
          <a:p>
            <a:pPr lvl="0"/>
            <a:endParaRPr lang="nl-NL"/>
          </a:p>
        </p:txBody>
      </p:sp>
      <p:sp>
        <p:nvSpPr>
          <p:cNvPr id="159" name="Tijdelijke aanduiding voor tekst 34">
            <a:extLst>
              <a:ext uri="{FF2B5EF4-FFF2-40B4-BE49-F238E27FC236}">
                <a16:creationId xmlns:a16="http://schemas.microsoft.com/office/drawing/2014/main" id="{5F4FE51E-8519-45D2-9FEC-9B85A3C4B661}"/>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30836137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SMAL /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377571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6" name="Tijdelijke aanduiding voor inhoud 5">
            <a:extLst>
              <a:ext uri="{FF2B5EF4-FFF2-40B4-BE49-F238E27FC236}">
                <a16:creationId xmlns:a16="http://schemas.microsoft.com/office/drawing/2014/main" id="{42EFBC3B-A12C-8C49-AC29-566906B4A914}"/>
              </a:ext>
            </a:extLst>
          </p:cNvPr>
          <p:cNvSpPr>
            <a:spLocks noGrp="1"/>
          </p:cNvSpPr>
          <p:nvPr>
            <p:ph sz="quarter" idx="16"/>
          </p:nvPr>
        </p:nvSpPr>
        <p:spPr>
          <a:xfrm>
            <a:off x="4291359" y="1446213"/>
            <a:ext cx="7354617" cy="4119773"/>
          </a:xfrm>
          <a:solidFill>
            <a:srgbClr val="F2F2F2"/>
          </a:solidFill>
        </p:spPr>
        <p:txBody>
          <a:bodyPr/>
          <a:lstStyle/>
          <a:p>
            <a:pPr lvl="0"/>
            <a:endParaRPr lang="nl-NL"/>
          </a:p>
        </p:txBody>
      </p:sp>
      <p:sp>
        <p:nvSpPr>
          <p:cNvPr id="158" name="Tijdelijke aanduiding voor verticale tekst 2">
            <a:extLst>
              <a:ext uri="{FF2B5EF4-FFF2-40B4-BE49-F238E27FC236}">
                <a16:creationId xmlns:a16="http://schemas.microsoft.com/office/drawing/2014/main" id="{3C9FF60D-22FB-9D42-BBB6-1E4982ADA49D}"/>
              </a:ext>
            </a:extLst>
          </p:cNvPr>
          <p:cNvSpPr>
            <a:spLocks noGrp="1"/>
          </p:cNvSpPr>
          <p:nvPr>
            <p:ph type="body" orient="vert" idx="17" hasCustomPrompt="1"/>
          </p:nvPr>
        </p:nvSpPr>
        <p:spPr>
          <a:xfrm>
            <a:off x="546015" y="1452730"/>
            <a:ext cx="285948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160" name="Tijdelijke aanduiding voor tekst 34">
            <a:extLst>
              <a:ext uri="{FF2B5EF4-FFF2-40B4-BE49-F238E27FC236}">
                <a16:creationId xmlns:a16="http://schemas.microsoft.com/office/drawing/2014/main" id="{35C6C863-0856-4A8A-AB44-B8340A282AFF}"/>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26470607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EKST SMAL / OBJECT / GESPIEGELD">
    <p:spTree>
      <p:nvGrpSpPr>
        <p:cNvPr id="1" name=""/>
        <p:cNvGrpSpPr/>
        <p:nvPr/>
      </p:nvGrpSpPr>
      <p:grpSpPr>
        <a:xfrm>
          <a:off x="0" y="0"/>
          <a:ext cx="0" cy="0"/>
          <a:chOff x="0" y="0"/>
          <a:chExt cx="0" cy="0"/>
        </a:xfrm>
      </p:grpSpPr>
      <p:sp>
        <p:nvSpPr>
          <p:cNvPr id="6" name="Tijdelijke aanduiding voor inhoud 5">
            <a:extLst>
              <a:ext uri="{FF2B5EF4-FFF2-40B4-BE49-F238E27FC236}">
                <a16:creationId xmlns:a16="http://schemas.microsoft.com/office/drawing/2014/main" id="{42EFBC3B-A12C-8C49-AC29-566906B4A914}"/>
              </a:ext>
            </a:extLst>
          </p:cNvPr>
          <p:cNvSpPr>
            <a:spLocks noGrp="1"/>
          </p:cNvSpPr>
          <p:nvPr>
            <p:ph sz="quarter" idx="16"/>
          </p:nvPr>
        </p:nvSpPr>
        <p:spPr>
          <a:xfrm>
            <a:off x="539749" y="1446213"/>
            <a:ext cx="7354617" cy="4119773"/>
          </a:xfrm>
          <a:solidFill>
            <a:srgbClr val="F2F2F2"/>
          </a:solidFill>
        </p:spPr>
        <p:txBody>
          <a:bodyPr/>
          <a:lstStyle/>
          <a:p>
            <a:pPr lvl="0"/>
            <a:endParaRPr lang="nl-NL"/>
          </a:p>
        </p:txBody>
      </p:sp>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8144510" y="1446663"/>
            <a:ext cx="0" cy="4460207"/>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58" name="Tijdelijke aanduiding voor verticale tekst 2">
            <a:extLst>
              <a:ext uri="{FF2B5EF4-FFF2-40B4-BE49-F238E27FC236}">
                <a16:creationId xmlns:a16="http://schemas.microsoft.com/office/drawing/2014/main" id="{3C9FF60D-22FB-9D42-BBB6-1E4982ADA49D}"/>
              </a:ext>
            </a:extLst>
          </p:cNvPr>
          <p:cNvSpPr>
            <a:spLocks noGrp="1"/>
          </p:cNvSpPr>
          <p:nvPr>
            <p:ph type="body" orient="vert" idx="17" hasCustomPrompt="1"/>
          </p:nvPr>
        </p:nvSpPr>
        <p:spPr>
          <a:xfrm>
            <a:off x="8455615" y="1452730"/>
            <a:ext cx="3196383"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160" name="Tijdelijke aanduiding voor tekst 34">
            <a:extLst>
              <a:ext uri="{FF2B5EF4-FFF2-40B4-BE49-F238E27FC236}">
                <a16:creationId xmlns:a16="http://schemas.microsoft.com/office/drawing/2014/main" id="{E4263B7E-B576-48AE-851D-C6C49D2EEA9F}"/>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21754814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KST / OBJECT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95CDFAA9-BDB5-4D8F-938D-9F60774CE5B7}"/>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D7E82FEE-89D5-4142-8839-67BDEF20414F}"/>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2" name="Tijdelijke aanduiding voor inhoud 5">
            <a:extLst>
              <a:ext uri="{FF2B5EF4-FFF2-40B4-BE49-F238E27FC236}">
                <a16:creationId xmlns:a16="http://schemas.microsoft.com/office/drawing/2014/main" id="{A3453576-50A1-AB46-B88B-1D234FA952DE}"/>
              </a:ext>
            </a:extLst>
          </p:cNvPr>
          <p:cNvSpPr>
            <a:spLocks noGrp="1"/>
          </p:cNvSpPr>
          <p:nvPr>
            <p:ph sz="quarter" idx="16"/>
          </p:nvPr>
        </p:nvSpPr>
        <p:spPr>
          <a:xfrm>
            <a:off x="6615786" y="1446214"/>
            <a:ext cx="5040349" cy="1891738"/>
          </a:xfrm>
          <a:solidFill>
            <a:srgbClr val="F2F2F2"/>
          </a:solidFill>
        </p:spPr>
        <p:txBody>
          <a:bodyPr/>
          <a:lstStyle/>
          <a:p>
            <a:pPr lvl="0"/>
            <a:endParaRPr lang="nl-NL"/>
          </a:p>
        </p:txBody>
      </p:sp>
      <p:sp>
        <p:nvSpPr>
          <p:cNvPr id="163" name="Tijdelijke aanduiding voor inhoud 5">
            <a:extLst>
              <a:ext uri="{FF2B5EF4-FFF2-40B4-BE49-F238E27FC236}">
                <a16:creationId xmlns:a16="http://schemas.microsoft.com/office/drawing/2014/main" id="{0A513F55-6DE7-C64A-A298-205B0ADAD7B5}"/>
              </a:ext>
            </a:extLst>
          </p:cNvPr>
          <p:cNvSpPr>
            <a:spLocks noGrp="1"/>
          </p:cNvSpPr>
          <p:nvPr>
            <p:ph sz="quarter" idx="17"/>
          </p:nvPr>
        </p:nvSpPr>
        <p:spPr>
          <a:xfrm>
            <a:off x="6615786" y="3709354"/>
            <a:ext cx="5040349" cy="1891738"/>
          </a:xfrm>
          <a:solidFill>
            <a:srgbClr val="F2F2F2"/>
          </a:solidFill>
        </p:spPr>
        <p:txBody>
          <a:bodyPr/>
          <a:lstStyle/>
          <a:p>
            <a:pPr lvl="0"/>
            <a:endParaRPr lang="nl-NL"/>
          </a:p>
        </p:txBody>
      </p:sp>
      <p:sp>
        <p:nvSpPr>
          <p:cNvPr id="165" name="Tijdelijke aanduiding voor tekst 34">
            <a:extLst>
              <a:ext uri="{FF2B5EF4-FFF2-40B4-BE49-F238E27FC236}">
                <a16:creationId xmlns:a16="http://schemas.microsoft.com/office/drawing/2014/main" id="{FE57E7E3-F557-491F-A280-E0FE35E5FAEE}"/>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29848752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 OBJECT 2X / GESPIEGE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95CDFAA9-BDB5-4D8F-938D-9F60774CE5B7}"/>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D7E82FEE-89D5-4142-8839-67BDEF20414F}"/>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2" name="Tijdelijke aanduiding voor inhoud 5">
            <a:extLst>
              <a:ext uri="{FF2B5EF4-FFF2-40B4-BE49-F238E27FC236}">
                <a16:creationId xmlns:a16="http://schemas.microsoft.com/office/drawing/2014/main" id="{A3453576-50A1-AB46-B88B-1D234FA952DE}"/>
              </a:ext>
            </a:extLst>
          </p:cNvPr>
          <p:cNvSpPr>
            <a:spLocks noGrp="1"/>
          </p:cNvSpPr>
          <p:nvPr>
            <p:ph sz="quarter" idx="16"/>
          </p:nvPr>
        </p:nvSpPr>
        <p:spPr>
          <a:xfrm>
            <a:off x="536868" y="1446214"/>
            <a:ext cx="5040349" cy="1891738"/>
          </a:xfrm>
          <a:solidFill>
            <a:srgbClr val="F2F2F2"/>
          </a:solidFill>
        </p:spPr>
        <p:txBody>
          <a:bodyPr/>
          <a:lstStyle/>
          <a:p>
            <a:pPr lvl="0"/>
            <a:endParaRPr lang="nl-NL"/>
          </a:p>
        </p:txBody>
      </p:sp>
      <p:sp>
        <p:nvSpPr>
          <p:cNvPr id="163" name="Tijdelijke aanduiding voor inhoud 5">
            <a:extLst>
              <a:ext uri="{FF2B5EF4-FFF2-40B4-BE49-F238E27FC236}">
                <a16:creationId xmlns:a16="http://schemas.microsoft.com/office/drawing/2014/main" id="{0A513F55-6DE7-C64A-A298-205B0ADAD7B5}"/>
              </a:ext>
            </a:extLst>
          </p:cNvPr>
          <p:cNvSpPr>
            <a:spLocks noGrp="1"/>
          </p:cNvSpPr>
          <p:nvPr>
            <p:ph sz="quarter" idx="17"/>
          </p:nvPr>
        </p:nvSpPr>
        <p:spPr>
          <a:xfrm>
            <a:off x="536868" y="3709354"/>
            <a:ext cx="5040349" cy="1891738"/>
          </a:xfrm>
          <a:solidFill>
            <a:srgbClr val="F2F2F2"/>
          </a:solidFill>
        </p:spPr>
        <p:txBody>
          <a:bodyPr/>
          <a:lstStyle/>
          <a:p>
            <a:pPr lvl="0"/>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6636380"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165" name="Tijdelijke aanduiding voor tekst 34">
            <a:extLst>
              <a:ext uri="{FF2B5EF4-FFF2-40B4-BE49-F238E27FC236}">
                <a16:creationId xmlns:a16="http://schemas.microsoft.com/office/drawing/2014/main" id="{1DCCB202-A569-4FC6-960A-7DC0CB1BB468}"/>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1824299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SMAL / OBJECT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3766557"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95CDFAA9-BDB5-4D8F-938D-9F60774CE5B7}"/>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D7E82FEE-89D5-4142-8839-67BDEF20414F}"/>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2" name="Tijdelijke aanduiding voor inhoud 5">
            <a:extLst>
              <a:ext uri="{FF2B5EF4-FFF2-40B4-BE49-F238E27FC236}">
                <a16:creationId xmlns:a16="http://schemas.microsoft.com/office/drawing/2014/main" id="{A3453576-50A1-AB46-B88B-1D234FA952DE}"/>
              </a:ext>
            </a:extLst>
          </p:cNvPr>
          <p:cNvSpPr>
            <a:spLocks noGrp="1"/>
          </p:cNvSpPr>
          <p:nvPr>
            <p:ph sz="quarter" idx="16"/>
          </p:nvPr>
        </p:nvSpPr>
        <p:spPr>
          <a:xfrm>
            <a:off x="4286343" y="1446214"/>
            <a:ext cx="7359636" cy="1891738"/>
          </a:xfrm>
          <a:solidFill>
            <a:srgbClr val="F2F2F2"/>
          </a:solidFill>
        </p:spPr>
        <p:txBody>
          <a:bodyPr/>
          <a:lstStyle/>
          <a:p>
            <a:pPr lvl="0"/>
            <a:endParaRPr lang="nl-NL"/>
          </a:p>
        </p:txBody>
      </p:sp>
      <p:sp>
        <p:nvSpPr>
          <p:cNvPr id="163" name="Tijdelijke aanduiding voor inhoud 5">
            <a:extLst>
              <a:ext uri="{FF2B5EF4-FFF2-40B4-BE49-F238E27FC236}">
                <a16:creationId xmlns:a16="http://schemas.microsoft.com/office/drawing/2014/main" id="{0A513F55-6DE7-C64A-A298-205B0ADAD7B5}"/>
              </a:ext>
            </a:extLst>
          </p:cNvPr>
          <p:cNvSpPr>
            <a:spLocks noGrp="1"/>
          </p:cNvSpPr>
          <p:nvPr>
            <p:ph sz="quarter" idx="17"/>
          </p:nvPr>
        </p:nvSpPr>
        <p:spPr>
          <a:xfrm>
            <a:off x="4286343" y="3709354"/>
            <a:ext cx="7359636" cy="1891738"/>
          </a:xfrm>
          <a:solidFill>
            <a:srgbClr val="F2F2F2"/>
          </a:solidFill>
        </p:spPr>
        <p:txBody>
          <a:bodyPr/>
          <a:lstStyle/>
          <a:p>
            <a:pPr lvl="0"/>
            <a:endParaRPr lang="nl-NL"/>
          </a:p>
        </p:txBody>
      </p:sp>
      <p:sp>
        <p:nvSpPr>
          <p:cNvPr id="164" name="Tijdelijke aanduiding voor verticale tekst 2">
            <a:extLst>
              <a:ext uri="{FF2B5EF4-FFF2-40B4-BE49-F238E27FC236}">
                <a16:creationId xmlns:a16="http://schemas.microsoft.com/office/drawing/2014/main" id="{A913B3BB-6EA1-7F4F-882F-5C3034040D3D}"/>
              </a:ext>
            </a:extLst>
          </p:cNvPr>
          <p:cNvSpPr>
            <a:spLocks noGrp="1"/>
          </p:cNvSpPr>
          <p:nvPr>
            <p:ph type="body" orient="vert" idx="18" hasCustomPrompt="1"/>
          </p:nvPr>
        </p:nvSpPr>
        <p:spPr>
          <a:xfrm>
            <a:off x="546015" y="1452730"/>
            <a:ext cx="285948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166" name="Tijdelijke aanduiding voor tekst 34">
            <a:extLst>
              <a:ext uri="{FF2B5EF4-FFF2-40B4-BE49-F238E27FC236}">
                <a16:creationId xmlns:a16="http://schemas.microsoft.com/office/drawing/2014/main" id="{05CC5C1D-6788-4F61-8ED3-FCE4B31D972E}"/>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42933181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en Object - Petrol blauw">
    <p:spTree>
      <p:nvGrpSpPr>
        <p:cNvPr id="1" name=""/>
        <p:cNvGrpSpPr/>
        <p:nvPr/>
      </p:nvGrpSpPr>
      <p:grpSpPr>
        <a:xfrm>
          <a:off x="0" y="0"/>
          <a:ext cx="0" cy="0"/>
          <a:chOff x="0" y="0"/>
          <a:chExt cx="0" cy="0"/>
        </a:xfrm>
      </p:grpSpPr>
      <p:sp>
        <p:nvSpPr>
          <p:cNvPr id="2" name="Title 1"/>
          <p:cNvSpPr>
            <a:spLocks noGrp="1"/>
          </p:cNvSpPr>
          <p:nvPr>
            <p:ph type="title"/>
          </p:nvPr>
        </p:nvSpPr>
        <p:spPr>
          <a:xfrm>
            <a:off x="502652" y="533569"/>
            <a:ext cx="11133221" cy="584775"/>
          </a:xfrm>
        </p:spPr>
        <p:txBody>
          <a:bodyPr>
            <a:spAutoFit/>
          </a:bodyPr>
          <a:lstStyle>
            <a:lvl1pPr>
              <a:defRPr>
                <a:solidFill>
                  <a:schemeClr val="accent3"/>
                </a:solidFill>
              </a:defRPr>
            </a:lvl1pPr>
          </a:lstStyle>
          <a:p>
            <a:r>
              <a:rPr lang="nl-NL" noProof="0"/>
              <a:t>Klik om de stijl te bewerken</a:t>
            </a:r>
          </a:p>
        </p:txBody>
      </p:sp>
      <p:sp>
        <p:nvSpPr>
          <p:cNvPr id="8" name="Tekstvak 7"/>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 </a:t>
            </a:r>
            <a:r>
              <a:rPr lang="nl-NL" sz="1600" b="1" noProof="0" err="1">
                <a:solidFill>
                  <a:schemeClr val="tx1"/>
                </a:solidFill>
              </a:rPr>
              <a:t>Petrol</a:t>
            </a:r>
            <a:r>
              <a:rPr lang="nl-NL" sz="1600" b="1" noProof="0">
                <a:solidFill>
                  <a:schemeClr val="tx1"/>
                </a:solidFill>
              </a:rPr>
              <a:t> blauw</a:t>
            </a:r>
          </a:p>
        </p:txBody>
      </p:sp>
      <p:sp>
        <p:nvSpPr>
          <p:cNvPr id="41"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77" name="Content Placeholder 2"/>
          <p:cNvSpPr>
            <a:spLocks noGrp="1"/>
          </p:cNvSpPr>
          <p:nvPr>
            <p:ph sz="half" idx="1"/>
          </p:nvPr>
        </p:nvSpPr>
        <p:spPr>
          <a:xfrm>
            <a:off x="502654" y="1708486"/>
            <a:ext cx="11133220" cy="333065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78" name="Content Placeholder 2"/>
          <p:cNvSpPr>
            <a:spLocks noGrp="1"/>
          </p:cNvSpPr>
          <p:nvPr>
            <p:ph sz="half" idx="14"/>
          </p:nvPr>
        </p:nvSpPr>
        <p:spPr>
          <a:xfrm>
            <a:off x="502654" y="5172796"/>
            <a:ext cx="11133220" cy="276999"/>
          </a:xfrm>
        </p:spPr>
        <p:txBody>
          <a:bodyPr>
            <a:sp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Klik om de modelstijlen te bewerken</a:t>
            </a:r>
          </a:p>
        </p:txBody>
      </p:sp>
      <p:grpSp>
        <p:nvGrpSpPr>
          <p:cNvPr id="100" name="Groep 99"/>
          <p:cNvGrpSpPr/>
          <p:nvPr userDrawn="1"/>
        </p:nvGrpSpPr>
        <p:grpSpPr>
          <a:xfrm>
            <a:off x="-3279573" y="5020705"/>
            <a:ext cx="3086613" cy="1841358"/>
            <a:chOff x="8427776" y="4654945"/>
            <a:chExt cx="2314960" cy="1841358"/>
          </a:xfrm>
        </p:grpSpPr>
        <p:grpSp>
          <p:nvGrpSpPr>
            <p:cNvPr id="101" name="Groep 100"/>
            <p:cNvGrpSpPr/>
            <p:nvPr userDrawn="1"/>
          </p:nvGrpSpPr>
          <p:grpSpPr>
            <a:xfrm>
              <a:off x="8432864" y="4781014"/>
              <a:ext cx="2309872" cy="1592662"/>
              <a:chOff x="-3092517" y="-83840"/>
              <a:chExt cx="3136706" cy="2509126"/>
            </a:xfrm>
          </p:grpSpPr>
          <p:sp>
            <p:nvSpPr>
              <p:cNvPr id="10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5" name="Ovaal 10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106" name="Ovaal 10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107" name="Ovaal 10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10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1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111" name="Ovaal 11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112" name="Ovaal 11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11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102" name="Rechte verbindingslijn 10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45"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46" name="Groep 45"/>
          <p:cNvGrpSpPr/>
          <p:nvPr userDrawn="1"/>
        </p:nvGrpSpPr>
        <p:grpSpPr>
          <a:xfrm>
            <a:off x="-3471145" y="-46322"/>
            <a:ext cx="3471145" cy="3781320"/>
            <a:chOff x="-2603359" y="-46322"/>
            <a:chExt cx="2603359" cy="3781320"/>
          </a:xfrm>
        </p:grpSpPr>
        <p:sp>
          <p:nvSpPr>
            <p:cNvPr id="47" name="Afgeronde rechthoek 46"/>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48"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49"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0"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51"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52" name="Afgeronde rechthoek 5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53" name="Rechthoek 5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54" name="Rechte verbindingslijn 5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5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5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5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5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6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61" name="Afgeronde rechthoek 6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6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6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6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6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6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5047501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KST SMAL / OBJECT 2X / GESPIEGE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8345431"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95CDFAA9-BDB5-4D8F-938D-9F60774CE5B7}"/>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D7E82FEE-89D5-4142-8839-67BDEF20414F}"/>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2" name="Tijdelijke aanduiding voor inhoud 5">
            <a:extLst>
              <a:ext uri="{FF2B5EF4-FFF2-40B4-BE49-F238E27FC236}">
                <a16:creationId xmlns:a16="http://schemas.microsoft.com/office/drawing/2014/main" id="{A3453576-50A1-AB46-B88B-1D234FA952DE}"/>
              </a:ext>
            </a:extLst>
          </p:cNvPr>
          <p:cNvSpPr>
            <a:spLocks noGrp="1"/>
          </p:cNvSpPr>
          <p:nvPr>
            <p:ph sz="quarter" idx="16"/>
          </p:nvPr>
        </p:nvSpPr>
        <p:spPr>
          <a:xfrm>
            <a:off x="546575" y="1446214"/>
            <a:ext cx="7359636" cy="1891738"/>
          </a:xfrm>
          <a:solidFill>
            <a:srgbClr val="F2F2F2"/>
          </a:solidFill>
        </p:spPr>
        <p:txBody>
          <a:bodyPr/>
          <a:lstStyle/>
          <a:p>
            <a:pPr lvl="0"/>
            <a:endParaRPr lang="nl-NL"/>
          </a:p>
        </p:txBody>
      </p:sp>
      <p:sp>
        <p:nvSpPr>
          <p:cNvPr id="163" name="Tijdelijke aanduiding voor inhoud 5">
            <a:extLst>
              <a:ext uri="{FF2B5EF4-FFF2-40B4-BE49-F238E27FC236}">
                <a16:creationId xmlns:a16="http://schemas.microsoft.com/office/drawing/2014/main" id="{0A513F55-6DE7-C64A-A298-205B0ADAD7B5}"/>
              </a:ext>
            </a:extLst>
          </p:cNvPr>
          <p:cNvSpPr>
            <a:spLocks noGrp="1"/>
          </p:cNvSpPr>
          <p:nvPr>
            <p:ph sz="quarter" idx="17"/>
          </p:nvPr>
        </p:nvSpPr>
        <p:spPr>
          <a:xfrm>
            <a:off x="546575" y="3709354"/>
            <a:ext cx="7359636" cy="1891738"/>
          </a:xfrm>
          <a:solidFill>
            <a:srgbClr val="F2F2F2"/>
          </a:solidFill>
        </p:spPr>
        <p:txBody>
          <a:bodyPr/>
          <a:lstStyle/>
          <a:p>
            <a:pPr lvl="0"/>
            <a:endParaRPr lang="nl-NL"/>
          </a:p>
        </p:txBody>
      </p:sp>
      <p:sp>
        <p:nvSpPr>
          <p:cNvPr id="164" name="Tijdelijke aanduiding voor verticale tekst 2">
            <a:extLst>
              <a:ext uri="{FF2B5EF4-FFF2-40B4-BE49-F238E27FC236}">
                <a16:creationId xmlns:a16="http://schemas.microsoft.com/office/drawing/2014/main" id="{A913B3BB-6EA1-7F4F-882F-5C3034040D3D}"/>
              </a:ext>
            </a:extLst>
          </p:cNvPr>
          <p:cNvSpPr>
            <a:spLocks noGrp="1"/>
          </p:cNvSpPr>
          <p:nvPr>
            <p:ph type="body" orient="vert" idx="18" hasCustomPrompt="1"/>
          </p:nvPr>
        </p:nvSpPr>
        <p:spPr>
          <a:xfrm>
            <a:off x="8792518" y="1452730"/>
            <a:ext cx="285948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166" name="Tijdelijke aanduiding voor tekst 34">
            <a:extLst>
              <a:ext uri="{FF2B5EF4-FFF2-40B4-BE49-F238E27FC236}">
                <a16:creationId xmlns:a16="http://schemas.microsoft.com/office/drawing/2014/main" id="{A3F85149-F45E-4084-986A-ACEEC6CE86A6}"/>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39596807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 OBJECT 4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411717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5015238"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5" name="Tijdelijke aanduiding voor inhoud 5">
            <a:extLst>
              <a:ext uri="{FF2B5EF4-FFF2-40B4-BE49-F238E27FC236}">
                <a16:creationId xmlns:a16="http://schemas.microsoft.com/office/drawing/2014/main" id="{42E79CEC-0789-C14B-B0CB-030CA47CB918}"/>
              </a:ext>
            </a:extLst>
          </p:cNvPr>
          <p:cNvSpPr>
            <a:spLocks noGrp="1"/>
          </p:cNvSpPr>
          <p:nvPr>
            <p:ph sz="quarter" idx="16"/>
          </p:nvPr>
        </p:nvSpPr>
        <p:spPr>
          <a:xfrm>
            <a:off x="8783618" y="1446214"/>
            <a:ext cx="2872517" cy="1891738"/>
          </a:xfrm>
          <a:solidFill>
            <a:srgbClr val="F2F2F2"/>
          </a:solidFill>
        </p:spPr>
        <p:txBody>
          <a:bodyPr/>
          <a:lstStyle/>
          <a:p>
            <a:pPr lvl="0"/>
            <a:endParaRPr lang="nl-NL"/>
          </a:p>
        </p:txBody>
      </p:sp>
      <p:sp>
        <p:nvSpPr>
          <p:cNvPr id="166" name="Tijdelijke aanduiding voor inhoud 5">
            <a:extLst>
              <a:ext uri="{FF2B5EF4-FFF2-40B4-BE49-F238E27FC236}">
                <a16:creationId xmlns:a16="http://schemas.microsoft.com/office/drawing/2014/main" id="{7595F2C2-EEDA-DE46-B791-22E5D6A5754D}"/>
              </a:ext>
            </a:extLst>
          </p:cNvPr>
          <p:cNvSpPr>
            <a:spLocks noGrp="1"/>
          </p:cNvSpPr>
          <p:nvPr>
            <p:ph sz="quarter" idx="20"/>
          </p:nvPr>
        </p:nvSpPr>
        <p:spPr>
          <a:xfrm>
            <a:off x="5553043" y="1446214"/>
            <a:ext cx="2872517" cy="1891738"/>
          </a:xfrm>
          <a:solidFill>
            <a:srgbClr val="F2F2F2"/>
          </a:solidFill>
        </p:spPr>
        <p:txBody>
          <a:bodyPr/>
          <a:lstStyle/>
          <a:p>
            <a:pPr lvl="0"/>
            <a:endParaRPr lang="nl-NL"/>
          </a:p>
        </p:txBody>
      </p:sp>
      <p:sp>
        <p:nvSpPr>
          <p:cNvPr id="167" name="Tijdelijke aanduiding voor inhoud 5">
            <a:extLst>
              <a:ext uri="{FF2B5EF4-FFF2-40B4-BE49-F238E27FC236}">
                <a16:creationId xmlns:a16="http://schemas.microsoft.com/office/drawing/2014/main" id="{0F1FA0AA-27D7-C443-8F12-9303CBA274E1}"/>
              </a:ext>
            </a:extLst>
          </p:cNvPr>
          <p:cNvSpPr>
            <a:spLocks noGrp="1"/>
          </p:cNvSpPr>
          <p:nvPr>
            <p:ph sz="quarter" idx="21"/>
          </p:nvPr>
        </p:nvSpPr>
        <p:spPr>
          <a:xfrm>
            <a:off x="8783618" y="3687147"/>
            <a:ext cx="2872517" cy="1891738"/>
          </a:xfrm>
          <a:solidFill>
            <a:srgbClr val="F2F2F2"/>
          </a:solidFill>
        </p:spPr>
        <p:txBody>
          <a:bodyPr/>
          <a:lstStyle/>
          <a:p>
            <a:pPr lvl="0"/>
            <a:endParaRPr lang="nl-NL"/>
          </a:p>
        </p:txBody>
      </p:sp>
      <p:sp>
        <p:nvSpPr>
          <p:cNvPr id="168" name="Tijdelijke aanduiding voor inhoud 5">
            <a:extLst>
              <a:ext uri="{FF2B5EF4-FFF2-40B4-BE49-F238E27FC236}">
                <a16:creationId xmlns:a16="http://schemas.microsoft.com/office/drawing/2014/main" id="{4799C510-EDDA-8D40-A860-9E9F1E32E7E5}"/>
              </a:ext>
            </a:extLst>
          </p:cNvPr>
          <p:cNvSpPr>
            <a:spLocks noGrp="1"/>
          </p:cNvSpPr>
          <p:nvPr>
            <p:ph sz="quarter" idx="22"/>
          </p:nvPr>
        </p:nvSpPr>
        <p:spPr>
          <a:xfrm>
            <a:off x="5553043" y="3687147"/>
            <a:ext cx="2872517" cy="1891738"/>
          </a:xfrm>
          <a:solidFill>
            <a:srgbClr val="F2F2F2"/>
          </a:solidFill>
        </p:spPr>
        <p:txBody>
          <a:bodyPr/>
          <a:lstStyle/>
          <a:p>
            <a:pPr lvl="0"/>
            <a:endParaRPr lang="nl-NL"/>
          </a:p>
        </p:txBody>
      </p:sp>
      <p:sp>
        <p:nvSpPr>
          <p:cNvPr id="170" name="Tijdelijke aanduiding voor tekst 34">
            <a:extLst>
              <a:ext uri="{FF2B5EF4-FFF2-40B4-BE49-F238E27FC236}">
                <a16:creationId xmlns:a16="http://schemas.microsoft.com/office/drawing/2014/main" id="{AE47BCBD-73FD-4934-9CEC-4FABF1A6A698}"/>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39609571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EKST / OBJECT 4X / GESPIEGE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7294962" y="1446663"/>
            <a:ext cx="0" cy="4460207"/>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5" name="Tijdelijke aanduiding voor inhoud 5">
            <a:extLst>
              <a:ext uri="{FF2B5EF4-FFF2-40B4-BE49-F238E27FC236}">
                <a16:creationId xmlns:a16="http://schemas.microsoft.com/office/drawing/2014/main" id="{42E79CEC-0789-C14B-B0CB-030CA47CB918}"/>
              </a:ext>
            </a:extLst>
          </p:cNvPr>
          <p:cNvSpPr>
            <a:spLocks noGrp="1"/>
          </p:cNvSpPr>
          <p:nvPr>
            <p:ph sz="quarter" idx="16"/>
          </p:nvPr>
        </p:nvSpPr>
        <p:spPr>
          <a:xfrm>
            <a:off x="3770324" y="1446214"/>
            <a:ext cx="2872517" cy="1891738"/>
          </a:xfrm>
          <a:solidFill>
            <a:srgbClr val="F2F2F2"/>
          </a:solidFill>
        </p:spPr>
        <p:txBody>
          <a:bodyPr/>
          <a:lstStyle/>
          <a:p>
            <a:pPr lvl="0"/>
            <a:endParaRPr lang="nl-NL"/>
          </a:p>
        </p:txBody>
      </p:sp>
      <p:sp>
        <p:nvSpPr>
          <p:cNvPr id="166" name="Tijdelijke aanduiding voor inhoud 5">
            <a:extLst>
              <a:ext uri="{FF2B5EF4-FFF2-40B4-BE49-F238E27FC236}">
                <a16:creationId xmlns:a16="http://schemas.microsoft.com/office/drawing/2014/main" id="{7595F2C2-EEDA-DE46-B791-22E5D6A5754D}"/>
              </a:ext>
            </a:extLst>
          </p:cNvPr>
          <p:cNvSpPr>
            <a:spLocks noGrp="1"/>
          </p:cNvSpPr>
          <p:nvPr>
            <p:ph sz="quarter" idx="20"/>
          </p:nvPr>
        </p:nvSpPr>
        <p:spPr>
          <a:xfrm>
            <a:off x="539749" y="1446214"/>
            <a:ext cx="2872517" cy="1891738"/>
          </a:xfrm>
          <a:solidFill>
            <a:srgbClr val="F2F2F2"/>
          </a:solidFill>
        </p:spPr>
        <p:txBody>
          <a:bodyPr/>
          <a:lstStyle/>
          <a:p>
            <a:pPr lvl="0"/>
            <a:endParaRPr lang="nl-NL"/>
          </a:p>
        </p:txBody>
      </p:sp>
      <p:sp>
        <p:nvSpPr>
          <p:cNvPr id="167" name="Tijdelijke aanduiding voor inhoud 5">
            <a:extLst>
              <a:ext uri="{FF2B5EF4-FFF2-40B4-BE49-F238E27FC236}">
                <a16:creationId xmlns:a16="http://schemas.microsoft.com/office/drawing/2014/main" id="{0F1FA0AA-27D7-C443-8F12-9303CBA274E1}"/>
              </a:ext>
            </a:extLst>
          </p:cNvPr>
          <p:cNvSpPr>
            <a:spLocks noGrp="1"/>
          </p:cNvSpPr>
          <p:nvPr>
            <p:ph sz="quarter" idx="21"/>
          </p:nvPr>
        </p:nvSpPr>
        <p:spPr>
          <a:xfrm>
            <a:off x="3770324" y="3687147"/>
            <a:ext cx="2872517" cy="1891738"/>
          </a:xfrm>
          <a:solidFill>
            <a:srgbClr val="F2F2F2"/>
          </a:solidFill>
        </p:spPr>
        <p:txBody>
          <a:bodyPr/>
          <a:lstStyle/>
          <a:p>
            <a:pPr lvl="0"/>
            <a:endParaRPr lang="nl-NL"/>
          </a:p>
        </p:txBody>
      </p:sp>
      <p:sp>
        <p:nvSpPr>
          <p:cNvPr id="168" name="Tijdelijke aanduiding voor inhoud 5">
            <a:extLst>
              <a:ext uri="{FF2B5EF4-FFF2-40B4-BE49-F238E27FC236}">
                <a16:creationId xmlns:a16="http://schemas.microsoft.com/office/drawing/2014/main" id="{4799C510-EDDA-8D40-A860-9E9F1E32E7E5}"/>
              </a:ext>
            </a:extLst>
          </p:cNvPr>
          <p:cNvSpPr>
            <a:spLocks noGrp="1"/>
          </p:cNvSpPr>
          <p:nvPr>
            <p:ph sz="quarter" idx="22"/>
          </p:nvPr>
        </p:nvSpPr>
        <p:spPr>
          <a:xfrm>
            <a:off x="539749" y="3687147"/>
            <a:ext cx="2872517" cy="1891738"/>
          </a:xfrm>
          <a:solidFill>
            <a:srgbClr val="F2F2F2"/>
          </a:solidFill>
        </p:spPr>
        <p:txBody>
          <a:bodyPr/>
          <a:lstStyle/>
          <a:p>
            <a:pPr lvl="0"/>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7534827" y="1459112"/>
            <a:ext cx="411717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170" name="Tijdelijke aanduiding voor tekst 34">
            <a:extLst>
              <a:ext uri="{FF2B5EF4-FFF2-40B4-BE49-F238E27FC236}">
                <a16:creationId xmlns:a16="http://schemas.microsoft.com/office/drawing/2014/main" id="{AC386B60-3E89-417D-9A72-2FCECE94EC76}"/>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34436354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 SMAL / OBJECT 4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3767524"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5" name="Tijdelijke aanduiding voor inhoud 5">
            <a:extLst>
              <a:ext uri="{FF2B5EF4-FFF2-40B4-BE49-F238E27FC236}">
                <a16:creationId xmlns:a16="http://schemas.microsoft.com/office/drawing/2014/main" id="{42E79CEC-0789-C14B-B0CB-030CA47CB918}"/>
              </a:ext>
            </a:extLst>
          </p:cNvPr>
          <p:cNvSpPr>
            <a:spLocks noGrp="1"/>
          </p:cNvSpPr>
          <p:nvPr>
            <p:ph sz="quarter" idx="16"/>
          </p:nvPr>
        </p:nvSpPr>
        <p:spPr>
          <a:xfrm>
            <a:off x="8156537" y="1446214"/>
            <a:ext cx="3495462" cy="1891738"/>
          </a:xfrm>
          <a:solidFill>
            <a:srgbClr val="F2F2F2"/>
          </a:solidFill>
        </p:spPr>
        <p:txBody>
          <a:bodyPr/>
          <a:lstStyle/>
          <a:p>
            <a:pPr lvl="0"/>
            <a:endParaRPr lang="nl-NL"/>
          </a:p>
        </p:txBody>
      </p:sp>
      <p:sp>
        <p:nvSpPr>
          <p:cNvPr id="166" name="Tijdelijke aanduiding voor inhoud 5">
            <a:extLst>
              <a:ext uri="{FF2B5EF4-FFF2-40B4-BE49-F238E27FC236}">
                <a16:creationId xmlns:a16="http://schemas.microsoft.com/office/drawing/2014/main" id="{7595F2C2-EEDA-DE46-B791-22E5D6A5754D}"/>
              </a:ext>
            </a:extLst>
          </p:cNvPr>
          <p:cNvSpPr>
            <a:spLocks noGrp="1"/>
          </p:cNvSpPr>
          <p:nvPr>
            <p:ph sz="quarter" idx="20"/>
          </p:nvPr>
        </p:nvSpPr>
        <p:spPr>
          <a:xfrm>
            <a:off x="4305329" y="1446214"/>
            <a:ext cx="3495462" cy="1891738"/>
          </a:xfrm>
          <a:solidFill>
            <a:srgbClr val="F2F2F2"/>
          </a:solidFill>
        </p:spPr>
        <p:txBody>
          <a:bodyPr/>
          <a:lstStyle/>
          <a:p>
            <a:pPr lvl="0"/>
            <a:endParaRPr lang="nl-NL"/>
          </a:p>
        </p:txBody>
      </p:sp>
      <p:sp>
        <p:nvSpPr>
          <p:cNvPr id="167" name="Tijdelijke aanduiding voor inhoud 5">
            <a:extLst>
              <a:ext uri="{FF2B5EF4-FFF2-40B4-BE49-F238E27FC236}">
                <a16:creationId xmlns:a16="http://schemas.microsoft.com/office/drawing/2014/main" id="{0F1FA0AA-27D7-C443-8F12-9303CBA274E1}"/>
              </a:ext>
            </a:extLst>
          </p:cNvPr>
          <p:cNvSpPr>
            <a:spLocks noGrp="1"/>
          </p:cNvSpPr>
          <p:nvPr>
            <p:ph sz="quarter" idx="21"/>
          </p:nvPr>
        </p:nvSpPr>
        <p:spPr>
          <a:xfrm>
            <a:off x="8156537" y="3687147"/>
            <a:ext cx="3495462" cy="1891738"/>
          </a:xfrm>
          <a:solidFill>
            <a:srgbClr val="F2F2F2"/>
          </a:solidFill>
        </p:spPr>
        <p:txBody>
          <a:bodyPr/>
          <a:lstStyle/>
          <a:p>
            <a:pPr lvl="0"/>
            <a:endParaRPr lang="nl-NL"/>
          </a:p>
        </p:txBody>
      </p:sp>
      <p:sp>
        <p:nvSpPr>
          <p:cNvPr id="168" name="Tijdelijke aanduiding voor inhoud 5">
            <a:extLst>
              <a:ext uri="{FF2B5EF4-FFF2-40B4-BE49-F238E27FC236}">
                <a16:creationId xmlns:a16="http://schemas.microsoft.com/office/drawing/2014/main" id="{4799C510-EDDA-8D40-A860-9E9F1E32E7E5}"/>
              </a:ext>
            </a:extLst>
          </p:cNvPr>
          <p:cNvSpPr>
            <a:spLocks noGrp="1"/>
          </p:cNvSpPr>
          <p:nvPr>
            <p:ph sz="quarter" idx="22"/>
          </p:nvPr>
        </p:nvSpPr>
        <p:spPr>
          <a:xfrm>
            <a:off x="4305329" y="3687147"/>
            <a:ext cx="3495462" cy="1891738"/>
          </a:xfrm>
          <a:solidFill>
            <a:srgbClr val="F2F2F2"/>
          </a:solidFill>
        </p:spPr>
        <p:txBody>
          <a:bodyPr/>
          <a:lstStyle/>
          <a:p>
            <a:pPr lvl="0"/>
            <a:endParaRPr lang="nl-NL"/>
          </a:p>
        </p:txBody>
      </p:sp>
      <p:sp>
        <p:nvSpPr>
          <p:cNvPr id="169" name="Tijdelijke aanduiding voor verticale tekst 2">
            <a:extLst>
              <a:ext uri="{FF2B5EF4-FFF2-40B4-BE49-F238E27FC236}">
                <a16:creationId xmlns:a16="http://schemas.microsoft.com/office/drawing/2014/main" id="{A81E33AD-88E5-894F-A299-00A9B02B282C}"/>
              </a:ext>
            </a:extLst>
          </p:cNvPr>
          <p:cNvSpPr>
            <a:spLocks noGrp="1"/>
          </p:cNvSpPr>
          <p:nvPr>
            <p:ph type="body" orient="vert" idx="23" hasCustomPrompt="1"/>
          </p:nvPr>
        </p:nvSpPr>
        <p:spPr>
          <a:xfrm>
            <a:off x="546015" y="1452730"/>
            <a:ext cx="285948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cxnSp>
        <p:nvCxnSpPr>
          <p:cNvPr id="170" name="Rechte verbindingslijn 169">
            <a:extLst>
              <a:ext uri="{FF2B5EF4-FFF2-40B4-BE49-F238E27FC236}">
                <a16:creationId xmlns:a16="http://schemas.microsoft.com/office/drawing/2014/main" id="{C49A4FF4-126C-7448-A8E4-FBD44C1F516A}"/>
              </a:ext>
            </a:extLst>
          </p:cNvPr>
          <p:cNvCxnSpPr>
            <a:cxnSpLocks/>
          </p:cNvCxnSpPr>
          <p:nvPr userDrawn="1"/>
        </p:nvCxnSpPr>
        <p:spPr>
          <a:xfrm>
            <a:off x="3768491" y="1444935"/>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72" name="Tijdelijke aanduiding voor tekst 34">
            <a:extLst>
              <a:ext uri="{FF2B5EF4-FFF2-40B4-BE49-F238E27FC236}">
                <a16:creationId xmlns:a16="http://schemas.microsoft.com/office/drawing/2014/main" id="{5A676363-371E-4F43-B339-5FFC9A82C2EA}"/>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541988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EKST SMAL / OBJECT 4X / GESPIEGE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3767524"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5" name="Tijdelijke aanduiding voor inhoud 5">
            <a:extLst>
              <a:ext uri="{FF2B5EF4-FFF2-40B4-BE49-F238E27FC236}">
                <a16:creationId xmlns:a16="http://schemas.microsoft.com/office/drawing/2014/main" id="{42E79CEC-0789-C14B-B0CB-030CA47CB918}"/>
              </a:ext>
            </a:extLst>
          </p:cNvPr>
          <p:cNvSpPr>
            <a:spLocks noGrp="1"/>
          </p:cNvSpPr>
          <p:nvPr>
            <p:ph sz="quarter" idx="16"/>
          </p:nvPr>
        </p:nvSpPr>
        <p:spPr>
          <a:xfrm>
            <a:off x="4402920" y="1446214"/>
            <a:ext cx="3495462" cy="1891738"/>
          </a:xfrm>
          <a:solidFill>
            <a:srgbClr val="F2F2F2"/>
          </a:solidFill>
        </p:spPr>
        <p:txBody>
          <a:bodyPr/>
          <a:lstStyle/>
          <a:p>
            <a:pPr lvl="0"/>
            <a:endParaRPr lang="nl-NL"/>
          </a:p>
        </p:txBody>
      </p:sp>
      <p:sp>
        <p:nvSpPr>
          <p:cNvPr id="166" name="Tijdelijke aanduiding voor inhoud 5">
            <a:extLst>
              <a:ext uri="{FF2B5EF4-FFF2-40B4-BE49-F238E27FC236}">
                <a16:creationId xmlns:a16="http://schemas.microsoft.com/office/drawing/2014/main" id="{7595F2C2-EEDA-DE46-B791-22E5D6A5754D}"/>
              </a:ext>
            </a:extLst>
          </p:cNvPr>
          <p:cNvSpPr>
            <a:spLocks noGrp="1"/>
          </p:cNvSpPr>
          <p:nvPr>
            <p:ph sz="quarter" idx="20"/>
          </p:nvPr>
        </p:nvSpPr>
        <p:spPr>
          <a:xfrm>
            <a:off x="551712" y="1446214"/>
            <a:ext cx="3495462" cy="1891738"/>
          </a:xfrm>
          <a:solidFill>
            <a:srgbClr val="F2F2F2"/>
          </a:solidFill>
        </p:spPr>
        <p:txBody>
          <a:bodyPr/>
          <a:lstStyle/>
          <a:p>
            <a:pPr lvl="0"/>
            <a:endParaRPr lang="nl-NL"/>
          </a:p>
        </p:txBody>
      </p:sp>
      <p:sp>
        <p:nvSpPr>
          <p:cNvPr id="167" name="Tijdelijke aanduiding voor inhoud 5">
            <a:extLst>
              <a:ext uri="{FF2B5EF4-FFF2-40B4-BE49-F238E27FC236}">
                <a16:creationId xmlns:a16="http://schemas.microsoft.com/office/drawing/2014/main" id="{0F1FA0AA-27D7-C443-8F12-9303CBA274E1}"/>
              </a:ext>
            </a:extLst>
          </p:cNvPr>
          <p:cNvSpPr>
            <a:spLocks noGrp="1"/>
          </p:cNvSpPr>
          <p:nvPr>
            <p:ph sz="quarter" idx="21"/>
          </p:nvPr>
        </p:nvSpPr>
        <p:spPr>
          <a:xfrm>
            <a:off x="4402920" y="3687147"/>
            <a:ext cx="3495462" cy="1891738"/>
          </a:xfrm>
          <a:solidFill>
            <a:srgbClr val="F2F2F2"/>
          </a:solidFill>
        </p:spPr>
        <p:txBody>
          <a:bodyPr/>
          <a:lstStyle/>
          <a:p>
            <a:pPr lvl="0"/>
            <a:endParaRPr lang="nl-NL"/>
          </a:p>
        </p:txBody>
      </p:sp>
      <p:sp>
        <p:nvSpPr>
          <p:cNvPr id="168" name="Tijdelijke aanduiding voor inhoud 5">
            <a:extLst>
              <a:ext uri="{FF2B5EF4-FFF2-40B4-BE49-F238E27FC236}">
                <a16:creationId xmlns:a16="http://schemas.microsoft.com/office/drawing/2014/main" id="{4799C510-EDDA-8D40-A860-9E9F1E32E7E5}"/>
              </a:ext>
            </a:extLst>
          </p:cNvPr>
          <p:cNvSpPr>
            <a:spLocks noGrp="1"/>
          </p:cNvSpPr>
          <p:nvPr>
            <p:ph sz="quarter" idx="22"/>
          </p:nvPr>
        </p:nvSpPr>
        <p:spPr>
          <a:xfrm>
            <a:off x="551712" y="3687147"/>
            <a:ext cx="3495462" cy="1891738"/>
          </a:xfrm>
          <a:solidFill>
            <a:srgbClr val="F2F2F2"/>
          </a:solidFill>
        </p:spPr>
        <p:txBody>
          <a:bodyPr/>
          <a:lstStyle/>
          <a:p>
            <a:pPr lvl="0"/>
            <a:endParaRPr lang="nl-NL"/>
          </a:p>
        </p:txBody>
      </p:sp>
      <p:cxnSp>
        <p:nvCxnSpPr>
          <p:cNvPr id="170" name="Rechte verbindingslijn 169">
            <a:extLst>
              <a:ext uri="{FF2B5EF4-FFF2-40B4-BE49-F238E27FC236}">
                <a16:creationId xmlns:a16="http://schemas.microsoft.com/office/drawing/2014/main" id="{C49A4FF4-126C-7448-A8E4-FBD44C1F516A}"/>
              </a:ext>
            </a:extLst>
          </p:cNvPr>
          <p:cNvCxnSpPr>
            <a:cxnSpLocks/>
          </p:cNvCxnSpPr>
          <p:nvPr userDrawn="1"/>
        </p:nvCxnSpPr>
        <p:spPr>
          <a:xfrm>
            <a:off x="8340491" y="1444935"/>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69" name="Tijdelijke aanduiding voor verticale tekst 2">
            <a:extLst>
              <a:ext uri="{FF2B5EF4-FFF2-40B4-BE49-F238E27FC236}">
                <a16:creationId xmlns:a16="http://schemas.microsoft.com/office/drawing/2014/main" id="{A81E33AD-88E5-894F-A299-00A9B02B282C}"/>
              </a:ext>
            </a:extLst>
          </p:cNvPr>
          <p:cNvSpPr>
            <a:spLocks noGrp="1"/>
          </p:cNvSpPr>
          <p:nvPr>
            <p:ph type="body" orient="vert" idx="23" hasCustomPrompt="1"/>
          </p:nvPr>
        </p:nvSpPr>
        <p:spPr>
          <a:xfrm>
            <a:off x="8783311" y="1452730"/>
            <a:ext cx="285948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172" name="Tijdelijke aanduiding voor tekst 34">
            <a:extLst>
              <a:ext uri="{FF2B5EF4-FFF2-40B4-BE49-F238E27FC236}">
                <a16:creationId xmlns:a16="http://schemas.microsoft.com/office/drawing/2014/main" id="{60FA43AC-B149-456D-AE3A-8A5F28BBD8CB}"/>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10333349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BJECT">
    <p:spTree>
      <p:nvGrpSpPr>
        <p:cNvPr id="1" name=""/>
        <p:cNvGrpSpPr/>
        <p:nvPr/>
      </p:nvGrpSpPr>
      <p:grpSpPr>
        <a:xfrm>
          <a:off x="0" y="0"/>
          <a:ext cx="0" cy="0"/>
          <a:chOff x="0" y="0"/>
          <a:chExt cx="0" cy="0"/>
        </a:xfrm>
      </p:grpSpPr>
      <p:sp>
        <p:nvSpPr>
          <p:cNvPr id="6" name="Tijdelijke aanduiding voor inhoud 5">
            <a:extLst>
              <a:ext uri="{FF2B5EF4-FFF2-40B4-BE49-F238E27FC236}">
                <a16:creationId xmlns:a16="http://schemas.microsoft.com/office/drawing/2014/main" id="{6268C531-582C-4846-B838-5BA10CCC0D0E}"/>
              </a:ext>
            </a:extLst>
          </p:cNvPr>
          <p:cNvSpPr>
            <a:spLocks noGrp="1"/>
          </p:cNvSpPr>
          <p:nvPr>
            <p:ph sz="quarter" idx="16"/>
          </p:nvPr>
        </p:nvSpPr>
        <p:spPr>
          <a:xfrm>
            <a:off x="539999" y="1459111"/>
            <a:ext cx="11112001" cy="4119774"/>
          </a:xfrm>
          <a:solidFill>
            <a:srgbClr val="F2F2F2"/>
          </a:solidFill>
        </p:spPr>
        <p:txBody>
          <a:bodyPr/>
          <a:lstStyle/>
          <a:p>
            <a:pPr lvl="0"/>
            <a:endParaRPr lang="nl-NL"/>
          </a:p>
        </p:txBody>
      </p:sp>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3" name="Tekstvak 2"/>
          <p:cNvSpPr txBox="1"/>
          <p:nvPr userDrawn="1"/>
        </p:nvSpPr>
        <p:spPr>
          <a:xfrm>
            <a:off x="2317750" y="-2201333"/>
            <a:ext cx="914400" cy="914400"/>
          </a:xfrm>
          <a:prstGeom prst="rect">
            <a:avLst/>
          </a:prstGeom>
          <a:noFill/>
        </p:spPr>
        <p:txBody>
          <a:bodyPr wrap="none" lIns="0" tIns="0" rIns="0" bIns="0" rtlCol="0">
            <a:noAutofit/>
          </a:bodyPr>
          <a:lstStyle/>
          <a:p>
            <a:pPr algn="l"/>
            <a:endParaRPr lang="nl-NL" sz="1600"/>
          </a:p>
        </p:txBody>
      </p:sp>
      <p:sp>
        <p:nvSpPr>
          <p:cNvPr id="65" name="Tijdelijke aanduiding voor tekst 34">
            <a:extLst>
              <a:ext uri="{FF2B5EF4-FFF2-40B4-BE49-F238E27FC236}">
                <a16:creationId xmlns:a16="http://schemas.microsoft.com/office/drawing/2014/main" id="{E5CF2C2E-F640-4F38-BFB7-F7CD19FC0281}"/>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4672861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BJECT 2x">
    <p:spTree>
      <p:nvGrpSpPr>
        <p:cNvPr id="1" name=""/>
        <p:cNvGrpSpPr/>
        <p:nvPr/>
      </p:nvGrpSpPr>
      <p:grpSpPr>
        <a:xfrm>
          <a:off x="0" y="0"/>
          <a:ext cx="0" cy="0"/>
          <a:chOff x="0" y="0"/>
          <a:chExt cx="0" cy="0"/>
        </a:xfrm>
      </p:grpSpPr>
      <p:sp>
        <p:nvSpPr>
          <p:cNvPr id="66" name="Tijdelijke aanduiding voor inhoud 5">
            <a:extLst>
              <a:ext uri="{FF2B5EF4-FFF2-40B4-BE49-F238E27FC236}">
                <a16:creationId xmlns:a16="http://schemas.microsoft.com/office/drawing/2014/main" id="{C244608D-7D7B-2549-A17E-6F58D80C7AA6}"/>
              </a:ext>
            </a:extLst>
          </p:cNvPr>
          <p:cNvSpPr>
            <a:spLocks noGrp="1"/>
          </p:cNvSpPr>
          <p:nvPr>
            <p:ph sz="quarter" idx="16"/>
          </p:nvPr>
        </p:nvSpPr>
        <p:spPr>
          <a:xfrm>
            <a:off x="540000" y="1459111"/>
            <a:ext cx="5014988" cy="4119774"/>
          </a:xfrm>
          <a:solidFill>
            <a:srgbClr val="F2F2F2"/>
          </a:solidFill>
        </p:spPr>
        <p:txBody>
          <a:bodyPr/>
          <a:lstStyle/>
          <a:p>
            <a:pPr lvl="0"/>
            <a:endParaRPr lang="nl-NL"/>
          </a:p>
        </p:txBody>
      </p:sp>
      <p:sp>
        <p:nvSpPr>
          <p:cNvPr id="67" name="Tijdelijke aanduiding voor inhoud 5">
            <a:extLst>
              <a:ext uri="{FF2B5EF4-FFF2-40B4-BE49-F238E27FC236}">
                <a16:creationId xmlns:a16="http://schemas.microsoft.com/office/drawing/2014/main" id="{5ACE2352-CC38-9F4B-ADFE-1336BA21B6B9}"/>
              </a:ext>
            </a:extLst>
          </p:cNvPr>
          <p:cNvSpPr>
            <a:spLocks noGrp="1"/>
          </p:cNvSpPr>
          <p:nvPr>
            <p:ph sz="quarter" idx="18"/>
          </p:nvPr>
        </p:nvSpPr>
        <p:spPr>
          <a:xfrm>
            <a:off x="6634095" y="1459111"/>
            <a:ext cx="5014988" cy="4119774"/>
          </a:xfrm>
          <a:solidFill>
            <a:srgbClr val="F2F2F2"/>
          </a:solidFill>
        </p:spPr>
        <p:txBody>
          <a:bodyPr/>
          <a:lstStyle/>
          <a:p>
            <a:pPr lvl="0"/>
            <a:endParaRPr lang="nl-NL"/>
          </a:p>
        </p:txBody>
      </p:sp>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3" name="Tekstvak 2"/>
          <p:cNvSpPr txBox="1"/>
          <p:nvPr userDrawn="1"/>
        </p:nvSpPr>
        <p:spPr>
          <a:xfrm>
            <a:off x="2317750" y="-1957917"/>
            <a:ext cx="914400" cy="914400"/>
          </a:xfrm>
          <a:prstGeom prst="rect">
            <a:avLst/>
          </a:prstGeom>
          <a:noFill/>
        </p:spPr>
        <p:txBody>
          <a:bodyPr wrap="none" lIns="0" tIns="0" rIns="0" bIns="0" rtlCol="0">
            <a:noAutofit/>
          </a:bodyPr>
          <a:lstStyle/>
          <a:p>
            <a:pPr algn="l"/>
            <a:endParaRPr lang="nl-NL" sz="1600"/>
          </a:p>
        </p:txBody>
      </p:sp>
      <p:sp>
        <p:nvSpPr>
          <p:cNvPr id="69" name="Tijdelijke aanduiding voor tekst 34">
            <a:extLst>
              <a:ext uri="{FF2B5EF4-FFF2-40B4-BE49-F238E27FC236}">
                <a16:creationId xmlns:a16="http://schemas.microsoft.com/office/drawing/2014/main" id="{C8F0D7CF-673A-4A87-8631-7D9343CF3C2C}"/>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20921262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BJECT 6X">
    <p:spTree>
      <p:nvGrpSpPr>
        <p:cNvPr id="1" name=""/>
        <p:cNvGrpSpPr/>
        <p:nvPr/>
      </p:nvGrpSpPr>
      <p:grpSpPr>
        <a:xfrm>
          <a:off x="0" y="0"/>
          <a:ext cx="0" cy="0"/>
          <a:chOff x="0" y="0"/>
          <a:chExt cx="0" cy="0"/>
        </a:xfrm>
      </p:grpSpPr>
      <p:sp>
        <p:nvSpPr>
          <p:cNvPr id="82" name="Tijdelijke aanduiding voor inhoud 5">
            <a:extLst>
              <a:ext uri="{FF2B5EF4-FFF2-40B4-BE49-F238E27FC236}">
                <a16:creationId xmlns:a16="http://schemas.microsoft.com/office/drawing/2014/main" id="{270653D9-4193-7D4C-A457-127F6DF03600}"/>
              </a:ext>
            </a:extLst>
          </p:cNvPr>
          <p:cNvSpPr>
            <a:spLocks noGrp="1"/>
          </p:cNvSpPr>
          <p:nvPr>
            <p:ph sz="quarter" idx="22"/>
          </p:nvPr>
        </p:nvSpPr>
        <p:spPr>
          <a:xfrm>
            <a:off x="539749" y="1458177"/>
            <a:ext cx="3489233" cy="1891738"/>
          </a:xfrm>
          <a:solidFill>
            <a:srgbClr val="F2F2F2"/>
          </a:solidFill>
        </p:spPr>
        <p:txBody>
          <a:bodyPr/>
          <a:lstStyle/>
          <a:p>
            <a:pPr lvl="0"/>
            <a:endParaRPr lang="nl-NL"/>
          </a:p>
        </p:txBody>
      </p:sp>
      <p:sp>
        <p:nvSpPr>
          <p:cNvPr id="83" name="Tijdelijke aanduiding voor inhoud 5">
            <a:extLst>
              <a:ext uri="{FF2B5EF4-FFF2-40B4-BE49-F238E27FC236}">
                <a16:creationId xmlns:a16="http://schemas.microsoft.com/office/drawing/2014/main" id="{24517078-4BDC-1946-8EAE-16952E8B331B}"/>
              </a:ext>
            </a:extLst>
          </p:cNvPr>
          <p:cNvSpPr>
            <a:spLocks noGrp="1"/>
          </p:cNvSpPr>
          <p:nvPr>
            <p:ph sz="quarter" idx="23"/>
          </p:nvPr>
        </p:nvSpPr>
        <p:spPr>
          <a:xfrm>
            <a:off x="539749" y="3699110"/>
            <a:ext cx="3489233" cy="1891738"/>
          </a:xfrm>
          <a:solidFill>
            <a:srgbClr val="F2F2F2"/>
          </a:solidFill>
        </p:spPr>
        <p:txBody>
          <a:bodyPr/>
          <a:lstStyle/>
          <a:p>
            <a:pPr lvl="0"/>
            <a:endParaRPr lang="nl-NL"/>
          </a:p>
        </p:txBody>
      </p:sp>
      <p:sp>
        <p:nvSpPr>
          <p:cNvPr id="84" name="Tijdelijke aanduiding voor inhoud 5">
            <a:extLst>
              <a:ext uri="{FF2B5EF4-FFF2-40B4-BE49-F238E27FC236}">
                <a16:creationId xmlns:a16="http://schemas.microsoft.com/office/drawing/2014/main" id="{EF4CD3D5-0FEF-E347-9D05-D583588B69C5}"/>
              </a:ext>
            </a:extLst>
          </p:cNvPr>
          <p:cNvSpPr>
            <a:spLocks noGrp="1"/>
          </p:cNvSpPr>
          <p:nvPr>
            <p:ph sz="quarter" idx="24"/>
          </p:nvPr>
        </p:nvSpPr>
        <p:spPr>
          <a:xfrm>
            <a:off x="4362390" y="1458177"/>
            <a:ext cx="3489233" cy="1891738"/>
          </a:xfrm>
          <a:solidFill>
            <a:srgbClr val="F2F2F2"/>
          </a:solidFill>
        </p:spPr>
        <p:txBody>
          <a:bodyPr/>
          <a:lstStyle/>
          <a:p>
            <a:pPr lvl="0"/>
            <a:endParaRPr lang="nl-NL"/>
          </a:p>
        </p:txBody>
      </p:sp>
      <p:sp>
        <p:nvSpPr>
          <p:cNvPr id="85" name="Tijdelijke aanduiding voor inhoud 5">
            <a:extLst>
              <a:ext uri="{FF2B5EF4-FFF2-40B4-BE49-F238E27FC236}">
                <a16:creationId xmlns:a16="http://schemas.microsoft.com/office/drawing/2014/main" id="{F107A64E-60F4-5949-A943-23E0343C151B}"/>
              </a:ext>
            </a:extLst>
          </p:cNvPr>
          <p:cNvSpPr>
            <a:spLocks noGrp="1"/>
          </p:cNvSpPr>
          <p:nvPr>
            <p:ph sz="quarter" idx="25"/>
          </p:nvPr>
        </p:nvSpPr>
        <p:spPr>
          <a:xfrm>
            <a:off x="4362390" y="3699110"/>
            <a:ext cx="3489233" cy="1891738"/>
          </a:xfrm>
          <a:solidFill>
            <a:srgbClr val="F2F2F2"/>
          </a:solidFill>
        </p:spPr>
        <p:txBody>
          <a:bodyPr/>
          <a:lstStyle/>
          <a:p>
            <a:pPr lvl="0"/>
            <a:endParaRPr lang="nl-NL"/>
          </a:p>
        </p:txBody>
      </p:sp>
      <p:sp>
        <p:nvSpPr>
          <p:cNvPr id="86" name="Tijdelijke aanduiding voor inhoud 5">
            <a:extLst>
              <a:ext uri="{FF2B5EF4-FFF2-40B4-BE49-F238E27FC236}">
                <a16:creationId xmlns:a16="http://schemas.microsoft.com/office/drawing/2014/main" id="{77E34C9B-F225-1945-BFD1-94542CE0AC15}"/>
              </a:ext>
            </a:extLst>
          </p:cNvPr>
          <p:cNvSpPr>
            <a:spLocks noGrp="1"/>
          </p:cNvSpPr>
          <p:nvPr>
            <p:ph sz="quarter" idx="26"/>
          </p:nvPr>
        </p:nvSpPr>
        <p:spPr>
          <a:xfrm>
            <a:off x="8180965" y="1458177"/>
            <a:ext cx="3489233" cy="1891738"/>
          </a:xfrm>
          <a:solidFill>
            <a:srgbClr val="F2F2F2"/>
          </a:solidFill>
        </p:spPr>
        <p:txBody>
          <a:bodyPr/>
          <a:lstStyle/>
          <a:p>
            <a:pPr lvl="0"/>
            <a:endParaRPr lang="nl-NL"/>
          </a:p>
        </p:txBody>
      </p:sp>
      <p:sp>
        <p:nvSpPr>
          <p:cNvPr id="87" name="Tijdelijke aanduiding voor inhoud 5">
            <a:extLst>
              <a:ext uri="{FF2B5EF4-FFF2-40B4-BE49-F238E27FC236}">
                <a16:creationId xmlns:a16="http://schemas.microsoft.com/office/drawing/2014/main" id="{FE499DF8-07E1-5941-A436-D5E57BED37DB}"/>
              </a:ext>
            </a:extLst>
          </p:cNvPr>
          <p:cNvSpPr>
            <a:spLocks noGrp="1"/>
          </p:cNvSpPr>
          <p:nvPr>
            <p:ph sz="quarter" idx="27"/>
          </p:nvPr>
        </p:nvSpPr>
        <p:spPr>
          <a:xfrm>
            <a:off x="8180965" y="3687147"/>
            <a:ext cx="3489233" cy="1891738"/>
          </a:xfrm>
          <a:solidFill>
            <a:srgbClr val="F2F2F2"/>
          </a:solidFill>
        </p:spPr>
        <p:txBody>
          <a:bodyPr/>
          <a:lstStyle/>
          <a:p>
            <a:pPr lvl="0"/>
            <a:endParaRPr lang="nl-NL"/>
          </a:p>
        </p:txBody>
      </p:sp>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i="1">
                <a:solidFill>
                  <a:srgbClr val="7F7F7F"/>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0" y="333899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7828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BAA97654-86F5-45C9-B8DC-C6648BCE9369}"/>
                </a:ext>
              </a:extLst>
            </p:cNvPr>
            <p:cNvSpPr/>
            <p:nvPr userDrawn="1"/>
          </p:nvSpPr>
          <p:spPr>
            <a:xfrm>
              <a:off x="4004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89" name="Tijdelijke aanduiding voor tekst 34">
            <a:extLst>
              <a:ext uri="{FF2B5EF4-FFF2-40B4-BE49-F238E27FC236}">
                <a16:creationId xmlns:a16="http://schemas.microsoft.com/office/drawing/2014/main" id="{095AB5D9-EE18-4E91-A34D-BDCB02CA21E1}"/>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Tree>
    <p:extLst>
      <p:ext uri="{BB962C8B-B14F-4D97-AF65-F5344CB8AC3E}">
        <p14:creationId xmlns:p14="http://schemas.microsoft.com/office/powerpoint/2010/main" val="24494861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8" name="Tijdelijke aanduiding voor media 7">
            <a:extLst>
              <a:ext uri="{FF2B5EF4-FFF2-40B4-BE49-F238E27FC236}">
                <a16:creationId xmlns:a16="http://schemas.microsoft.com/office/drawing/2014/main" id="{BE6A6D5B-9ECB-44A7-854F-A4E3691CCAC3}"/>
              </a:ext>
            </a:extLst>
          </p:cNvPr>
          <p:cNvSpPr>
            <a:spLocks noGrp="1"/>
          </p:cNvSpPr>
          <p:nvPr>
            <p:ph type="media" sz="quarter" idx="16" hasCustomPrompt="1"/>
          </p:nvPr>
        </p:nvSpPr>
        <p:spPr>
          <a:xfrm>
            <a:off x="0" y="0"/>
            <a:ext cx="12192000" cy="6858000"/>
          </a:xfrm>
          <a:solidFill>
            <a:schemeClr val="bg1">
              <a:lumMod val="95000"/>
            </a:schemeClr>
          </a:solidFill>
        </p:spPr>
        <p:txBody>
          <a:bodyPr tIns="3024000"/>
          <a:lstStyle>
            <a:lvl1pPr marL="0" indent="0" algn="ctr">
              <a:buNone/>
              <a:defRPr sz="1200" i="1">
                <a:solidFill>
                  <a:schemeClr val="bg1">
                    <a:lumMod val="50000"/>
                  </a:schemeClr>
                </a:solidFill>
              </a:defRPr>
            </a:lvl1pPr>
          </a:lstStyle>
          <a:p>
            <a:r>
              <a:rPr lang="nl-NL" noProof="0"/>
              <a:t>Klik op onderstaand pictogram om een video in te voegen</a:t>
            </a:r>
          </a:p>
        </p:txBody>
      </p:sp>
      <p:sp>
        <p:nvSpPr>
          <p:cNvPr id="60" name="Tijdelijke aanduiding voor tekst 34">
            <a:extLst>
              <a:ext uri="{FF2B5EF4-FFF2-40B4-BE49-F238E27FC236}">
                <a16:creationId xmlns:a16="http://schemas.microsoft.com/office/drawing/2014/main" id="{D3528790-4AE3-48DC-B13E-DD2460B08A23}"/>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
        <p:nvSpPr>
          <p:cNvPr id="61" name="Tijdelijke aanduiding voor dianummer 3">
            <a:extLst>
              <a:ext uri="{FF2B5EF4-FFF2-40B4-BE49-F238E27FC236}">
                <a16:creationId xmlns:a16="http://schemas.microsoft.com/office/drawing/2014/main" id="{1851D08C-37CC-4379-B918-5423D35ED101}"/>
              </a:ext>
            </a:extLst>
          </p:cNvPr>
          <p:cNvSpPr txBox="1">
            <a:spLocks/>
          </p:cNvSpPr>
          <p:nvPr userDrawn="1"/>
        </p:nvSpPr>
        <p:spPr>
          <a:xfrm>
            <a:off x="263467" y="6547709"/>
            <a:ext cx="539998" cy="224300"/>
          </a:xfrm>
          <a:prstGeom prst="rect">
            <a:avLst/>
          </a:prstGeom>
        </p:spPr>
        <p:txBody>
          <a:bodyPr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fld id="{8D374ABD-355D-4B52-8A38-020B3DD5CC75}" type="slidenum">
              <a:rPr kumimoji="0" lang="nl-NL" sz="1200" b="1" i="0" u="none" strike="noStrike" kern="1200" cap="none" spc="0" normalizeH="0" baseline="0" noProof="0" smtClean="0">
                <a:ln>
                  <a:noFill/>
                </a:ln>
                <a:solidFill>
                  <a:schemeClr val="accent1"/>
                </a:solidFill>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a:t>
            </a:fld>
            <a:endParaRPr kumimoji="0" lang="nl-NL" sz="1200" b="1" i="0" u="none" strike="noStrike" kern="1200" cap="none" spc="0" normalizeH="0" baseline="0" noProof="0">
              <a:ln>
                <a:noFill/>
              </a:ln>
              <a:solidFill>
                <a:schemeClr val="accent1"/>
              </a:solidFill>
              <a:effectLst/>
              <a:uLnTx/>
              <a:uFillTx/>
              <a:latin typeface="Calibri"/>
              <a:ea typeface="+mn-ea"/>
              <a:cs typeface="+mn-cs"/>
            </a:endParaRPr>
          </a:p>
        </p:txBody>
      </p:sp>
    </p:spTree>
    <p:extLst>
      <p:ext uri="{BB962C8B-B14F-4D97-AF65-F5344CB8AC3E}">
        <p14:creationId xmlns:p14="http://schemas.microsoft.com/office/powerpoint/2010/main" val="26452380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AFSLUITING">
    <p:spTree>
      <p:nvGrpSpPr>
        <p:cNvPr id="1" name=""/>
        <p:cNvGrpSpPr/>
        <p:nvPr/>
      </p:nvGrpSpPr>
      <p:grpSpPr>
        <a:xfrm>
          <a:off x="0" y="0"/>
          <a:ext cx="0" cy="0"/>
          <a:chOff x="0" y="0"/>
          <a:chExt cx="0" cy="0"/>
        </a:xfrm>
      </p:grpSpPr>
      <p:sp>
        <p:nvSpPr>
          <p:cNvPr id="8" name="Rechthoek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err="1"/>
          </a:p>
        </p:txBody>
      </p:sp>
      <p:sp>
        <p:nvSpPr>
          <p:cNvPr id="9" name="Rechthoek 8">
            <a:extLst>
              <a:ext uri="{FF2B5EF4-FFF2-40B4-BE49-F238E27FC236}">
                <a16:creationId xmlns:a16="http://schemas.microsoft.com/office/drawing/2014/main" id="{B1A1ACF5-C728-ED4F-93B3-825B913BB061}"/>
              </a:ext>
            </a:extLst>
          </p:cNvPr>
          <p:cNvSpPr/>
          <p:nvPr userDrawn="1"/>
        </p:nvSpPr>
        <p:spPr>
          <a:xfrm>
            <a:off x="355600" y="426720"/>
            <a:ext cx="11522376" cy="53746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6" name="Afbeelding 15">
            <a:extLst>
              <a:ext uri="{FF2B5EF4-FFF2-40B4-BE49-F238E27FC236}">
                <a16:creationId xmlns:a16="http://schemas.microsoft.com/office/drawing/2014/main" id="{55B99532-25BB-8D4A-925F-E7617F43CD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pic>
        <p:nvPicPr>
          <p:cNvPr id="11" name="Afbeelding 10">
            <a:extLst>
              <a:ext uri="{FF2B5EF4-FFF2-40B4-BE49-F238E27FC236}">
                <a16:creationId xmlns:a16="http://schemas.microsoft.com/office/drawing/2014/main" id="{53C30D60-66F2-EB43-A551-8A16D984364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11406" y="6035220"/>
            <a:ext cx="1366570" cy="357314"/>
          </a:xfrm>
          <a:prstGeom prst="rect">
            <a:avLst/>
          </a:prstGeom>
        </p:spPr>
      </p:pic>
      <p:sp>
        <p:nvSpPr>
          <p:cNvPr id="19" name="Tijdelijke aanduiding voor tekst 34">
            <a:extLst>
              <a:ext uri="{FF2B5EF4-FFF2-40B4-BE49-F238E27FC236}">
                <a16:creationId xmlns:a16="http://schemas.microsoft.com/office/drawing/2014/main" id="{74E8CF5C-2EB4-4EB2-9B9D-BBB48237307D}"/>
              </a:ext>
            </a:extLst>
          </p:cNvPr>
          <p:cNvSpPr>
            <a:spLocks noGrp="1"/>
          </p:cNvSpPr>
          <p:nvPr>
            <p:ph type="body" sz="quarter" idx="15" hasCustomPrompt="1"/>
          </p:nvPr>
        </p:nvSpPr>
        <p:spPr>
          <a:xfrm>
            <a:off x="726241" y="6595174"/>
            <a:ext cx="11112249" cy="147981"/>
          </a:xfrm>
        </p:spPr>
        <p:txBody>
          <a:bodyPr anchor="b"/>
          <a:lstStyle>
            <a:lvl1pPr marL="0" marR="0" indent="0" algn="l" defTabSz="914400" rtl="0" eaLnBrk="1" fontAlgn="auto" latinLnBrk="0" hangingPunct="1">
              <a:lnSpc>
                <a:spcPct val="100000"/>
              </a:lnSpc>
              <a:spcBef>
                <a:spcPts val="300"/>
              </a:spcBef>
              <a:spcAft>
                <a:spcPts val="300"/>
              </a:spcAft>
              <a:buClr>
                <a:schemeClr val="accent1"/>
              </a:buClr>
              <a:buSzPct val="110000"/>
              <a:buFont typeface="Arial"/>
              <a:buNone/>
              <a:tabLst/>
              <a:defRPr sz="1000" i="1">
                <a:solidFill>
                  <a:srgbClr val="7F7F7F"/>
                </a:solidFill>
              </a:defRPr>
            </a:lvl1pPr>
          </a:lstStyle>
          <a:p>
            <a:pPr marL="0" marR="0" lvl="0" indent="0" algn="l" defTabSz="914400" rtl="0" eaLnBrk="1" fontAlgn="auto" latinLnBrk="0" hangingPunct="1">
              <a:lnSpc>
                <a:spcPct val="100000"/>
              </a:lnSpc>
              <a:spcBef>
                <a:spcPts val="300"/>
              </a:spcBef>
              <a:spcAft>
                <a:spcPts val="300"/>
              </a:spcAft>
              <a:buClr>
                <a:schemeClr val="accent1"/>
              </a:buClr>
              <a:buSzPct val="110000"/>
              <a:buFont typeface="Arial"/>
              <a:buNone/>
              <a:tabLst/>
              <a:defRPr/>
            </a:pPr>
            <a:r>
              <a:rPr lang="nl-NL" sz="1000" b="0" i="1" u="none" strike="noStrike" kern="1200">
                <a:solidFill>
                  <a:srgbClr val="7F7F7F"/>
                </a:solidFill>
                <a:effectLst/>
                <a:latin typeface="+mn-lt"/>
                <a:ea typeface="+mn-ea"/>
                <a:cs typeface="+mn-cs"/>
              </a:rPr>
              <a:t>Titel, Auteur en classificatie: intern/extern/vertrouwelijk/geheim</a:t>
            </a:r>
            <a:endParaRPr lang="nl-NL"/>
          </a:p>
        </p:txBody>
      </p:sp>
      <p:sp>
        <p:nvSpPr>
          <p:cNvPr id="20" name="Tijdelijke aanduiding voor dianummer 3">
            <a:extLst>
              <a:ext uri="{FF2B5EF4-FFF2-40B4-BE49-F238E27FC236}">
                <a16:creationId xmlns:a16="http://schemas.microsoft.com/office/drawing/2014/main" id="{46D87F26-3408-4E80-856F-CE6C70449A64}"/>
              </a:ext>
            </a:extLst>
          </p:cNvPr>
          <p:cNvSpPr txBox="1">
            <a:spLocks/>
          </p:cNvSpPr>
          <p:nvPr userDrawn="1"/>
        </p:nvSpPr>
        <p:spPr>
          <a:xfrm>
            <a:off x="263467" y="6547709"/>
            <a:ext cx="539998" cy="224300"/>
          </a:xfrm>
          <a:prstGeom prst="rect">
            <a:avLst/>
          </a:prstGeom>
        </p:spPr>
        <p:txBody>
          <a:bodyPr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fld id="{8D374ABD-355D-4B52-8A38-020B3DD5CC75}" type="slidenum">
              <a:rPr kumimoji="0" lang="nl-NL" sz="1200" b="1" i="0" u="none" strike="noStrike" kern="1200" cap="none" spc="0" normalizeH="0" baseline="0" noProof="0" smtClean="0">
                <a:ln>
                  <a:noFill/>
                </a:ln>
                <a:solidFill>
                  <a:schemeClr val="accent1"/>
                </a:solidFill>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a:t>
            </a:fld>
            <a:endParaRPr kumimoji="0" lang="nl-NL" sz="1200" b="1" i="0" u="none" strike="noStrike" kern="1200" cap="none" spc="0" normalizeH="0" baseline="0" noProof="0">
              <a:ln>
                <a:noFill/>
              </a:ln>
              <a:solidFill>
                <a:schemeClr val="accent1"/>
              </a:solidFill>
              <a:effectLst/>
              <a:uLnTx/>
              <a:uFillTx/>
              <a:latin typeface="Calibri"/>
              <a:ea typeface="+mn-ea"/>
              <a:cs typeface="+mn-cs"/>
            </a:endParaRPr>
          </a:p>
        </p:txBody>
      </p:sp>
    </p:spTree>
    <p:extLst>
      <p:ext uri="{BB962C8B-B14F-4D97-AF65-F5344CB8AC3E}">
        <p14:creationId xmlns:p14="http://schemas.microsoft.com/office/powerpoint/2010/main" val="2447449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en Object - Groen">
    <p:spTree>
      <p:nvGrpSpPr>
        <p:cNvPr id="1" name=""/>
        <p:cNvGrpSpPr/>
        <p:nvPr/>
      </p:nvGrpSpPr>
      <p:grpSpPr>
        <a:xfrm>
          <a:off x="0" y="0"/>
          <a:ext cx="0" cy="0"/>
          <a:chOff x="0" y="0"/>
          <a:chExt cx="0" cy="0"/>
        </a:xfrm>
      </p:grpSpPr>
      <p:sp>
        <p:nvSpPr>
          <p:cNvPr id="2" name="Title 1"/>
          <p:cNvSpPr>
            <a:spLocks noGrp="1"/>
          </p:cNvSpPr>
          <p:nvPr>
            <p:ph type="title"/>
          </p:nvPr>
        </p:nvSpPr>
        <p:spPr>
          <a:xfrm>
            <a:off x="502652" y="533569"/>
            <a:ext cx="11133221" cy="584775"/>
          </a:xfrm>
        </p:spPr>
        <p:txBody>
          <a:bodyPr>
            <a:spAutoFit/>
          </a:bodyPr>
          <a:lstStyle>
            <a:lvl1pPr>
              <a:defRPr>
                <a:solidFill>
                  <a:schemeClr val="accent4"/>
                </a:solidFill>
              </a:defRPr>
            </a:lvl1pPr>
          </a:lstStyle>
          <a:p>
            <a:r>
              <a:rPr lang="nl-NL" noProof="0"/>
              <a:t>Klik om de stijl te bewerken</a:t>
            </a:r>
          </a:p>
        </p:txBody>
      </p:sp>
      <p:sp>
        <p:nvSpPr>
          <p:cNvPr id="8" name="Tekstvak 7"/>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 Groen</a:t>
            </a:r>
          </a:p>
        </p:txBody>
      </p:sp>
      <p:sp>
        <p:nvSpPr>
          <p:cNvPr id="41"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77" name="Content Placeholder 2"/>
          <p:cNvSpPr>
            <a:spLocks noGrp="1"/>
          </p:cNvSpPr>
          <p:nvPr>
            <p:ph sz="half" idx="1"/>
          </p:nvPr>
        </p:nvSpPr>
        <p:spPr>
          <a:xfrm>
            <a:off x="502654" y="1708486"/>
            <a:ext cx="11133220" cy="333065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78" name="Content Placeholder 2"/>
          <p:cNvSpPr>
            <a:spLocks noGrp="1"/>
          </p:cNvSpPr>
          <p:nvPr>
            <p:ph sz="half" idx="14"/>
          </p:nvPr>
        </p:nvSpPr>
        <p:spPr>
          <a:xfrm>
            <a:off x="502654" y="5172796"/>
            <a:ext cx="11133220" cy="276999"/>
          </a:xfrm>
        </p:spPr>
        <p:txBody>
          <a:bodyPr>
            <a:sp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Klik om de modelstijlen te bewerken</a:t>
            </a:r>
          </a:p>
        </p:txBody>
      </p:sp>
      <p:grpSp>
        <p:nvGrpSpPr>
          <p:cNvPr id="100" name="Groep 99"/>
          <p:cNvGrpSpPr/>
          <p:nvPr userDrawn="1"/>
        </p:nvGrpSpPr>
        <p:grpSpPr>
          <a:xfrm>
            <a:off x="-3279573" y="5020705"/>
            <a:ext cx="3086613" cy="1841358"/>
            <a:chOff x="8427776" y="4654945"/>
            <a:chExt cx="2314960" cy="1841358"/>
          </a:xfrm>
        </p:grpSpPr>
        <p:grpSp>
          <p:nvGrpSpPr>
            <p:cNvPr id="101" name="Groep 100"/>
            <p:cNvGrpSpPr/>
            <p:nvPr userDrawn="1"/>
          </p:nvGrpSpPr>
          <p:grpSpPr>
            <a:xfrm>
              <a:off x="8432864" y="4781014"/>
              <a:ext cx="2309872" cy="1592662"/>
              <a:chOff x="-3092517" y="-83840"/>
              <a:chExt cx="3136706" cy="2509126"/>
            </a:xfrm>
          </p:grpSpPr>
          <p:sp>
            <p:nvSpPr>
              <p:cNvPr id="10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5" name="Ovaal 10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106" name="Ovaal 10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107" name="Ovaal 10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10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1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111" name="Ovaal 11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112" name="Ovaal 11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11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102" name="Rechte verbindingslijn 10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45"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46" name="Groep 45"/>
          <p:cNvGrpSpPr/>
          <p:nvPr userDrawn="1"/>
        </p:nvGrpSpPr>
        <p:grpSpPr>
          <a:xfrm>
            <a:off x="-3471145" y="-46322"/>
            <a:ext cx="3471145" cy="3781320"/>
            <a:chOff x="-2603359" y="-46322"/>
            <a:chExt cx="2603359" cy="3781320"/>
          </a:xfrm>
        </p:grpSpPr>
        <p:sp>
          <p:nvSpPr>
            <p:cNvPr id="47" name="Afgeronde rechthoek 46"/>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48"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49"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0"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51"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52" name="Afgeronde rechthoek 5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53" name="Rechthoek 5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54" name="Rechte verbindingslijn 5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5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5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5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5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6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61" name="Afgeronde rechthoek 6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6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6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6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6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6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21528155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DIA/AFSLUITIN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104BC9A4-C991-4F53-A0A7-889E630CFEAA}"/>
              </a:ext>
            </a:extLst>
          </p:cNvPr>
          <p:cNvSpPr/>
          <p:nvPr userDrawn="1"/>
        </p:nvSpPr>
        <p:spPr>
          <a:xfrm>
            <a:off x="-2" y="0"/>
            <a:ext cx="1219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noProof="0"/>
          </a:p>
        </p:txBody>
      </p:sp>
      <p:sp>
        <p:nvSpPr>
          <p:cNvPr id="25" name="Tijdelijke aanduiding voor tekst 9">
            <a:extLst>
              <a:ext uri="{FF2B5EF4-FFF2-40B4-BE49-F238E27FC236}">
                <a16:creationId xmlns:a16="http://schemas.microsoft.com/office/drawing/2014/main" id="{C75CE4DD-58C0-4779-ADB1-4FC233CAB26A}"/>
              </a:ext>
            </a:extLst>
          </p:cNvPr>
          <p:cNvSpPr>
            <a:spLocks noGrp="1"/>
          </p:cNvSpPr>
          <p:nvPr>
            <p:ph type="body" sz="quarter" idx="19" hasCustomPrompt="1"/>
          </p:nvPr>
        </p:nvSpPr>
        <p:spPr>
          <a:xfrm>
            <a:off x="10670998" y="6457938"/>
            <a:ext cx="1353982" cy="255682"/>
          </a:xfrm>
          <a:prstGeom prst="rect">
            <a:avLst/>
          </a:prstGeom>
          <a:blipFill>
            <a:blip r:embed="rId2"/>
            <a:srcRect/>
            <a:stretch>
              <a:fillRect t="782" b="782"/>
            </a:stretch>
          </a:blipFill>
          <a:ln w="9525">
            <a:noFill/>
          </a:ln>
        </p:spPr>
        <p:txBody>
          <a:bodyPr anchor="ctr"/>
          <a:lstStyle>
            <a:lvl1pPr marL="0" indent="0" algn="ctr">
              <a:buNone/>
              <a:defRPr sz="100">
                <a:solidFill>
                  <a:schemeClr val="bg1"/>
                </a:solidFill>
              </a:defRPr>
            </a:lvl1pPr>
            <a:lvl2pPr algn="ctr">
              <a:defRPr/>
            </a:lvl2pPr>
            <a:lvl3pPr algn="ctr">
              <a:defRPr/>
            </a:lvl3pPr>
            <a:lvl4pPr algn="ctr">
              <a:defRPr/>
            </a:lvl4pPr>
            <a:lvl5pPr algn="ctr">
              <a:defRPr/>
            </a:lvl5pPr>
          </a:lstStyle>
          <a:p>
            <a:pPr lvl="0"/>
            <a:r>
              <a:rPr lang="nl-NL" noProof="0"/>
              <a:t> </a:t>
            </a:r>
          </a:p>
        </p:txBody>
      </p:sp>
      <p:sp>
        <p:nvSpPr>
          <p:cNvPr id="8" name="Tijdelijke aanduiding voor afbeelding 16">
            <a:extLst>
              <a:ext uri="{FF2B5EF4-FFF2-40B4-BE49-F238E27FC236}">
                <a16:creationId xmlns:a16="http://schemas.microsoft.com/office/drawing/2014/main" id="{1AE1DD67-91EA-45BC-A069-9AC4D021582E}"/>
              </a:ext>
            </a:extLst>
          </p:cNvPr>
          <p:cNvSpPr>
            <a:spLocks noGrp="1"/>
          </p:cNvSpPr>
          <p:nvPr>
            <p:ph type="pic" sz="quarter" idx="13" hasCustomPrompt="1"/>
          </p:nvPr>
        </p:nvSpPr>
        <p:spPr>
          <a:xfrm>
            <a:off x="-2" y="-1"/>
            <a:ext cx="12192000" cy="4900042"/>
          </a:xfrm>
          <a:solidFill>
            <a:schemeClr val="bg1">
              <a:lumMod val="95000"/>
            </a:schemeClr>
          </a:solidFill>
        </p:spPr>
        <p:txBody>
          <a:bodyPr tIns="2016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 name="Titel 1">
            <a:extLst>
              <a:ext uri="{FF2B5EF4-FFF2-40B4-BE49-F238E27FC236}">
                <a16:creationId xmlns:a16="http://schemas.microsoft.com/office/drawing/2014/main" id="{2A71DEDF-37F1-4689-8FA1-5E743C7DD6C0}"/>
              </a:ext>
            </a:extLst>
          </p:cNvPr>
          <p:cNvSpPr>
            <a:spLocks noGrp="1"/>
          </p:cNvSpPr>
          <p:nvPr>
            <p:ph type="ctrTitle" hasCustomPrompt="1"/>
          </p:nvPr>
        </p:nvSpPr>
        <p:spPr>
          <a:xfrm>
            <a:off x="1080015" y="5315717"/>
            <a:ext cx="10031970" cy="477864"/>
          </a:xfrm>
        </p:spPr>
        <p:txBody>
          <a:bodyPr anchor="b"/>
          <a:lstStyle>
            <a:lvl1pPr algn="ctr">
              <a:defRPr sz="4000"/>
            </a:lvl1pPr>
          </a:lstStyle>
          <a:p>
            <a:r>
              <a:rPr lang="nl-NL" noProof="0"/>
              <a:t>Titel van de presentatie van max. 1 regel</a:t>
            </a:r>
          </a:p>
        </p:txBody>
      </p:sp>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1080015" y="5954917"/>
            <a:ext cx="10031970" cy="255682"/>
          </a:xfrm>
        </p:spPr>
        <p:txBody>
          <a:bodyPr anchor="b"/>
          <a:lstStyle>
            <a:lvl1pPr marL="0" indent="0" algn="ctr">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Naam spreker  |  Plaats  |  Datum</a:t>
            </a:r>
          </a:p>
        </p:txBody>
      </p:sp>
      <p:sp>
        <p:nvSpPr>
          <p:cNvPr id="5" name="Tijdelijke aanduiding voor voettekst 4">
            <a:extLst>
              <a:ext uri="{FF2B5EF4-FFF2-40B4-BE49-F238E27FC236}">
                <a16:creationId xmlns:a16="http://schemas.microsoft.com/office/drawing/2014/main" id="{9494CA00-555D-4751-8668-226BC887CEBE}"/>
              </a:ext>
            </a:extLst>
          </p:cNvPr>
          <p:cNvSpPr>
            <a:spLocks noGrp="1"/>
          </p:cNvSpPr>
          <p:nvPr>
            <p:ph type="ftr" sz="quarter" idx="11"/>
          </p:nvPr>
        </p:nvSpPr>
        <p:spPr>
          <a:xfrm>
            <a:off x="7910180" y="7182853"/>
            <a:ext cx="4114800" cy="360000"/>
          </a:xfrm>
        </p:spPr>
        <p:txBody>
          <a:bodyPr/>
          <a:lstStyle>
            <a:lvl1pPr algn="r">
              <a:defRPr sz="1050"/>
            </a:lvl1p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2D1BBC6E-F9BF-4357-8F2F-8FFB4D00068A}"/>
              </a:ext>
            </a:extLst>
          </p:cNvPr>
          <p:cNvSpPr>
            <a:spLocks noGrp="1"/>
          </p:cNvSpPr>
          <p:nvPr>
            <p:ph type="sldNum" sz="quarter" idx="12"/>
          </p:nvPr>
        </p:nvSpPr>
        <p:spPr>
          <a:xfrm>
            <a:off x="11740383" y="7001401"/>
            <a:ext cx="284597" cy="151790"/>
          </a:xfrm>
        </p:spPr>
        <p:txBody>
          <a:bodyPr/>
          <a:lstStyle/>
          <a:p>
            <a:fld id="{D7B5DC5B-6873-43DB-ADC7-B15ACCE0DFDB}" type="slidenum">
              <a:rPr lang="nl-NL" noProof="0" smtClean="0"/>
              <a:t>‹#›</a:t>
            </a:fld>
            <a:endParaRPr lang="nl-NL" noProof="0"/>
          </a:p>
        </p:txBody>
      </p:sp>
      <p:sp>
        <p:nvSpPr>
          <p:cNvPr id="7" name="Rechthoek: afgeronde hoeken 6">
            <a:extLst>
              <a:ext uri="{FF2B5EF4-FFF2-40B4-BE49-F238E27FC236}">
                <a16:creationId xmlns:a16="http://schemas.microsoft.com/office/drawing/2014/main" id="{7D3AA19E-3DC8-4556-BC42-05B65FEB6237}"/>
              </a:ext>
            </a:extLst>
          </p:cNvPr>
          <p:cNvSpPr/>
          <p:nvPr userDrawn="1"/>
        </p:nvSpPr>
        <p:spPr>
          <a:xfrm>
            <a:off x="3048000" y="-491317"/>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sz="2800" b="0" cap="all" baseline="0" noProof="0">
                <a:solidFill>
                  <a:schemeClr val="accent1"/>
                </a:solidFill>
                <a:latin typeface="+mn-lt"/>
              </a:rPr>
              <a:t>TITELDIA/Afsluiting</a:t>
            </a:r>
          </a:p>
        </p:txBody>
      </p:sp>
      <p:sp>
        <p:nvSpPr>
          <p:cNvPr id="21" name="Tijdelijke aanduiding voor tekst 9">
            <a:extLst>
              <a:ext uri="{FF2B5EF4-FFF2-40B4-BE49-F238E27FC236}">
                <a16:creationId xmlns:a16="http://schemas.microsoft.com/office/drawing/2014/main" id="{D162A0BC-575D-4DA1-806F-F51EC72B72CA}"/>
              </a:ext>
            </a:extLst>
          </p:cNvPr>
          <p:cNvSpPr>
            <a:spLocks noGrp="1"/>
          </p:cNvSpPr>
          <p:nvPr>
            <p:ph type="body" sz="quarter" idx="15" hasCustomPrompt="1"/>
          </p:nvPr>
        </p:nvSpPr>
        <p:spPr>
          <a:xfrm>
            <a:off x="5556000" y="4900421"/>
            <a:ext cx="1080000" cy="72000"/>
          </a:xfrm>
          <a:prstGeom prst="rect">
            <a:avLst/>
          </a:prstGeom>
          <a:solidFill>
            <a:schemeClr val="accent1"/>
          </a:solidFill>
          <a:ln w="9525">
            <a:noFill/>
          </a:ln>
        </p:spPr>
        <p:txBody>
          <a:bodyPr anchor="ctr"/>
          <a:lstStyle>
            <a:lvl1pPr marL="0" indent="0" algn="ctr">
              <a:buNone/>
              <a:defRPr sz="100">
                <a:solidFill>
                  <a:schemeClr val="accent1"/>
                </a:solidFill>
              </a:defRPr>
            </a:lvl1pPr>
            <a:lvl2pPr algn="ctr">
              <a:defRPr/>
            </a:lvl2pPr>
            <a:lvl3pPr algn="ctr">
              <a:defRPr/>
            </a:lvl3pPr>
            <a:lvl4pPr algn="ctr">
              <a:defRPr/>
            </a:lvl4pPr>
            <a:lvl5pPr algn="ctr">
              <a:defRPr/>
            </a:lvl5pPr>
          </a:lstStyle>
          <a:p>
            <a:pPr lvl="0"/>
            <a:r>
              <a:rPr lang="nl-NL" noProof="0"/>
              <a:t> </a:t>
            </a:r>
          </a:p>
        </p:txBody>
      </p:sp>
      <p:sp>
        <p:nvSpPr>
          <p:cNvPr id="26" name="Tijdelijke aanduiding voor tekst 9">
            <a:extLst>
              <a:ext uri="{FF2B5EF4-FFF2-40B4-BE49-F238E27FC236}">
                <a16:creationId xmlns:a16="http://schemas.microsoft.com/office/drawing/2014/main" id="{B1B4D0D6-0979-4945-8789-95A2B294D691}"/>
              </a:ext>
            </a:extLst>
          </p:cNvPr>
          <p:cNvSpPr>
            <a:spLocks noGrp="1"/>
          </p:cNvSpPr>
          <p:nvPr>
            <p:ph type="body" sz="quarter" idx="16" hasCustomPrompt="1"/>
          </p:nvPr>
        </p:nvSpPr>
        <p:spPr>
          <a:xfrm>
            <a:off x="4147865" y="4285399"/>
            <a:ext cx="3896297" cy="421928"/>
          </a:xfrm>
          <a:prstGeom prst="roundRect">
            <a:avLst>
              <a:gd name="adj" fmla="val 13596"/>
            </a:avLst>
          </a:prstGeom>
          <a:solidFill>
            <a:schemeClr val="accent1"/>
          </a:solidFill>
          <a:ln w="9525">
            <a:noFill/>
          </a:ln>
        </p:spPr>
        <p:txBody>
          <a:bodyPr wrap="none" lIns="108000" tIns="72000" rIns="108000" bIns="72000" anchor="ctr">
            <a:spAutoFit/>
          </a:bodyPr>
          <a:lstStyle>
            <a:lvl1pPr marL="0" indent="0" algn="ctr">
              <a:buNone/>
              <a:defRPr sz="1600">
                <a:solidFill>
                  <a:schemeClr val="bg1"/>
                </a:solidFill>
              </a:defRPr>
            </a:lvl1pPr>
            <a:lvl2pPr algn="ctr">
              <a:defRPr/>
            </a:lvl2pPr>
            <a:lvl3pPr algn="ctr">
              <a:defRPr/>
            </a:lvl3pPr>
            <a:lvl4pPr algn="ctr">
              <a:defRPr/>
            </a:lvl4pPr>
            <a:lvl5pPr algn="ctr">
              <a:defRPr/>
            </a:lvl5pPr>
          </a:lstStyle>
          <a:p>
            <a:pPr lvl="0"/>
            <a:r>
              <a:rPr lang="nl-NL" noProof="0"/>
              <a:t>Vul hier de naam van je bedrijfsonderdeel in</a:t>
            </a:r>
          </a:p>
        </p:txBody>
      </p:sp>
      <p:sp>
        <p:nvSpPr>
          <p:cNvPr id="24" name="Tijdelijke aanduiding voor tekst 9">
            <a:extLst>
              <a:ext uri="{FF2B5EF4-FFF2-40B4-BE49-F238E27FC236}">
                <a16:creationId xmlns:a16="http://schemas.microsoft.com/office/drawing/2014/main" id="{B90DCB3A-5392-4CF4-8622-F077FEB7E798}"/>
              </a:ext>
            </a:extLst>
          </p:cNvPr>
          <p:cNvSpPr>
            <a:spLocks noGrp="1"/>
          </p:cNvSpPr>
          <p:nvPr>
            <p:ph type="body" sz="quarter" idx="17" hasCustomPrompt="1"/>
          </p:nvPr>
        </p:nvSpPr>
        <p:spPr>
          <a:xfrm>
            <a:off x="-2" y="6786000"/>
            <a:ext cx="12192000" cy="72000"/>
          </a:xfrm>
          <a:prstGeom prst="rect">
            <a:avLst/>
          </a:prstGeom>
          <a:solidFill>
            <a:srgbClr val="417FA2"/>
          </a:solidFill>
          <a:ln w="9525">
            <a:noFill/>
          </a:ln>
        </p:spPr>
        <p:txBody>
          <a:bodyPr anchor="ctr"/>
          <a:lstStyle>
            <a:lvl1pPr marL="0" indent="0" algn="ctr">
              <a:buNone/>
              <a:defRPr sz="100">
                <a:solidFill>
                  <a:schemeClr val="bg1"/>
                </a:solidFill>
              </a:defRPr>
            </a:lvl1pPr>
            <a:lvl2pPr algn="ctr">
              <a:defRPr/>
            </a:lvl2pPr>
            <a:lvl3pPr algn="ctr">
              <a:defRPr/>
            </a:lvl3pPr>
            <a:lvl4pPr algn="ctr">
              <a:defRPr/>
            </a:lvl4pPr>
            <a:lvl5pPr algn="ctr">
              <a:defRPr/>
            </a:lvl5pPr>
          </a:lstStyle>
          <a:p>
            <a:pPr lvl="0"/>
            <a:r>
              <a:rPr lang="nl-NL" noProof="0"/>
              <a:t> </a:t>
            </a:r>
          </a:p>
        </p:txBody>
      </p:sp>
      <p:grpSp>
        <p:nvGrpSpPr>
          <p:cNvPr id="59" name="GRID" hidden="1">
            <a:extLst>
              <a:ext uri="{FF2B5EF4-FFF2-40B4-BE49-F238E27FC236}">
                <a16:creationId xmlns:a16="http://schemas.microsoft.com/office/drawing/2014/main" id="{E4C2A759-8F26-4F33-B83B-C40BE60F085F}"/>
              </a:ext>
            </a:extLst>
          </p:cNvPr>
          <p:cNvGrpSpPr/>
          <p:nvPr userDrawn="1"/>
        </p:nvGrpSpPr>
        <p:grpSpPr>
          <a:xfrm>
            <a:off x="0" y="0"/>
            <a:ext cx="12192000" cy="6858000"/>
            <a:chOff x="0" y="0"/>
            <a:chExt cx="12192000" cy="6858000"/>
          </a:xfrm>
          <a:solidFill>
            <a:schemeClr val="tx1">
              <a:alpha val="30000"/>
            </a:schemeClr>
          </a:solidFill>
        </p:grpSpPr>
        <p:sp>
          <p:nvSpPr>
            <p:cNvPr id="60" name="Rechthoek 59">
              <a:extLst>
                <a:ext uri="{FF2B5EF4-FFF2-40B4-BE49-F238E27FC236}">
                  <a16:creationId xmlns:a16="http://schemas.microsoft.com/office/drawing/2014/main" id="{B34F9F53-D2D3-4D8E-A83D-3B954A176349}"/>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4E03818F-4B22-4B19-A092-A2F8C97EBBC1}"/>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D8D3F0EC-420E-48DC-AFD1-32B337B33BEA}"/>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3" name="Rechthoek 62">
              <a:extLst>
                <a:ext uri="{FF2B5EF4-FFF2-40B4-BE49-F238E27FC236}">
                  <a16:creationId xmlns:a16="http://schemas.microsoft.com/office/drawing/2014/main" id="{0571A95A-D1C2-4221-94DA-22CEB80F9B52}"/>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4" name="Rechthoek 63">
              <a:extLst>
                <a:ext uri="{FF2B5EF4-FFF2-40B4-BE49-F238E27FC236}">
                  <a16:creationId xmlns:a16="http://schemas.microsoft.com/office/drawing/2014/main" id="{3AA57B5A-A3CF-4D53-BDDF-A09CD9FC28B8}"/>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5" name="Rechthoek 64">
              <a:extLst>
                <a:ext uri="{FF2B5EF4-FFF2-40B4-BE49-F238E27FC236}">
                  <a16:creationId xmlns:a16="http://schemas.microsoft.com/office/drawing/2014/main" id="{45BE349D-76A4-4C5E-8712-6532587820F9}"/>
                </a:ext>
              </a:extLst>
            </p:cNvPr>
            <p:cNvSpPr/>
            <p:nvPr userDrawn="1"/>
          </p:nvSpPr>
          <p:spPr>
            <a:xfrm>
              <a:off x="0" y="6426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8" name="Rechthoek 67">
              <a:extLst>
                <a:ext uri="{FF2B5EF4-FFF2-40B4-BE49-F238E27FC236}">
                  <a16:creationId xmlns:a16="http://schemas.microsoft.com/office/drawing/2014/main" id="{1F721CCE-28AF-4770-A966-48719EA5DD36}"/>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9" name="Rechthoek 68">
              <a:extLst>
                <a:ext uri="{FF2B5EF4-FFF2-40B4-BE49-F238E27FC236}">
                  <a16:creationId xmlns:a16="http://schemas.microsoft.com/office/drawing/2014/main" id="{652CC678-784F-447B-B4D7-B10F5335906A}"/>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70" name="Rechthoek 69">
              <a:extLst>
                <a:ext uri="{FF2B5EF4-FFF2-40B4-BE49-F238E27FC236}">
                  <a16:creationId xmlns:a16="http://schemas.microsoft.com/office/drawing/2014/main" id="{D5BC6CEE-7574-4A92-92B5-AD22648B1A96}"/>
                </a:ext>
              </a:extLst>
            </p:cNvPr>
            <p:cNvSpPr/>
            <p:nvPr userDrawn="1"/>
          </p:nvSpPr>
          <p:spPr>
            <a:xfrm>
              <a:off x="0" y="497242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76" name="Instructie">
            <a:extLst>
              <a:ext uri="{FF2B5EF4-FFF2-40B4-BE49-F238E27FC236}">
                <a16:creationId xmlns:a16="http://schemas.microsoft.com/office/drawing/2014/main" id="{A7C5DCED-18A8-4BCA-88A6-26A48943BA7B}"/>
              </a:ext>
            </a:extLst>
          </p:cNvPr>
          <p:cNvGrpSpPr/>
          <p:nvPr userDrawn="1"/>
        </p:nvGrpSpPr>
        <p:grpSpPr>
          <a:xfrm>
            <a:off x="12391601" y="0"/>
            <a:ext cx="3183678" cy="3883011"/>
            <a:chOff x="12391601" y="0"/>
            <a:chExt cx="3183678" cy="3883011"/>
          </a:xfrm>
        </p:grpSpPr>
        <p:grpSp>
          <p:nvGrpSpPr>
            <p:cNvPr id="80" name="Groep 79">
              <a:extLst>
                <a:ext uri="{FF2B5EF4-FFF2-40B4-BE49-F238E27FC236}">
                  <a16:creationId xmlns:a16="http://schemas.microsoft.com/office/drawing/2014/main" id="{B2FD0359-C487-4235-8B0B-4F8441D51C3E}"/>
                </a:ext>
              </a:extLst>
            </p:cNvPr>
            <p:cNvGrpSpPr/>
            <p:nvPr userDrawn="1"/>
          </p:nvGrpSpPr>
          <p:grpSpPr>
            <a:xfrm>
              <a:off x="12757282" y="3100116"/>
              <a:ext cx="1499406" cy="678267"/>
              <a:chOff x="12757283" y="3120781"/>
              <a:chExt cx="1499406" cy="678267"/>
            </a:xfrm>
          </p:grpSpPr>
          <p:sp>
            <p:nvSpPr>
              <p:cNvPr id="103" name="Rechthoek 102">
                <a:extLst>
                  <a:ext uri="{FF2B5EF4-FFF2-40B4-BE49-F238E27FC236}">
                    <a16:creationId xmlns:a16="http://schemas.microsoft.com/office/drawing/2014/main" id="{30339959-42BF-44BD-9B32-446D1EDF5D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4" name="Rechthoek 103">
                <a:extLst>
                  <a:ext uri="{FF2B5EF4-FFF2-40B4-BE49-F238E27FC236}">
                    <a16:creationId xmlns:a16="http://schemas.microsoft.com/office/drawing/2014/main" id="{5B4BA334-5B96-4122-A9DE-CC3D57E9B95C}"/>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5" name="Tekstvak 104">
                <a:extLst>
                  <a:ext uri="{FF2B5EF4-FFF2-40B4-BE49-F238E27FC236}">
                    <a16:creationId xmlns:a16="http://schemas.microsoft.com/office/drawing/2014/main" id="{7F6D4F7E-978D-4740-9136-0C46F575BEFB}"/>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106" name="Tekstvak 105">
                <a:extLst>
                  <a:ext uri="{FF2B5EF4-FFF2-40B4-BE49-F238E27FC236}">
                    <a16:creationId xmlns:a16="http://schemas.microsoft.com/office/drawing/2014/main" id="{34A034C6-50DE-4BFE-952B-32B7F38C7FA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107" name="Picture 3">
                <a:extLst>
                  <a:ext uri="{FF2B5EF4-FFF2-40B4-BE49-F238E27FC236}">
                    <a16:creationId xmlns:a16="http://schemas.microsoft.com/office/drawing/2014/main" id="{F0977799-6EC4-45FE-BFE7-98A224CBF11A}"/>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 name="Gelijkbenige driehoek 107">
                <a:extLst>
                  <a:ext uri="{FF2B5EF4-FFF2-40B4-BE49-F238E27FC236}">
                    <a16:creationId xmlns:a16="http://schemas.microsoft.com/office/drawing/2014/main" id="{7D08ACEE-7813-4912-B1B0-96C65D6A464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109" name="Groep 108">
                <a:extLst>
                  <a:ext uri="{FF2B5EF4-FFF2-40B4-BE49-F238E27FC236}">
                    <a16:creationId xmlns:a16="http://schemas.microsoft.com/office/drawing/2014/main" id="{9242D21B-8D47-4460-BFC3-999A110474CC}"/>
                  </a:ext>
                </a:extLst>
              </p:cNvPr>
              <p:cNvGrpSpPr/>
              <p:nvPr userDrawn="1"/>
            </p:nvGrpSpPr>
            <p:grpSpPr>
              <a:xfrm>
                <a:off x="12822311" y="3178534"/>
                <a:ext cx="182309" cy="163794"/>
                <a:chOff x="12832541" y="3162395"/>
                <a:chExt cx="219532" cy="197236"/>
              </a:xfrm>
            </p:grpSpPr>
            <p:sp>
              <p:nvSpPr>
                <p:cNvPr id="114" name="Rechthoek 113">
                  <a:extLst>
                    <a:ext uri="{FF2B5EF4-FFF2-40B4-BE49-F238E27FC236}">
                      <a16:creationId xmlns:a16="http://schemas.microsoft.com/office/drawing/2014/main" id="{D236EB61-5263-4D5F-8FD7-9E9F2B1BCBEC}"/>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5" name="Rechthoek 114">
                  <a:extLst>
                    <a:ext uri="{FF2B5EF4-FFF2-40B4-BE49-F238E27FC236}">
                      <a16:creationId xmlns:a16="http://schemas.microsoft.com/office/drawing/2014/main" id="{7BCC57FF-07F3-44A6-BDDA-18FF86611859}"/>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6" name="Rechthoek 115">
                  <a:extLst>
                    <a:ext uri="{FF2B5EF4-FFF2-40B4-BE49-F238E27FC236}">
                      <a16:creationId xmlns:a16="http://schemas.microsoft.com/office/drawing/2014/main" id="{E5D57E57-89A7-4E8E-8268-3046F6A94D44}"/>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nvGrpSpPr>
              <p:cNvPr id="110" name="Groep 109">
                <a:extLst>
                  <a:ext uri="{FF2B5EF4-FFF2-40B4-BE49-F238E27FC236}">
                    <a16:creationId xmlns:a16="http://schemas.microsoft.com/office/drawing/2014/main" id="{CE64DD25-4A21-48E9-BA5B-742A72C00E87}"/>
                  </a:ext>
                </a:extLst>
              </p:cNvPr>
              <p:cNvGrpSpPr/>
              <p:nvPr userDrawn="1"/>
            </p:nvGrpSpPr>
            <p:grpSpPr>
              <a:xfrm>
                <a:off x="12822311" y="3480352"/>
                <a:ext cx="182309" cy="163794"/>
                <a:chOff x="12832541" y="3162395"/>
                <a:chExt cx="219532" cy="197236"/>
              </a:xfrm>
            </p:grpSpPr>
            <p:sp>
              <p:nvSpPr>
                <p:cNvPr id="111" name="Rechthoek 110">
                  <a:extLst>
                    <a:ext uri="{FF2B5EF4-FFF2-40B4-BE49-F238E27FC236}">
                      <a16:creationId xmlns:a16="http://schemas.microsoft.com/office/drawing/2014/main" id="{D9A03206-EC98-4032-A2BA-F307061D1DA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2" name="Rechthoek 111">
                  <a:extLst>
                    <a:ext uri="{FF2B5EF4-FFF2-40B4-BE49-F238E27FC236}">
                      <a16:creationId xmlns:a16="http://schemas.microsoft.com/office/drawing/2014/main" id="{5B162F1D-7353-4CE6-A1B0-E1E071915FC0}"/>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3" name="Rechthoek 112">
                  <a:extLst>
                    <a:ext uri="{FF2B5EF4-FFF2-40B4-BE49-F238E27FC236}">
                      <a16:creationId xmlns:a16="http://schemas.microsoft.com/office/drawing/2014/main" id="{91B8FD5F-CC8C-47E1-BC4E-423EEBCCD7AC}"/>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
          <p:nvSpPr>
            <p:cNvPr id="81" name="Rechthoek 80">
              <a:extLst>
                <a:ext uri="{FF2B5EF4-FFF2-40B4-BE49-F238E27FC236}">
                  <a16:creationId xmlns:a16="http://schemas.microsoft.com/office/drawing/2014/main" id="{00B59C7E-193F-4D0B-A955-FCD17B9AABE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82" name="Ovaal 81">
              <a:extLst>
                <a:ext uri="{FF2B5EF4-FFF2-40B4-BE49-F238E27FC236}">
                  <a16:creationId xmlns:a16="http://schemas.microsoft.com/office/drawing/2014/main" id="{C88F2BFE-1EBD-4088-8F39-6534E79E23A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3" name="Rechte verbindingslijn 82">
              <a:extLst>
                <a:ext uri="{FF2B5EF4-FFF2-40B4-BE49-F238E27FC236}">
                  <a16:creationId xmlns:a16="http://schemas.microsoft.com/office/drawing/2014/main" id="{76CB2299-2B62-4F43-BA2C-96DCFFE8C528}"/>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84" name="Rechte verbindingslijn 83">
              <a:extLst>
                <a:ext uri="{FF2B5EF4-FFF2-40B4-BE49-F238E27FC236}">
                  <a16:creationId xmlns:a16="http://schemas.microsoft.com/office/drawing/2014/main" id="{057D3894-88C4-4C83-8F87-599712FFABD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85" name="Rechthoek 84">
              <a:extLst>
                <a:ext uri="{FF2B5EF4-FFF2-40B4-BE49-F238E27FC236}">
                  <a16:creationId xmlns:a16="http://schemas.microsoft.com/office/drawing/2014/main" id="{1495C823-2C18-4951-B86A-749D9631FEF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86" name="Rechte verbindingslijn 85">
              <a:extLst>
                <a:ext uri="{FF2B5EF4-FFF2-40B4-BE49-F238E27FC236}">
                  <a16:creationId xmlns:a16="http://schemas.microsoft.com/office/drawing/2014/main" id="{E802DE7B-E1F2-4686-87CD-4AF993D27E9E}"/>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87" name="Ovaal 86">
              <a:extLst>
                <a:ext uri="{FF2B5EF4-FFF2-40B4-BE49-F238E27FC236}">
                  <a16:creationId xmlns:a16="http://schemas.microsoft.com/office/drawing/2014/main" id="{26DDAD4D-4022-4A00-8486-8F987CB3847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88" name="Rechthoek 87">
              <a:extLst>
                <a:ext uri="{FF2B5EF4-FFF2-40B4-BE49-F238E27FC236}">
                  <a16:creationId xmlns:a16="http://schemas.microsoft.com/office/drawing/2014/main" id="{F057954F-8C77-4E11-9DB0-51F7FA70896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89" name="Groep 88">
              <a:extLst>
                <a:ext uri="{FF2B5EF4-FFF2-40B4-BE49-F238E27FC236}">
                  <a16:creationId xmlns:a16="http://schemas.microsoft.com/office/drawing/2014/main" id="{033A4A22-69F6-43DF-99D3-71C402EF6A17}"/>
                </a:ext>
              </a:extLst>
            </p:cNvPr>
            <p:cNvGrpSpPr/>
            <p:nvPr userDrawn="1"/>
          </p:nvGrpSpPr>
          <p:grpSpPr>
            <a:xfrm>
              <a:off x="12757282" y="2184550"/>
              <a:ext cx="825500" cy="209550"/>
              <a:chOff x="13504624" y="2482850"/>
              <a:chExt cx="825500" cy="209550"/>
            </a:xfrm>
          </p:grpSpPr>
          <p:sp>
            <p:nvSpPr>
              <p:cNvPr id="100" name="Rechthoek 99">
                <a:extLst>
                  <a:ext uri="{FF2B5EF4-FFF2-40B4-BE49-F238E27FC236}">
                    <a16:creationId xmlns:a16="http://schemas.microsoft.com/office/drawing/2014/main" id="{EF286B8A-5D47-43BE-8E5D-AD52C28E312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01" name="Rechte verbindingslijn 100">
                <a:extLst>
                  <a:ext uri="{FF2B5EF4-FFF2-40B4-BE49-F238E27FC236}">
                    <a16:creationId xmlns:a16="http://schemas.microsoft.com/office/drawing/2014/main" id="{69C398AB-B347-40EF-9457-D1299C60B64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02" name="Gelijkbenige driehoek 101">
                <a:extLst>
                  <a:ext uri="{FF2B5EF4-FFF2-40B4-BE49-F238E27FC236}">
                    <a16:creationId xmlns:a16="http://schemas.microsoft.com/office/drawing/2014/main" id="{FF708588-A9DE-4739-8F50-C24064DF259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90" name="Groep 89">
              <a:extLst>
                <a:ext uri="{FF2B5EF4-FFF2-40B4-BE49-F238E27FC236}">
                  <a16:creationId xmlns:a16="http://schemas.microsoft.com/office/drawing/2014/main" id="{45EA5EB3-AA32-4BA2-95F3-261E7B7754D6}"/>
                </a:ext>
              </a:extLst>
            </p:cNvPr>
            <p:cNvGrpSpPr/>
            <p:nvPr userDrawn="1"/>
          </p:nvGrpSpPr>
          <p:grpSpPr>
            <a:xfrm>
              <a:off x="12757282" y="1141626"/>
              <a:ext cx="294789" cy="318834"/>
              <a:chOff x="14466489" y="1001522"/>
              <a:chExt cx="290627" cy="314333"/>
            </a:xfrm>
          </p:grpSpPr>
          <p:sp>
            <p:nvSpPr>
              <p:cNvPr id="94" name="Rechthoek 93">
                <a:extLst>
                  <a:ext uri="{FF2B5EF4-FFF2-40B4-BE49-F238E27FC236}">
                    <a16:creationId xmlns:a16="http://schemas.microsoft.com/office/drawing/2014/main" id="{273118CE-989E-42B3-9023-6090BCE5D1D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95" name="Ovaal 94">
                <a:extLst>
                  <a:ext uri="{FF2B5EF4-FFF2-40B4-BE49-F238E27FC236}">
                    <a16:creationId xmlns:a16="http://schemas.microsoft.com/office/drawing/2014/main" id="{EFF5EAE8-1B89-422E-A5AD-78F52E3348A3}"/>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6" name="Vrije vorm: vorm 95">
                <a:extLst>
                  <a:ext uri="{FF2B5EF4-FFF2-40B4-BE49-F238E27FC236}">
                    <a16:creationId xmlns:a16="http://schemas.microsoft.com/office/drawing/2014/main" id="{1941F0BB-D4B4-4BA2-8B19-9BE4186761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7" name="Rechthoek: afgeronde hoeken 96">
                <a:extLst>
                  <a:ext uri="{FF2B5EF4-FFF2-40B4-BE49-F238E27FC236}">
                    <a16:creationId xmlns:a16="http://schemas.microsoft.com/office/drawing/2014/main" id="{D4D148B3-B787-46A7-9F7A-3E7C332CCFF0}"/>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98" name="Rechte verbindingslijn 97">
                <a:extLst>
                  <a:ext uri="{FF2B5EF4-FFF2-40B4-BE49-F238E27FC236}">
                    <a16:creationId xmlns:a16="http://schemas.microsoft.com/office/drawing/2014/main" id="{0814D724-37D2-42AA-983F-CBB36268F35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99" name="Rechte verbindingslijn 98">
                <a:extLst>
                  <a:ext uri="{FF2B5EF4-FFF2-40B4-BE49-F238E27FC236}">
                    <a16:creationId xmlns:a16="http://schemas.microsoft.com/office/drawing/2014/main" id="{F3A4A562-A36D-49D4-BD61-8826010E2FF8}"/>
                  </a:ext>
                </a:extLst>
              </p:cNvPr>
              <p:cNvCxnSpPr>
                <a:cxnSpLocks/>
                <a:stCxn id="9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91" name="Ovaal 90">
              <a:extLst>
                <a:ext uri="{FF2B5EF4-FFF2-40B4-BE49-F238E27FC236}">
                  <a16:creationId xmlns:a16="http://schemas.microsoft.com/office/drawing/2014/main" id="{EA084D35-F4AE-403C-B8A9-EF038E119193}"/>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92" name="Rechthoek 91">
              <a:extLst>
                <a:ext uri="{FF2B5EF4-FFF2-40B4-BE49-F238E27FC236}">
                  <a16:creationId xmlns:a16="http://schemas.microsoft.com/office/drawing/2014/main" id="{F2A9A87D-41CE-4E32-BB70-B049CD6381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93" name="Rechte verbindingslijn 92">
              <a:extLst>
                <a:ext uri="{FF2B5EF4-FFF2-40B4-BE49-F238E27FC236}">
                  <a16:creationId xmlns:a16="http://schemas.microsoft.com/office/drawing/2014/main" id="{F9BD3C04-532C-47B1-A6A5-35552C24B529}"/>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grpSp>
        <p:nvGrpSpPr>
          <p:cNvPr id="66" name="OVERIGE KLEUREN">
            <a:extLst>
              <a:ext uri="{FF2B5EF4-FFF2-40B4-BE49-F238E27FC236}">
                <a16:creationId xmlns:a16="http://schemas.microsoft.com/office/drawing/2014/main" id="{A9E92F5D-FAD6-4072-AD98-E4EA30EDD3C3}"/>
              </a:ext>
            </a:extLst>
          </p:cNvPr>
          <p:cNvGrpSpPr/>
          <p:nvPr userDrawn="1"/>
        </p:nvGrpSpPr>
        <p:grpSpPr>
          <a:xfrm>
            <a:off x="3241700" y="6925672"/>
            <a:ext cx="1028611" cy="333473"/>
            <a:chOff x="8419153" y="176531"/>
            <a:chExt cx="1028611" cy="333473"/>
          </a:xfrm>
        </p:grpSpPr>
        <p:grpSp>
          <p:nvGrpSpPr>
            <p:cNvPr id="67" name="Groep 66">
              <a:extLst>
                <a:ext uri="{FF2B5EF4-FFF2-40B4-BE49-F238E27FC236}">
                  <a16:creationId xmlns:a16="http://schemas.microsoft.com/office/drawing/2014/main" id="{6F026B88-B312-4053-8A72-13C4BC91F3E8}"/>
                </a:ext>
              </a:extLst>
            </p:cNvPr>
            <p:cNvGrpSpPr/>
            <p:nvPr userDrawn="1"/>
          </p:nvGrpSpPr>
          <p:grpSpPr>
            <a:xfrm rot="16200000">
              <a:off x="8707994" y="78045"/>
              <a:ext cx="143119" cy="720800"/>
              <a:chOff x="8410390" y="426075"/>
              <a:chExt cx="212651" cy="1070988"/>
            </a:xfrm>
          </p:grpSpPr>
          <p:sp>
            <p:nvSpPr>
              <p:cNvPr id="72" name="Rechthoek: afgeronde hoeken 71">
                <a:extLst>
                  <a:ext uri="{FF2B5EF4-FFF2-40B4-BE49-F238E27FC236}">
                    <a16:creationId xmlns:a16="http://schemas.microsoft.com/office/drawing/2014/main" id="{BFF93C64-43D0-42EC-B88A-2AF477B79ED8}"/>
                  </a:ext>
                </a:extLst>
              </p:cNvPr>
              <p:cNvSpPr/>
              <p:nvPr userDrawn="1"/>
            </p:nvSpPr>
            <p:spPr>
              <a:xfrm>
                <a:off x="8410390" y="705813"/>
                <a:ext cx="212649" cy="212649"/>
              </a:xfrm>
              <a:prstGeom prst="roundRect">
                <a:avLst>
                  <a:gd name="adj" fmla="val 26722"/>
                </a:avLst>
              </a:prstGeom>
              <a:solidFill>
                <a:srgbClr val="00B33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74" name="Rechthoek: afgeronde hoeken 73">
                <a:extLst>
                  <a:ext uri="{FF2B5EF4-FFF2-40B4-BE49-F238E27FC236}">
                    <a16:creationId xmlns:a16="http://schemas.microsoft.com/office/drawing/2014/main" id="{94035C6F-389D-4FFC-B8C3-618061F2D8A1}"/>
                  </a:ext>
                </a:extLst>
              </p:cNvPr>
              <p:cNvSpPr/>
              <p:nvPr userDrawn="1"/>
            </p:nvSpPr>
            <p:spPr>
              <a:xfrm>
                <a:off x="8410390" y="426075"/>
                <a:ext cx="212649" cy="212649"/>
              </a:xfrm>
              <a:prstGeom prst="roundRect">
                <a:avLst>
                  <a:gd name="adj" fmla="val 26722"/>
                </a:avLst>
              </a:prstGeom>
              <a:solidFill>
                <a:srgbClr val="0BA29C"/>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75" name="Rechthoek: afgeronde hoeken 74">
                <a:extLst>
                  <a:ext uri="{FF2B5EF4-FFF2-40B4-BE49-F238E27FC236}">
                    <a16:creationId xmlns:a16="http://schemas.microsoft.com/office/drawing/2014/main" id="{3E3BA818-DACD-46D3-A515-24BF4C7BAB1B}"/>
                  </a:ext>
                </a:extLst>
              </p:cNvPr>
              <p:cNvSpPr/>
              <p:nvPr userDrawn="1"/>
            </p:nvSpPr>
            <p:spPr>
              <a:xfrm>
                <a:off x="8410391" y="1014997"/>
                <a:ext cx="212650" cy="212648"/>
              </a:xfrm>
              <a:prstGeom prst="roundRect">
                <a:avLst>
                  <a:gd name="adj" fmla="val 26722"/>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77" name="Rechthoek: afgeronde hoeken 76">
                <a:extLst>
                  <a:ext uri="{FF2B5EF4-FFF2-40B4-BE49-F238E27FC236}">
                    <a16:creationId xmlns:a16="http://schemas.microsoft.com/office/drawing/2014/main" id="{C2B9051C-C2DE-4560-A352-7DE5260B1D9D}"/>
                  </a:ext>
                </a:extLst>
              </p:cNvPr>
              <p:cNvSpPr/>
              <p:nvPr userDrawn="1"/>
            </p:nvSpPr>
            <p:spPr>
              <a:xfrm>
                <a:off x="8410391" y="1284415"/>
                <a:ext cx="212650" cy="212648"/>
              </a:xfrm>
              <a:prstGeom prst="roundRect">
                <a:avLst>
                  <a:gd name="adj" fmla="val 26722"/>
                </a:avLst>
              </a:prstGeom>
              <a:solidFill>
                <a:srgbClr val="E1321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grpSp>
        <p:sp>
          <p:nvSpPr>
            <p:cNvPr id="71" name="Tekstvak 70">
              <a:extLst>
                <a:ext uri="{FF2B5EF4-FFF2-40B4-BE49-F238E27FC236}">
                  <a16:creationId xmlns:a16="http://schemas.microsoft.com/office/drawing/2014/main" id="{936A3CF1-4B0B-4125-8651-D406A8889996}"/>
                </a:ext>
              </a:extLst>
            </p:cNvPr>
            <p:cNvSpPr txBox="1"/>
            <p:nvPr userDrawn="1"/>
          </p:nvSpPr>
          <p:spPr>
            <a:xfrm>
              <a:off x="8419153" y="176531"/>
              <a:ext cx="1028611" cy="143117"/>
            </a:xfrm>
            <a:prstGeom prst="rect">
              <a:avLst/>
            </a:prstGeom>
            <a:noFill/>
          </p:spPr>
          <p:txBody>
            <a:bodyPr wrap="square" lIns="0" tIns="0" rIns="0" bIns="0" rtlCol="0">
              <a:noAutofit/>
            </a:bodyPr>
            <a:lstStyle/>
            <a:p>
              <a:pPr algn="l"/>
              <a:r>
                <a:rPr lang="nl-NL" sz="1000" b="1" u="none" noProof="0">
                  <a:latin typeface="+mj-lt"/>
                </a:rPr>
                <a:t>Merk kleuren</a:t>
              </a:r>
            </a:p>
          </p:txBody>
        </p:sp>
      </p:grpSp>
      <p:pic>
        <p:nvPicPr>
          <p:cNvPr id="117" name="Afbeelding 116">
            <a:extLst>
              <a:ext uri="{FF2B5EF4-FFF2-40B4-BE49-F238E27FC236}">
                <a16:creationId xmlns:a16="http://schemas.microsoft.com/office/drawing/2014/main" id="{012DBA15-F04D-E648-8C32-22009D46902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7105" y="6226329"/>
            <a:ext cx="3179346" cy="562716"/>
          </a:xfrm>
          <a:prstGeom prst="rect">
            <a:avLst/>
          </a:prstGeom>
        </p:spPr>
      </p:pic>
    </p:spTree>
    <p:extLst>
      <p:ext uri="{BB962C8B-B14F-4D97-AF65-F5344CB8AC3E}">
        <p14:creationId xmlns:p14="http://schemas.microsoft.com/office/powerpoint/2010/main" val="3381234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outVertical)">
                                      <p:cBhvr>
                                        <p:cTn id="7" dur="600"/>
                                        <p:tgtEl>
                                          <p:spTgt spid="24"/>
                                        </p:tgtEl>
                                      </p:cBhvr>
                                    </p:animEffect>
                                  </p:childTnLst>
                                </p:cTn>
                              </p:par>
                              <p:par>
                                <p:cTn id="8" presetID="17" presetClass="entr" presetSubtype="10" fill="hold" grpId="1" nodeType="withEffect">
                                  <p:stCondLst>
                                    <p:cond delay="0"/>
                                  </p:stCondLst>
                                  <p:childTnLst>
                                    <p:set>
                                      <p:cBhvr>
                                        <p:cTn id="9" dur="1" fill="hold">
                                          <p:stCondLst>
                                            <p:cond delay="0"/>
                                          </p:stCondLst>
                                        </p:cTn>
                                        <p:tgtEl>
                                          <p:spTgt spid="24"/>
                                        </p:tgtEl>
                                        <p:attrNameLst>
                                          <p:attrName>style.visibility</p:attrName>
                                        </p:attrNameLst>
                                      </p:cBhvr>
                                      <p:to>
                                        <p:strVal val="visible"/>
                                      </p:to>
                                    </p:set>
                                    <p:anim calcmode="lin" valueType="num">
                                      <p:cBhvr>
                                        <p:cTn id="10" dur="600" fill="hold"/>
                                        <p:tgtEl>
                                          <p:spTgt spid="24"/>
                                        </p:tgtEl>
                                        <p:attrNameLst>
                                          <p:attrName>ppt_w</p:attrName>
                                        </p:attrNameLst>
                                      </p:cBhvr>
                                      <p:tavLst>
                                        <p:tav tm="0">
                                          <p:val>
                                            <p:fltVal val="0"/>
                                          </p:val>
                                        </p:tav>
                                        <p:tav tm="100000">
                                          <p:val>
                                            <p:strVal val="#ppt_w"/>
                                          </p:val>
                                        </p:tav>
                                      </p:tavLst>
                                    </p:anim>
                                    <p:anim calcmode="lin" valueType="num">
                                      <p:cBhvr>
                                        <p:cTn id="11" dur="600" fill="hold"/>
                                        <p:tgtEl>
                                          <p:spTgt spid="24"/>
                                        </p:tgtEl>
                                        <p:attrNameLst>
                                          <p:attrName>ppt_h</p:attrName>
                                        </p:attrNameLst>
                                      </p:cBhvr>
                                      <p:tavLst>
                                        <p:tav tm="0">
                                          <p:val>
                                            <p:strVal val="#ppt_h"/>
                                          </p:val>
                                        </p:tav>
                                        <p:tav tm="100000">
                                          <p:val>
                                            <p:strVal val="#ppt_h"/>
                                          </p:val>
                                        </p:tav>
                                      </p:tavLst>
                                    </p:anim>
                                  </p:childTnLst>
                                </p:cTn>
                              </p:par>
                              <p:par>
                                <p:cTn id="12" presetID="2" presetClass="entr" presetSubtype="1" decel="10000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750" fill="hold"/>
                                        <p:tgtEl>
                                          <p:spTgt spid="8"/>
                                        </p:tgtEl>
                                        <p:attrNameLst>
                                          <p:attrName>ppt_x</p:attrName>
                                        </p:attrNameLst>
                                      </p:cBhvr>
                                      <p:tavLst>
                                        <p:tav tm="0">
                                          <p:val>
                                            <p:strVal val="#ppt_x"/>
                                          </p:val>
                                        </p:tav>
                                        <p:tav tm="100000">
                                          <p:val>
                                            <p:strVal val="#ppt_x"/>
                                          </p:val>
                                        </p:tav>
                                      </p:tavLst>
                                    </p:anim>
                                    <p:anim calcmode="lin" valueType="num">
                                      <p:cBhvr additive="base">
                                        <p:cTn id="15" dur="750" fill="hold"/>
                                        <p:tgtEl>
                                          <p:spTgt spid="8"/>
                                        </p:tgtEl>
                                        <p:attrNameLst>
                                          <p:attrName>ppt_y</p:attrName>
                                        </p:attrNameLst>
                                      </p:cBhvr>
                                      <p:tavLst>
                                        <p:tav tm="0">
                                          <p:val>
                                            <p:strVal val="0-#ppt_h/2"/>
                                          </p:val>
                                        </p:tav>
                                        <p:tav tm="100000">
                                          <p:val>
                                            <p:strVal val="#ppt_y"/>
                                          </p:val>
                                        </p:tav>
                                      </p:tavLst>
                                    </p:anim>
                                  </p:childTnLst>
                                </p:cTn>
                              </p:par>
                              <p:par>
                                <p:cTn id="16" presetID="2" presetClass="entr" presetSubtype="4" decel="10000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additive="base">
                                        <p:cTn id="18" dur="750" fill="hold"/>
                                        <p:tgtEl>
                                          <p:spTgt spid="25"/>
                                        </p:tgtEl>
                                        <p:attrNameLst>
                                          <p:attrName>ppt_x</p:attrName>
                                        </p:attrNameLst>
                                      </p:cBhvr>
                                      <p:tavLst>
                                        <p:tav tm="0">
                                          <p:val>
                                            <p:strVal val="#ppt_x"/>
                                          </p:val>
                                        </p:tav>
                                        <p:tav tm="100000">
                                          <p:val>
                                            <p:strVal val="#ppt_x"/>
                                          </p:val>
                                        </p:tav>
                                      </p:tavLst>
                                    </p:anim>
                                    <p:anim calcmode="lin" valueType="num">
                                      <p:cBhvr additive="base">
                                        <p:cTn id="19" dur="750" fill="hold"/>
                                        <p:tgtEl>
                                          <p:spTgt spid="25"/>
                                        </p:tgtEl>
                                        <p:attrNameLst>
                                          <p:attrName>ppt_y</p:attrName>
                                        </p:attrNameLst>
                                      </p:cBhvr>
                                      <p:tavLst>
                                        <p:tav tm="0">
                                          <p:val>
                                            <p:strVal val="1+#ppt_h/2"/>
                                          </p:val>
                                        </p:tav>
                                        <p:tav tm="100000">
                                          <p:val>
                                            <p:strVal val="#ppt_y"/>
                                          </p:val>
                                        </p:tav>
                                      </p:tavLst>
                                    </p:anim>
                                  </p:childTnLst>
                                </p:cTn>
                              </p:par>
                              <p:par>
                                <p:cTn id="20" presetID="16" presetClass="entr" presetSubtype="37" fill="hold" grpId="0" nodeType="withEffect">
                                  <p:stCondLst>
                                    <p:cond delay="750"/>
                                  </p:stCondLst>
                                  <p:childTnLst>
                                    <p:set>
                                      <p:cBhvr>
                                        <p:cTn id="21" dur="1" fill="hold">
                                          <p:stCondLst>
                                            <p:cond delay="0"/>
                                          </p:stCondLst>
                                        </p:cTn>
                                        <p:tgtEl>
                                          <p:spTgt spid="21"/>
                                        </p:tgtEl>
                                        <p:attrNameLst>
                                          <p:attrName>style.visibility</p:attrName>
                                        </p:attrNameLst>
                                      </p:cBhvr>
                                      <p:to>
                                        <p:strVal val="visible"/>
                                      </p:to>
                                    </p:set>
                                    <p:animEffect transition="in" filter="barn(outVertical)">
                                      <p:cBhvr>
                                        <p:cTn id="22" dur="300"/>
                                        <p:tgtEl>
                                          <p:spTgt spid="21"/>
                                        </p:tgtEl>
                                      </p:cBhvr>
                                    </p:animEffect>
                                  </p:childTnLst>
                                </p:cTn>
                              </p:par>
                              <p:par>
                                <p:cTn id="23" presetID="17" presetClass="entr" presetSubtype="10" fill="hold" grpId="1" nodeType="withEffect">
                                  <p:stCondLst>
                                    <p:cond delay="750"/>
                                  </p:stCondLst>
                                  <p:childTnLst>
                                    <p:set>
                                      <p:cBhvr>
                                        <p:cTn id="24" dur="1" fill="hold">
                                          <p:stCondLst>
                                            <p:cond delay="0"/>
                                          </p:stCondLst>
                                        </p:cTn>
                                        <p:tgtEl>
                                          <p:spTgt spid="21"/>
                                        </p:tgtEl>
                                        <p:attrNameLst>
                                          <p:attrName>style.visibility</p:attrName>
                                        </p:attrNameLst>
                                      </p:cBhvr>
                                      <p:to>
                                        <p:strVal val="visible"/>
                                      </p:to>
                                    </p:set>
                                    <p:anim calcmode="lin" valueType="num">
                                      <p:cBhvr>
                                        <p:cTn id="25" dur="300" fill="hold"/>
                                        <p:tgtEl>
                                          <p:spTgt spid="21"/>
                                        </p:tgtEl>
                                        <p:attrNameLst>
                                          <p:attrName>ppt_w</p:attrName>
                                        </p:attrNameLst>
                                      </p:cBhvr>
                                      <p:tavLst>
                                        <p:tav tm="0">
                                          <p:val>
                                            <p:fltVal val="0"/>
                                          </p:val>
                                        </p:tav>
                                        <p:tav tm="100000">
                                          <p:val>
                                            <p:strVal val="#ppt_w"/>
                                          </p:val>
                                        </p:tav>
                                      </p:tavLst>
                                    </p:anim>
                                    <p:anim calcmode="lin" valueType="num">
                                      <p:cBhvr>
                                        <p:cTn id="26" dur="300" fill="hold"/>
                                        <p:tgtEl>
                                          <p:spTgt spid="21"/>
                                        </p:tgtEl>
                                        <p:attrNameLst>
                                          <p:attrName>ppt_h</p:attrName>
                                        </p:attrNameLst>
                                      </p:cBhvr>
                                      <p:tavLst>
                                        <p:tav tm="0">
                                          <p:val>
                                            <p:strVal val="#ppt_h"/>
                                          </p:val>
                                        </p:tav>
                                        <p:tav tm="100000">
                                          <p:val>
                                            <p:strVal val="#ppt_h"/>
                                          </p:val>
                                        </p:tav>
                                      </p:tavLst>
                                    </p:anim>
                                  </p:childTnLst>
                                </p:cTn>
                              </p:par>
                              <p:par>
                                <p:cTn id="27" presetID="16" presetClass="entr" presetSubtype="37" fill="hold" grpId="0" nodeType="withEffect">
                                  <p:stCondLst>
                                    <p:cond delay="1000"/>
                                  </p:stCondLst>
                                  <p:childTnLst>
                                    <p:set>
                                      <p:cBhvr>
                                        <p:cTn id="28" dur="1" fill="hold">
                                          <p:stCondLst>
                                            <p:cond delay="0"/>
                                          </p:stCondLst>
                                        </p:cTn>
                                        <p:tgtEl>
                                          <p:spTgt spid="26"/>
                                        </p:tgtEl>
                                        <p:attrNameLst>
                                          <p:attrName>style.visibility</p:attrName>
                                        </p:attrNameLst>
                                      </p:cBhvr>
                                      <p:to>
                                        <p:strVal val="visible"/>
                                      </p:to>
                                    </p:set>
                                    <p:animEffect transition="in" filter="barn(outVertical)">
                                      <p:cBhvr>
                                        <p:cTn id="29" dur="300"/>
                                        <p:tgtEl>
                                          <p:spTgt spid="26"/>
                                        </p:tgtEl>
                                      </p:cBhvr>
                                    </p:animEffect>
                                  </p:childTnLst>
                                </p:cTn>
                              </p:par>
                              <p:par>
                                <p:cTn id="30" presetID="17" presetClass="entr" presetSubtype="10" fill="hold" grpId="1" nodeType="withEffect">
                                  <p:stCondLst>
                                    <p:cond delay="1000"/>
                                  </p:stCondLst>
                                  <p:childTnLst>
                                    <p:set>
                                      <p:cBhvr>
                                        <p:cTn id="31" dur="1" fill="hold">
                                          <p:stCondLst>
                                            <p:cond delay="0"/>
                                          </p:stCondLst>
                                        </p:cTn>
                                        <p:tgtEl>
                                          <p:spTgt spid="26"/>
                                        </p:tgtEl>
                                        <p:attrNameLst>
                                          <p:attrName>style.visibility</p:attrName>
                                        </p:attrNameLst>
                                      </p:cBhvr>
                                      <p:to>
                                        <p:strVal val="visible"/>
                                      </p:to>
                                    </p:set>
                                    <p:anim calcmode="lin" valueType="num">
                                      <p:cBhvr>
                                        <p:cTn id="32" dur="300" fill="hold"/>
                                        <p:tgtEl>
                                          <p:spTgt spid="26"/>
                                        </p:tgtEl>
                                        <p:attrNameLst>
                                          <p:attrName>ppt_w</p:attrName>
                                        </p:attrNameLst>
                                      </p:cBhvr>
                                      <p:tavLst>
                                        <p:tav tm="0">
                                          <p:val>
                                            <p:fltVal val="0"/>
                                          </p:val>
                                        </p:tav>
                                        <p:tav tm="100000">
                                          <p:val>
                                            <p:strVal val="#ppt_w"/>
                                          </p:val>
                                        </p:tav>
                                      </p:tavLst>
                                    </p:anim>
                                    <p:anim calcmode="lin" valueType="num">
                                      <p:cBhvr>
                                        <p:cTn id="33" dur="300" fill="hold"/>
                                        <p:tgtEl>
                                          <p:spTgt spid="26"/>
                                        </p:tgtEl>
                                        <p:attrNameLst>
                                          <p:attrName>ppt_h</p:attrName>
                                        </p:attrNameLst>
                                      </p:cBhvr>
                                      <p:tavLst>
                                        <p:tav tm="0">
                                          <p:val>
                                            <p:strVal val="#ppt_h"/>
                                          </p:val>
                                        </p:tav>
                                        <p:tav tm="100000">
                                          <p:val>
                                            <p:strVal val="#ppt_h"/>
                                          </p:val>
                                        </p:tav>
                                      </p:tavLst>
                                    </p:anim>
                                  </p:childTnLst>
                                </p:cTn>
                              </p:par>
                              <p:par>
                                <p:cTn id="34" presetID="10" presetClass="entr" presetSubtype="0" fill="hold" grpId="0" nodeType="withEffect">
                                  <p:stCondLst>
                                    <p:cond delay="1250"/>
                                  </p:stCondLst>
                                  <p:childTnLst>
                                    <p:set>
                                      <p:cBhvr>
                                        <p:cTn id="35" dur="1" fill="hold">
                                          <p:stCondLst>
                                            <p:cond delay="0"/>
                                          </p:stCondLst>
                                        </p:cTn>
                                        <p:tgtEl>
                                          <p:spTgt spid="2"/>
                                        </p:tgtEl>
                                        <p:attrNameLst>
                                          <p:attrName>style.visibility</p:attrName>
                                        </p:attrNameLst>
                                      </p:cBhvr>
                                      <p:to>
                                        <p:strVal val="visible"/>
                                      </p:to>
                                    </p:set>
                                    <p:animEffect transition="in" filter="fade">
                                      <p:cBhvr>
                                        <p:cTn id="36" dur="1000"/>
                                        <p:tgtEl>
                                          <p:spTgt spid="2"/>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tmplLst>
          <p:tmpl>
            <p:tnLst>
              <p:par>
                <p:cTn presetID="2" presetClass="entr" presetSubtype="4" decel="10000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 calcmode="lin" valueType="num">
                      <p:cBhvr additive="base">
                        <p:cTn dur="750" fill="hold"/>
                        <p:tgtEl>
                          <p:spTgt spid="25"/>
                        </p:tgtEl>
                        <p:attrNameLst>
                          <p:attrName>ppt_x</p:attrName>
                        </p:attrNameLst>
                      </p:cBhvr>
                      <p:tavLst>
                        <p:tav tm="0">
                          <p:val>
                            <p:strVal val="#ppt_x"/>
                          </p:val>
                        </p:tav>
                        <p:tav tm="100000">
                          <p:val>
                            <p:strVal val="#ppt_x"/>
                          </p:val>
                        </p:tav>
                      </p:tavLst>
                    </p:anim>
                    <p:anim calcmode="lin" valueType="num">
                      <p:cBhvr additive="base">
                        <p:cTn dur="750" fill="hold"/>
                        <p:tgtEl>
                          <p:spTgt spid="25"/>
                        </p:tgtEl>
                        <p:attrNameLst>
                          <p:attrName>ppt_y</p:attrName>
                        </p:attrNameLst>
                      </p:cBhvr>
                      <p:tavLst>
                        <p:tav tm="0">
                          <p:val>
                            <p:strVal val="1+#ppt_h/2"/>
                          </p:val>
                        </p:tav>
                        <p:tav tm="100000">
                          <p:val>
                            <p:strVal val="#ppt_y"/>
                          </p:val>
                        </p:tav>
                      </p:tavLst>
                    </p:anim>
                  </p:childTnLst>
                </p:cTn>
              </p:par>
            </p:tnLst>
          </p:tmpl>
        </p:tmplLst>
      </p:bldP>
      <p:bldP spid="8" grpId="0" animBg="1"/>
      <p:bldP spid="2" grpId="0"/>
      <p:bldP spid="3" grpId="0">
        <p:tmplLst>
          <p:tmpl>
            <p:tnLst>
              <p:par>
                <p:cTn presetID="10" presetClass="entr" presetSubtype="0" fill="hold" nodeType="withEffect">
                  <p:stCondLst>
                    <p:cond delay="175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21" grpId="0" animBg="1">
        <p:tmplLst>
          <p:tmpl>
            <p:tnLst>
              <p:par>
                <p:cTn presetID="16" presetClass="entr" presetSubtype="37" fill="hold" nodeType="withEffect">
                  <p:stCondLst>
                    <p:cond delay="750"/>
                  </p:stCondLst>
                  <p:childTnLst>
                    <p:set>
                      <p:cBhvr>
                        <p:cTn dur="1" fill="hold">
                          <p:stCondLst>
                            <p:cond delay="0"/>
                          </p:stCondLst>
                        </p:cTn>
                        <p:tgtEl>
                          <p:spTgt spid="21"/>
                        </p:tgtEl>
                        <p:attrNameLst>
                          <p:attrName>style.visibility</p:attrName>
                        </p:attrNameLst>
                      </p:cBhvr>
                      <p:to>
                        <p:strVal val="visible"/>
                      </p:to>
                    </p:set>
                    <p:animEffect transition="in" filter="barn(outVertical)">
                      <p:cBhvr>
                        <p:cTn dur="300"/>
                        <p:tgtEl>
                          <p:spTgt spid="21"/>
                        </p:tgtEl>
                      </p:cBhvr>
                    </p:animEffect>
                  </p:childTnLst>
                </p:cTn>
              </p:par>
            </p:tnLst>
          </p:tmpl>
        </p:tmplLst>
      </p:bldP>
      <p:bldP spid="21" grpId="1" animBg="1"/>
      <p:bldP spid="26" grpId="0" animBg="1">
        <p:tmplLst>
          <p:tmpl>
            <p:tnLst>
              <p:par>
                <p:cTn presetID="16" presetClass="entr" presetSubtype="37" fill="hold" nodeType="withEffect">
                  <p:stCondLst>
                    <p:cond delay="1000"/>
                  </p:stCondLst>
                  <p:childTnLst>
                    <p:set>
                      <p:cBhvr>
                        <p:cTn dur="1" fill="hold">
                          <p:stCondLst>
                            <p:cond delay="0"/>
                          </p:stCondLst>
                        </p:cTn>
                        <p:tgtEl>
                          <p:spTgt spid="26"/>
                        </p:tgtEl>
                        <p:attrNameLst>
                          <p:attrName>style.visibility</p:attrName>
                        </p:attrNameLst>
                      </p:cBhvr>
                      <p:to>
                        <p:strVal val="visible"/>
                      </p:to>
                    </p:set>
                    <p:animEffect transition="in" filter="barn(outVertical)">
                      <p:cBhvr>
                        <p:cTn dur="300"/>
                        <p:tgtEl>
                          <p:spTgt spid="26"/>
                        </p:tgtEl>
                      </p:cBhvr>
                    </p:animEffect>
                  </p:childTnLst>
                </p:cTn>
              </p:par>
            </p:tnLst>
          </p:tmpl>
        </p:tmplLst>
      </p:bldP>
      <p:bldP spid="26" grpId="1" animBg="1"/>
      <p:bldP spid="24" grpId="0" animBg="1">
        <p:tmplLst>
          <p:tmpl>
            <p:tnLst>
              <p:par>
                <p:cTn presetID="16" presetClass="entr" presetSubtype="37"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barn(outVertical)">
                      <p:cBhvr>
                        <p:cTn dur="600"/>
                        <p:tgtEl>
                          <p:spTgt spid="24"/>
                        </p:tgtEl>
                      </p:cBhvr>
                    </p:animEffect>
                  </p:childTnLst>
                </p:cTn>
              </p:par>
            </p:tnLst>
          </p:tmpl>
        </p:tmplLst>
      </p:bldP>
      <p:bldP spid="24" grpId="1" animBg="1">
        <p:tmplLst>
          <p:tmpl>
            <p:tnLst>
              <p:par>
                <p:cTn presetID="17" presetClass="entr" presetSubtype="1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 calcmode="lin" valueType="num">
                      <p:cBhvr>
                        <p:cTn dur="600" fill="hold"/>
                        <p:tgtEl>
                          <p:spTgt spid="24"/>
                        </p:tgtEl>
                        <p:attrNameLst>
                          <p:attrName>ppt_w</p:attrName>
                        </p:attrNameLst>
                      </p:cBhvr>
                      <p:tavLst>
                        <p:tav tm="0">
                          <p:val>
                            <p:fltVal val="0"/>
                          </p:val>
                        </p:tav>
                        <p:tav tm="100000">
                          <p:val>
                            <p:strVal val="#ppt_w"/>
                          </p:val>
                        </p:tav>
                      </p:tavLst>
                    </p:anim>
                    <p:anim calcmode="lin" valueType="num">
                      <p:cBhvr>
                        <p:cTn dur="600" fill="hold"/>
                        <p:tgtEl>
                          <p:spTgt spid="24"/>
                        </p:tgtEl>
                        <p:attrNameLst>
                          <p:attrName>ppt_h</p:attrName>
                        </p:attrNameLst>
                      </p:cBhvr>
                      <p:tavLst>
                        <p:tav tm="0">
                          <p:val>
                            <p:strVal val="#ppt_h"/>
                          </p:val>
                        </p:tav>
                        <p:tav tm="100000">
                          <p:val>
                            <p:strVal val="#ppt_h"/>
                          </p:val>
                        </p:tav>
                      </p:tavLst>
                    </p:anim>
                  </p:childTnLst>
                </p:cTn>
              </p:par>
            </p:tnLst>
          </p:tmpl>
        </p:tmplLst>
      </p:bldP>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3"/>
            <a:ext cx="11112000" cy="301139"/>
          </a:xfrm>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E2129CCF-E02E-4AC4-A1D0-782CC290AD42}"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Vul hier een bron in (of laat dit </a:t>
            </a:r>
            <a:r>
              <a:rPr lang="nl-NL" noProof="0" err="1"/>
              <a:t>tekstvak</a:t>
            </a:r>
            <a:r>
              <a:rPr lang="nl-NL" noProof="0"/>
              <a:t> leeg wanneer een bron ontbreekt)</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a:t>
            </a:r>
          </a:p>
        </p:txBody>
      </p:sp>
      <p:sp>
        <p:nvSpPr>
          <p:cNvPr id="44" name="Tijdelijke aanduiding voor tekst 43">
            <a:extLst>
              <a:ext uri="{FF2B5EF4-FFF2-40B4-BE49-F238E27FC236}">
                <a16:creationId xmlns:a16="http://schemas.microsoft.com/office/drawing/2014/main" id="{C39606EC-1987-41D2-AE51-A1A79674F48D}"/>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8" name="Instructie">
            <a:extLst>
              <a:ext uri="{FF2B5EF4-FFF2-40B4-BE49-F238E27FC236}">
                <a16:creationId xmlns:a16="http://schemas.microsoft.com/office/drawing/2014/main" id="{CE3C711D-2017-404E-847B-AB4DEB87F028}"/>
              </a:ext>
            </a:extLst>
          </p:cNvPr>
          <p:cNvGrpSpPr/>
          <p:nvPr userDrawn="1"/>
        </p:nvGrpSpPr>
        <p:grpSpPr>
          <a:xfrm>
            <a:off x="-3437547" y="1434"/>
            <a:ext cx="3201327" cy="6041867"/>
            <a:chOff x="-3437547" y="1434"/>
            <a:chExt cx="3201327" cy="6041867"/>
          </a:xfrm>
        </p:grpSpPr>
        <p:cxnSp>
          <p:nvCxnSpPr>
            <p:cNvPr id="23" name="Rechte verbindingslijn 22">
              <a:extLst>
                <a:ext uri="{FF2B5EF4-FFF2-40B4-BE49-F238E27FC236}">
                  <a16:creationId xmlns:a16="http://schemas.microsoft.com/office/drawing/2014/main" id="{B573ECE5-8B26-421E-B340-85DC5FBC5D3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4" name="Ovaal 23">
              <a:extLst>
                <a:ext uri="{FF2B5EF4-FFF2-40B4-BE49-F238E27FC236}">
                  <a16:creationId xmlns:a16="http://schemas.microsoft.com/office/drawing/2014/main" id="{7F69DEA5-422C-4E20-9D82-F332E3A683A8}"/>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5" name="Rechthoek 24">
              <a:extLst>
                <a:ext uri="{FF2B5EF4-FFF2-40B4-BE49-F238E27FC236}">
                  <a16:creationId xmlns:a16="http://schemas.microsoft.com/office/drawing/2014/main" id="{A25A09AD-A11B-4C29-AC8E-9F7F34618732}"/>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 name="Ovaal 25">
              <a:extLst>
                <a:ext uri="{FF2B5EF4-FFF2-40B4-BE49-F238E27FC236}">
                  <a16:creationId xmlns:a16="http://schemas.microsoft.com/office/drawing/2014/main" id="{0E7B5A5A-CDF9-400A-9597-9EAC1A4986B6}"/>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7" name="Rechthoek 26">
              <a:extLst>
                <a:ext uri="{FF2B5EF4-FFF2-40B4-BE49-F238E27FC236}">
                  <a16:creationId xmlns:a16="http://schemas.microsoft.com/office/drawing/2014/main" id="{ED506BF8-3B02-4DC7-B980-DA7A16229F08}"/>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8" name="Ovaal 27">
              <a:extLst>
                <a:ext uri="{FF2B5EF4-FFF2-40B4-BE49-F238E27FC236}">
                  <a16:creationId xmlns:a16="http://schemas.microsoft.com/office/drawing/2014/main" id="{29C6A98D-11CD-48B6-9127-DAC0D53A1849}"/>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9" name="Rechthoek 28">
              <a:extLst>
                <a:ext uri="{FF2B5EF4-FFF2-40B4-BE49-F238E27FC236}">
                  <a16:creationId xmlns:a16="http://schemas.microsoft.com/office/drawing/2014/main" id="{7770311C-EF99-4E7F-840A-B800D333C699}"/>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0" name="Ovaal 29">
              <a:extLst>
                <a:ext uri="{FF2B5EF4-FFF2-40B4-BE49-F238E27FC236}">
                  <a16:creationId xmlns:a16="http://schemas.microsoft.com/office/drawing/2014/main" id="{6C1F6DEA-553B-410A-9A95-8C3DD7FCA4EA}"/>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1" name="Rechthoek 30">
              <a:extLst>
                <a:ext uri="{FF2B5EF4-FFF2-40B4-BE49-F238E27FC236}">
                  <a16:creationId xmlns:a16="http://schemas.microsoft.com/office/drawing/2014/main" id="{FCF75767-3FEF-4250-A5B4-7C160D3444B7}"/>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45" name="Rechthoek 44">
              <a:extLst>
                <a:ext uri="{FF2B5EF4-FFF2-40B4-BE49-F238E27FC236}">
                  <a16:creationId xmlns:a16="http://schemas.microsoft.com/office/drawing/2014/main" id="{3B276D92-7A41-49DF-8C88-185CB47BA65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46" name="Ovaal 45">
              <a:extLst>
                <a:ext uri="{FF2B5EF4-FFF2-40B4-BE49-F238E27FC236}">
                  <a16:creationId xmlns:a16="http://schemas.microsoft.com/office/drawing/2014/main" id="{48C479DB-B8BC-4506-9181-30DF60A1539A}"/>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 name="Rechte verbindingslijn 46">
              <a:extLst>
                <a:ext uri="{FF2B5EF4-FFF2-40B4-BE49-F238E27FC236}">
                  <a16:creationId xmlns:a16="http://schemas.microsoft.com/office/drawing/2014/main" id="{3052ED36-84F4-48FF-B422-49B9578D7FB0}"/>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48" name="Groep 47">
              <a:extLst>
                <a:ext uri="{FF2B5EF4-FFF2-40B4-BE49-F238E27FC236}">
                  <a16:creationId xmlns:a16="http://schemas.microsoft.com/office/drawing/2014/main" id="{2B7D56E9-EEB3-4AF4-BC5B-4BFF6F083B90}"/>
                </a:ext>
              </a:extLst>
            </p:cNvPr>
            <p:cNvGrpSpPr/>
            <p:nvPr userDrawn="1"/>
          </p:nvGrpSpPr>
          <p:grpSpPr>
            <a:xfrm>
              <a:off x="-3437547" y="1295337"/>
              <a:ext cx="2933825" cy="558875"/>
              <a:chOff x="-3419346" y="368233"/>
              <a:chExt cx="3904920" cy="743862"/>
            </a:xfrm>
          </p:grpSpPr>
          <p:sp>
            <p:nvSpPr>
              <p:cNvPr id="60" name="Rechthoek 59">
                <a:extLst>
                  <a:ext uri="{FF2B5EF4-FFF2-40B4-BE49-F238E27FC236}">
                    <a16:creationId xmlns:a16="http://schemas.microsoft.com/office/drawing/2014/main" id="{61E16074-F3FA-4189-ADBD-C927E78887B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61" name="Rechte verbindingslijn 60">
                <a:extLst>
                  <a:ext uri="{FF2B5EF4-FFF2-40B4-BE49-F238E27FC236}">
                    <a16:creationId xmlns:a16="http://schemas.microsoft.com/office/drawing/2014/main" id="{AC9D2FE3-7A38-4D0F-B5D8-D4B088A87F1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ACA54EBA-22C4-4EB3-AD0C-97610A1785D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96BB71A8-82F1-4422-A5A1-C3391CDECF4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64" name="Groep 63">
                <a:extLst>
                  <a:ext uri="{FF2B5EF4-FFF2-40B4-BE49-F238E27FC236}">
                    <a16:creationId xmlns:a16="http://schemas.microsoft.com/office/drawing/2014/main" id="{780219A5-8C04-42C6-A4D0-881DA7D5E459}"/>
                  </a:ext>
                </a:extLst>
              </p:cNvPr>
              <p:cNvGrpSpPr/>
              <p:nvPr userDrawn="1"/>
            </p:nvGrpSpPr>
            <p:grpSpPr>
              <a:xfrm>
                <a:off x="-3002834" y="720303"/>
                <a:ext cx="182598" cy="143759"/>
                <a:chOff x="-3310843" y="700986"/>
                <a:chExt cx="182598" cy="143759"/>
              </a:xfrm>
            </p:grpSpPr>
            <p:grpSp>
              <p:nvGrpSpPr>
                <p:cNvPr id="103" name="Groep 102">
                  <a:extLst>
                    <a:ext uri="{FF2B5EF4-FFF2-40B4-BE49-F238E27FC236}">
                      <a16:creationId xmlns:a16="http://schemas.microsoft.com/office/drawing/2014/main" id="{FC7CC685-AA38-4D4E-B2C4-F90C521D0CF9}"/>
                    </a:ext>
                  </a:extLst>
                </p:cNvPr>
                <p:cNvGrpSpPr/>
                <p:nvPr userDrawn="1"/>
              </p:nvGrpSpPr>
              <p:grpSpPr>
                <a:xfrm>
                  <a:off x="-3310843" y="700986"/>
                  <a:ext cx="182598" cy="143759"/>
                  <a:chOff x="-3310843" y="700986"/>
                  <a:chExt cx="182598" cy="143759"/>
                </a:xfrm>
              </p:grpSpPr>
              <p:cxnSp>
                <p:nvCxnSpPr>
                  <p:cNvPr id="107" name="Rechte verbindingslijn 106">
                    <a:extLst>
                      <a:ext uri="{FF2B5EF4-FFF2-40B4-BE49-F238E27FC236}">
                        <a16:creationId xmlns:a16="http://schemas.microsoft.com/office/drawing/2014/main" id="{2D694759-A192-42AC-A457-14D6A864265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08" name="Rechte verbindingslijn 107">
                    <a:extLst>
                      <a:ext uri="{FF2B5EF4-FFF2-40B4-BE49-F238E27FC236}">
                        <a16:creationId xmlns:a16="http://schemas.microsoft.com/office/drawing/2014/main" id="{CC7F71B4-EACA-4BE8-A865-1E7CFA95D6B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09" name="Rechte verbindingslijn 108">
                    <a:extLst>
                      <a:ext uri="{FF2B5EF4-FFF2-40B4-BE49-F238E27FC236}">
                        <a16:creationId xmlns:a16="http://schemas.microsoft.com/office/drawing/2014/main" id="{B2831E05-563B-4742-B07B-E78E166CB65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10" name="Rechte verbindingslijn 109">
                    <a:extLst>
                      <a:ext uri="{FF2B5EF4-FFF2-40B4-BE49-F238E27FC236}">
                        <a16:creationId xmlns:a16="http://schemas.microsoft.com/office/drawing/2014/main" id="{F795F7FC-258B-4EC6-9B7E-EAD57CF93A1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11" name="Rechte verbindingslijn 110">
                    <a:extLst>
                      <a:ext uri="{FF2B5EF4-FFF2-40B4-BE49-F238E27FC236}">
                        <a16:creationId xmlns:a16="http://schemas.microsoft.com/office/drawing/2014/main" id="{1DBD846C-E37C-4635-A8CD-660F6D9FA634}"/>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04" name="Groep 103">
                  <a:extLst>
                    <a:ext uri="{FF2B5EF4-FFF2-40B4-BE49-F238E27FC236}">
                      <a16:creationId xmlns:a16="http://schemas.microsoft.com/office/drawing/2014/main" id="{3D97D966-D71A-4FA8-AE20-3105BFDC3B66}"/>
                    </a:ext>
                  </a:extLst>
                </p:cNvPr>
                <p:cNvGrpSpPr/>
                <p:nvPr userDrawn="1"/>
              </p:nvGrpSpPr>
              <p:grpSpPr>
                <a:xfrm flipH="1">
                  <a:off x="-3310774" y="735854"/>
                  <a:ext cx="88801" cy="72568"/>
                  <a:chOff x="-2091059" y="1395403"/>
                  <a:chExt cx="157316" cy="128558"/>
                </a:xfrm>
              </p:grpSpPr>
              <p:sp>
                <p:nvSpPr>
                  <p:cNvPr id="105" name="Rechthoek 104">
                    <a:extLst>
                      <a:ext uri="{FF2B5EF4-FFF2-40B4-BE49-F238E27FC236}">
                        <a16:creationId xmlns:a16="http://schemas.microsoft.com/office/drawing/2014/main" id="{0689700D-B843-4EAC-92D9-758AC881AB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6" name="Pijl: punthaak 105">
                    <a:extLst>
                      <a:ext uri="{FF2B5EF4-FFF2-40B4-BE49-F238E27FC236}">
                        <a16:creationId xmlns:a16="http://schemas.microsoft.com/office/drawing/2014/main" id="{2CFA9A02-7131-4E8B-B7CE-35CE98E8065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65" name="Groep 64">
                <a:extLst>
                  <a:ext uri="{FF2B5EF4-FFF2-40B4-BE49-F238E27FC236}">
                    <a16:creationId xmlns:a16="http://schemas.microsoft.com/office/drawing/2014/main" id="{5C288CB5-A6DD-4AAA-84E4-2D67A2F0924D}"/>
                  </a:ext>
                </a:extLst>
              </p:cNvPr>
              <p:cNvGrpSpPr/>
              <p:nvPr userDrawn="1"/>
            </p:nvGrpSpPr>
            <p:grpSpPr>
              <a:xfrm>
                <a:off x="-3326107" y="720303"/>
                <a:ext cx="182598" cy="143759"/>
                <a:chOff x="-3634116" y="700986"/>
                <a:chExt cx="182598" cy="143759"/>
              </a:xfrm>
            </p:grpSpPr>
            <p:grpSp>
              <p:nvGrpSpPr>
                <p:cNvPr id="94" name="Groep 93">
                  <a:extLst>
                    <a:ext uri="{FF2B5EF4-FFF2-40B4-BE49-F238E27FC236}">
                      <a16:creationId xmlns:a16="http://schemas.microsoft.com/office/drawing/2014/main" id="{3A8AECE4-060D-4703-8A8A-444C4CA93266}"/>
                    </a:ext>
                  </a:extLst>
                </p:cNvPr>
                <p:cNvGrpSpPr/>
                <p:nvPr userDrawn="1"/>
              </p:nvGrpSpPr>
              <p:grpSpPr>
                <a:xfrm>
                  <a:off x="-3634116" y="700986"/>
                  <a:ext cx="182598" cy="143759"/>
                  <a:chOff x="-3634116" y="700986"/>
                  <a:chExt cx="182598" cy="143759"/>
                </a:xfrm>
              </p:grpSpPr>
              <p:cxnSp>
                <p:nvCxnSpPr>
                  <p:cNvPr id="98" name="Rechte verbindingslijn 97">
                    <a:extLst>
                      <a:ext uri="{FF2B5EF4-FFF2-40B4-BE49-F238E27FC236}">
                        <a16:creationId xmlns:a16="http://schemas.microsoft.com/office/drawing/2014/main" id="{1544CA00-C208-445C-BB6B-F5CC9C3DAF5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99" name="Rechte verbindingslijn 98">
                    <a:extLst>
                      <a:ext uri="{FF2B5EF4-FFF2-40B4-BE49-F238E27FC236}">
                        <a16:creationId xmlns:a16="http://schemas.microsoft.com/office/drawing/2014/main" id="{3257705F-AA56-47A0-B282-4E57BC000EB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00" name="Rechte verbindingslijn 99">
                    <a:extLst>
                      <a:ext uri="{FF2B5EF4-FFF2-40B4-BE49-F238E27FC236}">
                        <a16:creationId xmlns:a16="http://schemas.microsoft.com/office/drawing/2014/main" id="{46701D0E-2CE2-4806-BE99-A872AE17BB4F}"/>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01" name="Rechte verbindingslijn 100">
                    <a:extLst>
                      <a:ext uri="{FF2B5EF4-FFF2-40B4-BE49-F238E27FC236}">
                        <a16:creationId xmlns:a16="http://schemas.microsoft.com/office/drawing/2014/main" id="{1BE5CA17-AEB5-4192-B144-365F5F03963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02" name="Rechte verbindingslijn 101">
                    <a:extLst>
                      <a:ext uri="{FF2B5EF4-FFF2-40B4-BE49-F238E27FC236}">
                        <a16:creationId xmlns:a16="http://schemas.microsoft.com/office/drawing/2014/main" id="{6BB58DAA-BFD4-493A-8826-A11AAD309D7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95" name="Groep 94">
                  <a:extLst>
                    <a:ext uri="{FF2B5EF4-FFF2-40B4-BE49-F238E27FC236}">
                      <a16:creationId xmlns:a16="http://schemas.microsoft.com/office/drawing/2014/main" id="{297D8323-6433-463C-BA17-485A6998634F}"/>
                    </a:ext>
                  </a:extLst>
                </p:cNvPr>
                <p:cNvGrpSpPr/>
                <p:nvPr userDrawn="1"/>
              </p:nvGrpSpPr>
              <p:grpSpPr>
                <a:xfrm>
                  <a:off x="-3634047" y="735854"/>
                  <a:ext cx="88801" cy="72568"/>
                  <a:chOff x="-2091059" y="1395403"/>
                  <a:chExt cx="157316" cy="128558"/>
                </a:xfrm>
              </p:grpSpPr>
              <p:sp>
                <p:nvSpPr>
                  <p:cNvPr id="96" name="Rechthoek 95">
                    <a:extLst>
                      <a:ext uri="{FF2B5EF4-FFF2-40B4-BE49-F238E27FC236}">
                        <a16:creationId xmlns:a16="http://schemas.microsoft.com/office/drawing/2014/main" id="{9FCE541F-2D4F-4633-BDC6-6E1DBED57B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7" name="Pijl: punthaak 96">
                    <a:extLst>
                      <a:ext uri="{FF2B5EF4-FFF2-40B4-BE49-F238E27FC236}">
                        <a16:creationId xmlns:a16="http://schemas.microsoft.com/office/drawing/2014/main" id="{FBFA69ED-5FD5-4EEE-9432-20F41D0BD65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66" name="Rechte verbindingslijn 65">
                <a:extLst>
                  <a:ext uri="{FF2B5EF4-FFF2-40B4-BE49-F238E27FC236}">
                    <a16:creationId xmlns:a16="http://schemas.microsoft.com/office/drawing/2014/main" id="{F2AE5A10-0BC9-4045-AA22-F2029F4F78EB}"/>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67" name="Rechte verbindingslijn 66">
                <a:extLst>
                  <a:ext uri="{FF2B5EF4-FFF2-40B4-BE49-F238E27FC236}">
                    <a16:creationId xmlns:a16="http://schemas.microsoft.com/office/drawing/2014/main" id="{C72928FC-A8D8-4CD5-8766-B5992A5DE907}"/>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68" name="Groep 67">
                <a:extLst>
                  <a:ext uri="{FF2B5EF4-FFF2-40B4-BE49-F238E27FC236}">
                    <a16:creationId xmlns:a16="http://schemas.microsoft.com/office/drawing/2014/main" id="{FBB251F0-9219-4686-B399-B49D07BB0635}"/>
                  </a:ext>
                </a:extLst>
              </p:cNvPr>
              <p:cNvGrpSpPr/>
              <p:nvPr userDrawn="1"/>
            </p:nvGrpSpPr>
            <p:grpSpPr>
              <a:xfrm>
                <a:off x="-2425037" y="370226"/>
                <a:ext cx="357690" cy="330595"/>
                <a:chOff x="-2721817" y="347336"/>
                <a:chExt cx="432805" cy="400021"/>
              </a:xfrm>
            </p:grpSpPr>
            <p:sp>
              <p:nvSpPr>
                <p:cNvPr id="83" name="Rechthoek 82">
                  <a:extLst>
                    <a:ext uri="{FF2B5EF4-FFF2-40B4-BE49-F238E27FC236}">
                      <a16:creationId xmlns:a16="http://schemas.microsoft.com/office/drawing/2014/main" id="{87C7F542-D348-4FFA-BCBB-D4537D135E2F}"/>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84" name="Groep 83">
                  <a:extLst>
                    <a:ext uri="{FF2B5EF4-FFF2-40B4-BE49-F238E27FC236}">
                      <a16:creationId xmlns:a16="http://schemas.microsoft.com/office/drawing/2014/main" id="{C34001F2-0355-4A0A-A00C-0117C894376B}"/>
                    </a:ext>
                  </a:extLst>
                </p:cNvPr>
                <p:cNvGrpSpPr/>
                <p:nvPr userDrawn="1"/>
              </p:nvGrpSpPr>
              <p:grpSpPr>
                <a:xfrm>
                  <a:off x="-2652453" y="431583"/>
                  <a:ext cx="294076" cy="231526"/>
                  <a:chOff x="-3634116" y="700986"/>
                  <a:chExt cx="182598" cy="143759"/>
                </a:xfrm>
              </p:grpSpPr>
              <p:grpSp>
                <p:nvGrpSpPr>
                  <p:cNvPr id="85" name="Groep 84">
                    <a:extLst>
                      <a:ext uri="{FF2B5EF4-FFF2-40B4-BE49-F238E27FC236}">
                        <a16:creationId xmlns:a16="http://schemas.microsoft.com/office/drawing/2014/main" id="{D435672E-7DF7-4A7A-B665-6589B0458185}"/>
                      </a:ext>
                    </a:extLst>
                  </p:cNvPr>
                  <p:cNvGrpSpPr/>
                  <p:nvPr userDrawn="1"/>
                </p:nvGrpSpPr>
                <p:grpSpPr>
                  <a:xfrm>
                    <a:off x="-3634116" y="700986"/>
                    <a:ext cx="182598" cy="143759"/>
                    <a:chOff x="-3634116" y="700986"/>
                    <a:chExt cx="182598" cy="143759"/>
                  </a:xfrm>
                </p:grpSpPr>
                <p:cxnSp>
                  <p:nvCxnSpPr>
                    <p:cNvPr id="89" name="Rechte verbindingslijn 88">
                      <a:extLst>
                        <a:ext uri="{FF2B5EF4-FFF2-40B4-BE49-F238E27FC236}">
                          <a16:creationId xmlns:a16="http://schemas.microsoft.com/office/drawing/2014/main" id="{745800E6-675C-494B-8BFD-1AE7A355CC87}"/>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90" name="Rechte verbindingslijn 89">
                      <a:extLst>
                        <a:ext uri="{FF2B5EF4-FFF2-40B4-BE49-F238E27FC236}">
                          <a16:creationId xmlns:a16="http://schemas.microsoft.com/office/drawing/2014/main" id="{1F91FCC2-E719-4097-80F5-859B56F4CC5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91" name="Rechte verbindingslijn 90">
                      <a:extLst>
                        <a:ext uri="{FF2B5EF4-FFF2-40B4-BE49-F238E27FC236}">
                          <a16:creationId xmlns:a16="http://schemas.microsoft.com/office/drawing/2014/main" id="{62BD121F-23B2-44BF-922F-4F8EA024C3E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92" name="Rechte verbindingslijn 91">
                      <a:extLst>
                        <a:ext uri="{FF2B5EF4-FFF2-40B4-BE49-F238E27FC236}">
                          <a16:creationId xmlns:a16="http://schemas.microsoft.com/office/drawing/2014/main" id="{6A4C6646-0A84-4002-9739-0FF0C3524A1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93" name="Rechte verbindingslijn 92">
                      <a:extLst>
                        <a:ext uri="{FF2B5EF4-FFF2-40B4-BE49-F238E27FC236}">
                          <a16:creationId xmlns:a16="http://schemas.microsoft.com/office/drawing/2014/main" id="{68960CA0-FFCC-40E2-B850-7D3F57D7E72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86" name="Groep 85">
                    <a:extLst>
                      <a:ext uri="{FF2B5EF4-FFF2-40B4-BE49-F238E27FC236}">
                        <a16:creationId xmlns:a16="http://schemas.microsoft.com/office/drawing/2014/main" id="{31404A9F-D1D2-47B1-8FAC-FA1EC574D479}"/>
                      </a:ext>
                    </a:extLst>
                  </p:cNvPr>
                  <p:cNvGrpSpPr/>
                  <p:nvPr userDrawn="1"/>
                </p:nvGrpSpPr>
                <p:grpSpPr>
                  <a:xfrm>
                    <a:off x="-3634047" y="735854"/>
                    <a:ext cx="88801" cy="72568"/>
                    <a:chOff x="-2091059" y="1395403"/>
                    <a:chExt cx="157316" cy="128558"/>
                  </a:xfrm>
                </p:grpSpPr>
                <p:sp>
                  <p:nvSpPr>
                    <p:cNvPr id="87" name="Rechthoek 86">
                      <a:extLst>
                        <a:ext uri="{FF2B5EF4-FFF2-40B4-BE49-F238E27FC236}">
                          <a16:creationId xmlns:a16="http://schemas.microsoft.com/office/drawing/2014/main" id="{52C12336-DBED-487E-9DB9-55716F7131D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8" name="Pijl: punthaak 87">
                      <a:extLst>
                        <a:ext uri="{FF2B5EF4-FFF2-40B4-BE49-F238E27FC236}">
                          <a16:creationId xmlns:a16="http://schemas.microsoft.com/office/drawing/2014/main" id="{BF8C35BE-093E-4EEA-88EC-8EB2A4B4D1B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69" name="Groep 68">
                <a:extLst>
                  <a:ext uri="{FF2B5EF4-FFF2-40B4-BE49-F238E27FC236}">
                    <a16:creationId xmlns:a16="http://schemas.microsoft.com/office/drawing/2014/main" id="{EB33B0E1-8595-4B3C-B366-F927E2668600}"/>
                  </a:ext>
                </a:extLst>
              </p:cNvPr>
              <p:cNvGrpSpPr/>
              <p:nvPr userDrawn="1"/>
            </p:nvGrpSpPr>
            <p:grpSpPr>
              <a:xfrm>
                <a:off x="-2425037" y="781500"/>
                <a:ext cx="357690" cy="330595"/>
                <a:chOff x="-2721817" y="782525"/>
                <a:chExt cx="432805" cy="400021"/>
              </a:xfrm>
            </p:grpSpPr>
            <p:sp>
              <p:nvSpPr>
                <p:cNvPr id="72" name="Rechthoek 71">
                  <a:extLst>
                    <a:ext uri="{FF2B5EF4-FFF2-40B4-BE49-F238E27FC236}">
                      <a16:creationId xmlns:a16="http://schemas.microsoft.com/office/drawing/2014/main" id="{A1C1434C-A92C-4573-B044-C0918AB0153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73" name="Groep 72">
                  <a:extLst>
                    <a:ext uri="{FF2B5EF4-FFF2-40B4-BE49-F238E27FC236}">
                      <a16:creationId xmlns:a16="http://schemas.microsoft.com/office/drawing/2014/main" id="{59B5C24E-4E39-4035-A9D5-9939099BCD1F}"/>
                    </a:ext>
                  </a:extLst>
                </p:cNvPr>
                <p:cNvGrpSpPr/>
                <p:nvPr userDrawn="1"/>
              </p:nvGrpSpPr>
              <p:grpSpPr>
                <a:xfrm>
                  <a:off x="-2652453" y="866772"/>
                  <a:ext cx="294076" cy="231526"/>
                  <a:chOff x="-3310843" y="700986"/>
                  <a:chExt cx="182598" cy="143759"/>
                </a:xfrm>
              </p:grpSpPr>
              <p:grpSp>
                <p:nvGrpSpPr>
                  <p:cNvPr id="74" name="Groep 73">
                    <a:extLst>
                      <a:ext uri="{FF2B5EF4-FFF2-40B4-BE49-F238E27FC236}">
                        <a16:creationId xmlns:a16="http://schemas.microsoft.com/office/drawing/2014/main" id="{00F30649-8E2B-4D33-8DB7-D44568F091C5}"/>
                      </a:ext>
                    </a:extLst>
                  </p:cNvPr>
                  <p:cNvGrpSpPr/>
                  <p:nvPr userDrawn="1"/>
                </p:nvGrpSpPr>
                <p:grpSpPr>
                  <a:xfrm>
                    <a:off x="-3310843" y="700986"/>
                    <a:ext cx="182598" cy="143759"/>
                    <a:chOff x="-3310843" y="700986"/>
                    <a:chExt cx="182598" cy="143759"/>
                  </a:xfrm>
                </p:grpSpPr>
                <p:cxnSp>
                  <p:nvCxnSpPr>
                    <p:cNvPr id="78" name="Rechte verbindingslijn 77">
                      <a:extLst>
                        <a:ext uri="{FF2B5EF4-FFF2-40B4-BE49-F238E27FC236}">
                          <a16:creationId xmlns:a16="http://schemas.microsoft.com/office/drawing/2014/main" id="{D54BD9AB-84B1-4B65-85E0-1FAAB9306A7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79" name="Rechte verbindingslijn 78">
                      <a:extLst>
                        <a:ext uri="{FF2B5EF4-FFF2-40B4-BE49-F238E27FC236}">
                          <a16:creationId xmlns:a16="http://schemas.microsoft.com/office/drawing/2014/main" id="{A0E7457C-DE2A-4B72-AD61-FFCCA98ED24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80" name="Rechte verbindingslijn 79">
                      <a:extLst>
                        <a:ext uri="{FF2B5EF4-FFF2-40B4-BE49-F238E27FC236}">
                          <a16:creationId xmlns:a16="http://schemas.microsoft.com/office/drawing/2014/main" id="{488DB9A3-7F63-430D-B96E-ED623B73C8C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81" name="Rechte verbindingslijn 80">
                      <a:extLst>
                        <a:ext uri="{FF2B5EF4-FFF2-40B4-BE49-F238E27FC236}">
                          <a16:creationId xmlns:a16="http://schemas.microsoft.com/office/drawing/2014/main" id="{309B7B97-CF8D-46A3-90EB-146C74828C94}"/>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id="{0AF1B1C8-2209-46A3-BDB8-3FFE0C809C9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75" name="Groep 74">
                    <a:extLst>
                      <a:ext uri="{FF2B5EF4-FFF2-40B4-BE49-F238E27FC236}">
                        <a16:creationId xmlns:a16="http://schemas.microsoft.com/office/drawing/2014/main" id="{192BD7C2-A853-444E-A97E-6BACAFEEEBC4}"/>
                      </a:ext>
                    </a:extLst>
                  </p:cNvPr>
                  <p:cNvGrpSpPr/>
                  <p:nvPr userDrawn="1"/>
                </p:nvGrpSpPr>
                <p:grpSpPr>
                  <a:xfrm flipH="1">
                    <a:off x="-3310774" y="735854"/>
                    <a:ext cx="88801" cy="72568"/>
                    <a:chOff x="-2091059" y="1395403"/>
                    <a:chExt cx="157316" cy="128558"/>
                  </a:xfrm>
                </p:grpSpPr>
                <p:sp>
                  <p:nvSpPr>
                    <p:cNvPr id="76" name="Rechthoek 75">
                      <a:extLst>
                        <a:ext uri="{FF2B5EF4-FFF2-40B4-BE49-F238E27FC236}">
                          <a16:creationId xmlns:a16="http://schemas.microsoft.com/office/drawing/2014/main" id="{57761CCC-86FB-49BE-B283-79EC50F9057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7" name="Pijl: punthaak 76">
                      <a:extLst>
                        <a:ext uri="{FF2B5EF4-FFF2-40B4-BE49-F238E27FC236}">
                          <a16:creationId xmlns:a16="http://schemas.microsoft.com/office/drawing/2014/main" id="{00C6F945-A9E6-4255-9380-35728B81BFE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70" name="Rechthoek 69">
                <a:extLst>
                  <a:ext uri="{FF2B5EF4-FFF2-40B4-BE49-F238E27FC236}">
                    <a16:creationId xmlns:a16="http://schemas.microsoft.com/office/drawing/2014/main" id="{890D8AA0-64AB-4043-B3F0-B691921E5672}"/>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71" name="Rechthoek 70">
                <a:extLst>
                  <a:ext uri="{FF2B5EF4-FFF2-40B4-BE49-F238E27FC236}">
                    <a16:creationId xmlns:a16="http://schemas.microsoft.com/office/drawing/2014/main" id="{C5941298-1B59-4D9A-95A5-B0CC3F6EB492}"/>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49" name="Rechte verbindingslijn 48">
              <a:extLst>
                <a:ext uri="{FF2B5EF4-FFF2-40B4-BE49-F238E27FC236}">
                  <a16:creationId xmlns:a16="http://schemas.microsoft.com/office/drawing/2014/main" id="{C70D9F50-006D-407B-A606-7C360CEDF871}"/>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50" name="Rechthoek 49">
              <a:extLst>
                <a:ext uri="{FF2B5EF4-FFF2-40B4-BE49-F238E27FC236}">
                  <a16:creationId xmlns:a16="http://schemas.microsoft.com/office/drawing/2014/main" id="{0687734F-2B29-42B3-BB6E-308076C71DD7}"/>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51" name="Ovaal 50">
              <a:extLst>
                <a:ext uri="{FF2B5EF4-FFF2-40B4-BE49-F238E27FC236}">
                  <a16:creationId xmlns:a16="http://schemas.microsoft.com/office/drawing/2014/main" id="{B3504BC6-4AAA-43EF-BA98-3B370169C258}"/>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52" name="Rechthoek 51">
              <a:extLst>
                <a:ext uri="{FF2B5EF4-FFF2-40B4-BE49-F238E27FC236}">
                  <a16:creationId xmlns:a16="http://schemas.microsoft.com/office/drawing/2014/main" id="{D0627E6F-A576-4F21-B9DB-7B99382A4AB4}"/>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53" name="Ovaal 52">
              <a:extLst>
                <a:ext uri="{FF2B5EF4-FFF2-40B4-BE49-F238E27FC236}">
                  <a16:creationId xmlns:a16="http://schemas.microsoft.com/office/drawing/2014/main" id="{EE4AE1BC-10AD-44AC-AF59-4F483F57A533}"/>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54" name="Rechthoek 53">
              <a:extLst>
                <a:ext uri="{FF2B5EF4-FFF2-40B4-BE49-F238E27FC236}">
                  <a16:creationId xmlns:a16="http://schemas.microsoft.com/office/drawing/2014/main" id="{5DD1FA82-BD86-4F88-AEBB-9ED96B6F80FC}"/>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55" name="Ovaal 54">
              <a:extLst>
                <a:ext uri="{FF2B5EF4-FFF2-40B4-BE49-F238E27FC236}">
                  <a16:creationId xmlns:a16="http://schemas.microsoft.com/office/drawing/2014/main" id="{DDD44BE1-0C8C-4865-AE12-1D0DC7FC5469}"/>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56" name="Rechthoek 55">
              <a:extLst>
                <a:ext uri="{FF2B5EF4-FFF2-40B4-BE49-F238E27FC236}">
                  <a16:creationId xmlns:a16="http://schemas.microsoft.com/office/drawing/2014/main" id="{E4DF1B2A-C0AE-44F7-8BD4-725DEC68E959}"/>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57" name="Ovaal 56">
              <a:extLst>
                <a:ext uri="{FF2B5EF4-FFF2-40B4-BE49-F238E27FC236}">
                  <a16:creationId xmlns:a16="http://schemas.microsoft.com/office/drawing/2014/main" id="{3EE90AA0-7FC6-4C99-AF8D-27509C732D8A}"/>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58" name="Rechthoek 57">
              <a:extLst>
                <a:ext uri="{FF2B5EF4-FFF2-40B4-BE49-F238E27FC236}">
                  <a16:creationId xmlns:a16="http://schemas.microsoft.com/office/drawing/2014/main" id="{03FAEA6B-B37B-44A8-8D38-02BA04679BAF}"/>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600" b="1" kern="1200" cap="none" baseline="0" noProof="0">
                  <a:solidFill>
                    <a:schemeClr val="accent1"/>
                  </a:solidFill>
                  <a:latin typeface="+mj-lt"/>
                  <a:ea typeface="+mn-ea"/>
                  <a:cs typeface="+mn-cs"/>
                </a:rPr>
                <a:t>Tussenkop (16pt)</a:t>
              </a:r>
            </a:p>
          </p:txBody>
        </p:sp>
        <p:sp>
          <p:nvSpPr>
            <p:cNvPr id="59" name="Rechthoek 58">
              <a:extLst>
                <a:ext uri="{FF2B5EF4-FFF2-40B4-BE49-F238E27FC236}">
                  <a16:creationId xmlns:a16="http://schemas.microsoft.com/office/drawing/2014/main" id="{122708D6-7122-4019-AA15-1968C668A710}"/>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115" name="Rechte verbindingslijn 114">
              <a:extLst>
                <a:ext uri="{FF2B5EF4-FFF2-40B4-BE49-F238E27FC236}">
                  <a16:creationId xmlns:a16="http://schemas.microsoft.com/office/drawing/2014/main" id="{A79ACEDD-5C11-49B8-BFC2-E66EEA8CA38B}"/>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116" name="Ovaal 115">
              <a:extLst>
                <a:ext uri="{FF2B5EF4-FFF2-40B4-BE49-F238E27FC236}">
                  <a16:creationId xmlns:a16="http://schemas.microsoft.com/office/drawing/2014/main" id="{F5679DC3-CEF2-4772-9ABB-92954717A816}"/>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117" name="Rechthoek 116">
              <a:extLst>
                <a:ext uri="{FF2B5EF4-FFF2-40B4-BE49-F238E27FC236}">
                  <a16:creationId xmlns:a16="http://schemas.microsoft.com/office/drawing/2014/main" id="{211274B4-8E9A-4D55-A35B-57117EE1346E}"/>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118" name="Ovaal 117">
              <a:extLst>
                <a:ext uri="{FF2B5EF4-FFF2-40B4-BE49-F238E27FC236}">
                  <a16:creationId xmlns:a16="http://schemas.microsoft.com/office/drawing/2014/main" id="{5351836F-0472-47FE-AC19-5C60C4F131EF}"/>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9" name="Rechthoek 118">
              <a:extLst>
                <a:ext uri="{FF2B5EF4-FFF2-40B4-BE49-F238E27FC236}">
                  <a16:creationId xmlns:a16="http://schemas.microsoft.com/office/drawing/2014/main" id="{53119B5F-71BF-41C1-AC41-5B54F2BE3FAE}"/>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120" name="GRID" hidden="1">
            <a:extLst>
              <a:ext uri="{FF2B5EF4-FFF2-40B4-BE49-F238E27FC236}">
                <a16:creationId xmlns:a16="http://schemas.microsoft.com/office/drawing/2014/main" id="{5296AF35-F896-43B3-ABCB-C095CFAAB915}"/>
              </a:ext>
            </a:extLst>
          </p:cNvPr>
          <p:cNvGrpSpPr/>
          <p:nvPr userDrawn="1"/>
        </p:nvGrpSpPr>
        <p:grpSpPr>
          <a:xfrm>
            <a:off x="0" y="0"/>
            <a:ext cx="12192000" cy="6858000"/>
            <a:chOff x="0" y="0"/>
            <a:chExt cx="12192000" cy="6858000"/>
          </a:xfrm>
          <a:solidFill>
            <a:schemeClr val="tx1">
              <a:alpha val="30000"/>
            </a:schemeClr>
          </a:solidFill>
        </p:grpSpPr>
        <p:sp>
          <p:nvSpPr>
            <p:cNvPr id="121" name="Rechthoek 120">
              <a:extLst>
                <a:ext uri="{FF2B5EF4-FFF2-40B4-BE49-F238E27FC236}">
                  <a16:creationId xmlns:a16="http://schemas.microsoft.com/office/drawing/2014/main" id="{F2EB2891-3A99-4ED4-8AFD-B438775A0AB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2" name="Rechthoek 121">
              <a:extLst>
                <a:ext uri="{FF2B5EF4-FFF2-40B4-BE49-F238E27FC236}">
                  <a16:creationId xmlns:a16="http://schemas.microsoft.com/office/drawing/2014/main" id="{FA8CC251-260C-48FB-A21A-4064D59E44A3}"/>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3" name="Rechthoek 122">
              <a:extLst>
                <a:ext uri="{FF2B5EF4-FFF2-40B4-BE49-F238E27FC236}">
                  <a16:creationId xmlns:a16="http://schemas.microsoft.com/office/drawing/2014/main" id="{7F3AA528-EF26-4236-99E2-579FAE2766C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4" name="Rechthoek 123">
              <a:extLst>
                <a:ext uri="{FF2B5EF4-FFF2-40B4-BE49-F238E27FC236}">
                  <a16:creationId xmlns:a16="http://schemas.microsoft.com/office/drawing/2014/main" id="{7DC92546-1751-4BAA-AA77-5307E8FACDC5}"/>
                </a:ext>
              </a:extLst>
            </p:cNvPr>
            <p:cNvSpPr/>
            <p:nvPr userDrawn="1"/>
          </p:nvSpPr>
          <p:spPr>
            <a:xfrm>
              <a:off x="0" y="825345"/>
              <a:ext cx="12192000" cy="754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5" name="Rechthoek 124">
              <a:extLst>
                <a:ext uri="{FF2B5EF4-FFF2-40B4-BE49-F238E27FC236}">
                  <a16:creationId xmlns:a16="http://schemas.microsoft.com/office/drawing/2014/main" id="{C45E7145-B912-4200-A331-B4273BB6199F}"/>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6" name="Rechthoek 125">
              <a:extLst>
                <a:ext uri="{FF2B5EF4-FFF2-40B4-BE49-F238E27FC236}">
                  <a16:creationId xmlns:a16="http://schemas.microsoft.com/office/drawing/2014/main" id="{D3D0F0CB-C84E-4062-996E-C129FEC2E3C5}"/>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7" name="Rechthoek 126">
              <a:extLst>
                <a:ext uri="{FF2B5EF4-FFF2-40B4-BE49-F238E27FC236}">
                  <a16:creationId xmlns:a16="http://schemas.microsoft.com/office/drawing/2014/main" id="{838D424E-D3A6-4B95-BFB7-234BCBF65129}"/>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8" name="Rechthoek 127">
              <a:extLst>
                <a:ext uri="{FF2B5EF4-FFF2-40B4-BE49-F238E27FC236}">
                  <a16:creationId xmlns:a16="http://schemas.microsoft.com/office/drawing/2014/main" id="{E0EC2466-F391-4C48-905A-547E5255BBA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9" name="Rechthoek 128">
              <a:extLst>
                <a:ext uri="{FF2B5EF4-FFF2-40B4-BE49-F238E27FC236}">
                  <a16:creationId xmlns:a16="http://schemas.microsoft.com/office/drawing/2014/main" id="{FA3DF976-567F-4CC5-8362-205B3BE176DB}"/>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0" name="Rechthoek 129">
              <a:extLst>
                <a:ext uri="{FF2B5EF4-FFF2-40B4-BE49-F238E27FC236}">
                  <a16:creationId xmlns:a16="http://schemas.microsoft.com/office/drawing/2014/main" id="{A2F401FB-26A6-4D49-A1E7-E09BC52F1A3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1" name="Rechthoek 130">
              <a:extLst>
                <a:ext uri="{FF2B5EF4-FFF2-40B4-BE49-F238E27FC236}">
                  <a16:creationId xmlns:a16="http://schemas.microsoft.com/office/drawing/2014/main" id="{7A917718-DF85-48ED-8424-FC9E59AA36E1}"/>
                </a:ext>
              </a:extLst>
            </p:cNvPr>
            <p:cNvSpPr/>
            <p:nvPr userDrawn="1"/>
          </p:nvSpPr>
          <p:spPr>
            <a:xfrm>
              <a:off x="0" y="1114210"/>
              <a:ext cx="12192000" cy="3423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Tree>
    <p:extLst>
      <p:ext uri="{BB962C8B-B14F-4D97-AF65-F5344CB8AC3E}">
        <p14:creationId xmlns:p14="http://schemas.microsoft.com/office/powerpoint/2010/main" val="22328048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KST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3"/>
            <a:ext cx="11112000" cy="301139"/>
          </a:xfrm>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28600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700AAC8F-DC6C-430E-89AF-57A8CB96221D}"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Vul hier een bron in (of laat dit </a:t>
            </a:r>
            <a:r>
              <a:rPr lang="nl-NL" noProof="0" err="1"/>
              <a:t>tekstvak</a:t>
            </a:r>
            <a:r>
              <a:rPr lang="nl-NL" noProof="0"/>
              <a:t> leeg wanneer een bron ontbreekt)</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2X</a:t>
            </a:r>
          </a:p>
        </p:txBody>
      </p:sp>
      <p:sp>
        <p:nvSpPr>
          <p:cNvPr id="44" name="Tijdelijke aanduiding voor tekst 43">
            <a:extLst>
              <a:ext uri="{FF2B5EF4-FFF2-40B4-BE49-F238E27FC236}">
                <a16:creationId xmlns:a16="http://schemas.microsoft.com/office/drawing/2014/main" id="{C39606EC-1987-41D2-AE51-A1A79674F48D}"/>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22" name="GRID" hidden="1">
            <a:extLst>
              <a:ext uri="{FF2B5EF4-FFF2-40B4-BE49-F238E27FC236}">
                <a16:creationId xmlns:a16="http://schemas.microsoft.com/office/drawing/2014/main" id="{33B8CDDA-3569-43D9-8953-9A57FF3750DF}"/>
              </a:ext>
            </a:extLst>
          </p:cNvPr>
          <p:cNvGrpSpPr/>
          <p:nvPr userDrawn="1"/>
        </p:nvGrpSpPr>
        <p:grpSpPr>
          <a:xfrm>
            <a:off x="0" y="0"/>
            <a:ext cx="12192000" cy="6858000"/>
            <a:chOff x="0" y="0"/>
            <a:chExt cx="12192000" cy="6858000"/>
          </a:xfrm>
          <a:solidFill>
            <a:schemeClr val="tx1">
              <a:alpha val="30000"/>
            </a:schemeClr>
          </a:solidFill>
        </p:grpSpPr>
        <p:sp>
          <p:nvSpPr>
            <p:cNvPr id="23" name="Rechthoek 22">
              <a:extLst>
                <a:ext uri="{FF2B5EF4-FFF2-40B4-BE49-F238E27FC236}">
                  <a16:creationId xmlns:a16="http://schemas.microsoft.com/office/drawing/2014/main" id="{A6538B19-C966-4937-AB93-B157026AFF8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77024D41-999B-4242-8677-91ABF0A9E718}"/>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31DBE81E-F298-48AD-9D42-19989D672470}"/>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8DE20BBB-B456-42A9-8832-C7377C8570B3}"/>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E56AFE03-13D0-4E70-965E-27236D5B2FE0}"/>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441DBCA-2CF0-465C-9104-B3831E479CD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C008D542-07D8-43D9-B841-E9558BFC34B1}"/>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0C647EEC-C065-4B5F-8C18-6436515CDB91}"/>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B3E90288-6716-4D55-8093-F74729D589E7}"/>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9C4FE5F3-67DB-4F58-B12D-A654035D116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3D223C7A-1192-46B2-A8CA-690AB0004B12}"/>
                </a:ext>
              </a:extLst>
            </p:cNvPr>
            <p:cNvSpPr/>
            <p:nvPr userDrawn="1"/>
          </p:nvSpPr>
          <p:spPr>
            <a:xfrm>
              <a:off x="5826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8" name="Tijdelijke aanduiding voor verticale tekst 2">
            <a:extLst>
              <a:ext uri="{FF2B5EF4-FFF2-40B4-BE49-F238E27FC236}">
                <a16:creationId xmlns:a16="http://schemas.microsoft.com/office/drawing/2014/main" id="{AA81A0BB-4577-42E5-AB0A-8F767EEAD740}"/>
              </a:ext>
            </a:extLst>
          </p:cNvPr>
          <p:cNvSpPr>
            <a:spLocks noGrp="1"/>
          </p:cNvSpPr>
          <p:nvPr>
            <p:ph type="body" orient="vert" idx="16" hasCustomPrompt="1"/>
          </p:nvPr>
        </p:nvSpPr>
        <p:spPr>
          <a:xfrm>
            <a:off x="6365999" y="1459112"/>
            <a:ext cx="528600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grpSp>
        <p:nvGrpSpPr>
          <p:cNvPr id="263" name="Instructie">
            <a:extLst>
              <a:ext uri="{FF2B5EF4-FFF2-40B4-BE49-F238E27FC236}">
                <a16:creationId xmlns:a16="http://schemas.microsoft.com/office/drawing/2014/main" id="{EF3BB778-9E76-4D74-BBFE-D4204D347A1E}"/>
              </a:ext>
            </a:extLst>
          </p:cNvPr>
          <p:cNvGrpSpPr/>
          <p:nvPr userDrawn="1"/>
        </p:nvGrpSpPr>
        <p:grpSpPr>
          <a:xfrm>
            <a:off x="-3437547" y="1434"/>
            <a:ext cx="3201327" cy="6041867"/>
            <a:chOff x="-3437547" y="1434"/>
            <a:chExt cx="3201327" cy="6041867"/>
          </a:xfrm>
        </p:grpSpPr>
        <p:cxnSp>
          <p:nvCxnSpPr>
            <p:cNvPr id="264" name="Rechte verbindingslijn 263">
              <a:extLst>
                <a:ext uri="{FF2B5EF4-FFF2-40B4-BE49-F238E27FC236}">
                  <a16:creationId xmlns:a16="http://schemas.microsoft.com/office/drawing/2014/main" id="{392B897D-5F2F-43B8-8E23-E5B73EEDC55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65" name="Ovaal 264">
              <a:extLst>
                <a:ext uri="{FF2B5EF4-FFF2-40B4-BE49-F238E27FC236}">
                  <a16:creationId xmlns:a16="http://schemas.microsoft.com/office/drawing/2014/main" id="{6F964235-6BF6-413A-A40F-F14B216997A0}"/>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66" name="Rechthoek 265">
              <a:extLst>
                <a:ext uri="{FF2B5EF4-FFF2-40B4-BE49-F238E27FC236}">
                  <a16:creationId xmlns:a16="http://schemas.microsoft.com/office/drawing/2014/main" id="{256F877A-BCE1-4137-B066-4C58B5FA4F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7" name="Ovaal 266">
              <a:extLst>
                <a:ext uri="{FF2B5EF4-FFF2-40B4-BE49-F238E27FC236}">
                  <a16:creationId xmlns:a16="http://schemas.microsoft.com/office/drawing/2014/main" id="{4A0DC972-00D8-4463-A335-765DB247BF89}"/>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68" name="Rechthoek 267">
              <a:extLst>
                <a:ext uri="{FF2B5EF4-FFF2-40B4-BE49-F238E27FC236}">
                  <a16:creationId xmlns:a16="http://schemas.microsoft.com/office/drawing/2014/main" id="{1C6646F3-2D5C-4CA8-A474-27344C6417B9}"/>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9" name="Ovaal 268">
              <a:extLst>
                <a:ext uri="{FF2B5EF4-FFF2-40B4-BE49-F238E27FC236}">
                  <a16:creationId xmlns:a16="http://schemas.microsoft.com/office/drawing/2014/main" id="{EB04172F-A4FD-4F2C-99F9-976CB129EFD1}"/>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70" name="Rechthoek 269">
              <a:extLst>
                <a:ext uri="{FF2B5EF4-FFF2-40B4-BE49-F238E27FC236}">
                  <a16:creationId xmlns:a16="http://schemas.microsoft.com/office/drawing/2014/main" id="{9731FC4C-9150-4ADC-B5A7-CF014FB8EC39}"/>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71" name="Ovaal 270">
              <a:extLst>
                <a:ext uri="{FF2B5EF4-FFF2-40B4-BE49-F238E27FC236}">
                  <a16:creationId xmlns:a16="http://schemas.microsoft.com/office/drawing/2014/main" id="{F6C474F7-AF0A-43C6-8C27-3785E9F01B1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72" name="Rechthoek 271">
              <a:extLst>
                <a:ext uri="{FF2B5EF4-FFF2-40B4-BE49-F238E27FC236}">
                  <a16:creationId xmlns:a16="http://schemas.microsoft.com/office/drawing/2014/main" id="{C3D60B33-2931-42FD-8166-B8E1C453FE32}"/>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273" name="Rechthoek 272">
              <a:extLst>
                <a:ext uri="{FF2B5EF4-FFF2-40B4-BE49-F238E27FC236}">
                  <a16:creationId xmlns:a16="http://schemas.microsoft.com/office/drawing/2014/main" id="{6FC200D5-4097-497F-B1F9-91EC66ABD6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74" name="Ovaal 273">
              <a:extLst>
                <a:ext uri="{FF2B5EF4-FFF2-40B4-BE49-F238E27FC236}">
                  <a16:creationId xmlns:a16="http://schemas.microsoft.com/office/drawing/2014/main" id="{A27AE375-3903-47DC-B136-BA70E5096E59}"/>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75" name="Rechte verbindingslijn 274">
              <a:extLst>
                <a:ext uri="{FF2B5EF4-FFF2-40B4-BE49-F238E27FC236}">
                  <a16:creationId xmlns:a16="http://schemas.microsoft.com/office/drawing/2014/main" id="{8E45F979-7172-4C5F-91B1-BBD6FA77F8B0}"/>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76" name="Groep 275">
              <a:extLst>
                <a:ext uri="{FF2B5EF4-FFF2-40B4-BE49-F238E27FC236}">
                  <a16:creationId xmlns:a16="http://schemas.microsoft.com/office/drawing/2014/main" id="{BD256BF7-9FE6-4995-AAA9-0F3757A44E27}"/>
                </a:ext>
              </a:extLst>
            </p:cNvPr>
            <p:cNvGrpSpPr/>
            <p:nvPr userDrawn="1"/>
          </p:nvGrpSpPr>
          <p:grpSpPr>
            <a:xfrm>
              <a:off x="-3437547" y="1295337"/>
              <a:ext cx="2933825" cy="558875"/>
              <a:chOff x="-3419346" y="368233"/>
              <a:chExt cx="3904920" cy="743862"/>
            </a:xfrm>
          </p:grpSpPr>
          <p:sp>
            <p:nvSpPr>
              <p:cNvPr id="293" name="Rechthoek 292">
                <a:extLst>
                  <a:ext uri="{FF2B5EF4-FFF2-40B4-BE49-F238E27FC236}">
                    <a16:creationId xmlns:a16="http://schemas.microsoft.com/office/drawing/2014/main" id="{4DDFA3F8-52D7-46E4-BB6E-4E69DDA368C6}"/>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94" name="Rechte verbindingslijn 293">
                <a:extLst>
                  <a:ext uri="{FF2B5EF4-FFF2-40B4-BE49-F238E27FC236}">
                    <a16:creationId xmlns:a16="http://schemas.microsoft.com/office/drawing/2014/main" id="{1EC53019-59A8-4F13-AB7F-9B51FAB120C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5" name="Rechte verbindingslijn 294">
                <a:extLst>
                  <a:ext uri="{FF2B5EF4-FFF2-40B4-BE49-F238E27FC236}">
                    <a16:creationId xmlns:a16="http://schemas.microsoft.com/office/drawing/2014/main" id="{EF866EC5-8C43-4641-8C07-121783C98E7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6" name="Rechthoek 295">
                <a:extLst>
                  <a:ext uri="{FF2B5EF4-FFF2-40B4-BE49-F238E27FC236}">
                    <a16:creationId xmlns:a16="http://schemas.microsoft.com/office/drawing/2014/main" id="{C81D7799-2C86-43C7-AF86-9D024562EA4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97" name="Groep 296">
                <a:extLst>
                  <a:ext uri="{FF2B5EF4-FFF2-40B4-BE49-F238E27FC236}">
                    <a16:creationId xmlns:a16="http://schemas.microsoft.com/office/drawing/2014/main" id="{BF041B03-8905-4E3B-9920-215572BFD70A}"/>
                  </a:ext>
                </a:extLst>
              </p:cNvPr>
              <p:cNvGrpSpPr/>
              <p:nvPr userDrawn="1"/>
            </p:nvGrpSpPr>
            <p:grpSpPr>
              <a:xfrm>
                <a:off x="-3002834" y="720303"/>
                <a:ext cx="182598" cy="143759"/>
                <a:chOff x="-3310843" y="700986"/>
                <a:chExt cx="182598" cy="143759"/>
              </a:xfrm>
            </p:grpSpPr>
            <p:grpSp>
              <p:nvGrpSpPr>
                <p:cNvPr id="336" name="Groep 335">
                  <a:extLst>
                    <a:ext uri="{FF2B5EF4-FFF2-40B4-BE49-F238E27FC236}">
                      <a16:creationId xmlns:a16="http://schemas.microsoft.com/office/drawing/2014/main" id="{52B9466E-5AEE-499C-9FD9-4BAE0A59774B}"/>
                    </a:ext>
                  </a:extLst>
                </p:cNvPr>
                <p:cNvGrpSpPr/>
                <p:nvPr userDrawn="1"/>
              </p:nvGrpSpPr>
              <p:grpSpPr>
                <a:xfrm>
                  <a:off x="-3310843" y="700986"/>
                  <a:ext cx="182598" cy="143759"/>
                  <a:chOff x="-3310843" y="700986"/>
                  <a:chExt cx="182598" cy="143759"/>
                </a:xfrm>
              </p:grpSpPr>
              <p:cxnSp>
                <p:nvCxnSpPr>
                  <p:cNvPr id="340" name="Rechte verbindingslijn 339">
                    <a:extLst>
                      <a:ext uri="{FF2B5EF4-FFF2-40B4-BE49-F238E27FC236}">
                        <a16:creationId xmlns:a16="http://schemas.microsoft.com/office/drawing/2014/main" id="{E44E01CD-A705-4072-BDA8-CCE21D79F6B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9535731-2CA7-48B0-8E69-7524CEB0CBD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2" name="Rechte verbindingslijn 341">
                    <a:extLst>
                      <a:ext uri="{FF2B5EF4-FFF2-40B4-BE49-F238E27FC236}">
                        <a16:creationId xmlns:a16="http://schemas.microsoft.com/office/drawing/2014/main" id="{13763057-EDA6-45C5-844C-32B5A15D6AE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25B65B46-60F7-40BF-9102-5EB5694B7CF8}"/>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076DBE8-051B-467A-A3DD-194DFDBF8FD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7" name="Groep 336">
                  <a:extLst>
                    <a:ext uri="{FF2B5EF4-FFF2-40B4-BE49-F238E27FC236}">
                      <a16:creationId xmlns:a16="http://schemas.microsoft.com/office/drawing/2014/main" id="{F574182C-74B0-4356-8719-8D6143061DDA}"/>
                    </a:ext>
                  </a:extLst>
                </p:cNvPr>
                <p:cNvGrpSpPr/>
                <p:nvPr userDrawn="1"/>
              </p:nvGrpSpPr>
              <p:grpSpPr>
                <a:xfrm flipH="1">
                  <a:off x="-3310774" y="735854"/>
                  <a:ext cx="88801" cy="72568"/>
                  <a:chOff x="-2091059" y="1395403"/>
                  <a:chExt cx="157316" cy="128558"/>
                </a:xfrm>
              </p:grpSpPr>
              <p:sp>
                <p:nvSpPr>
                  <p:cNvPr id="338" name="Rechthoek 337">
                    <a:extLst>
                      <a:ext uri="{FF2B5EF4-FFF2-40B4-BE49-F238E27FC236}">
                        <a16:creationId xmlns:a16="http://schemas.microsoft.com/office/drawing/2014/main" id="{11383763-CAC0-48EF-835D-EDAA1AFA57C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39" name="Pijl: punthaak 338">
                    <a:extLst>
                      <a:ext uri="{FF2B5EF4-FFF2-40B4-BE49-F238E27FC236}">
                        <a16:creationId xmlns:a16="http://schemas.microsoft.com/office/drawing/2014/main" id="{BD078BBF-6495-48ED-A9C1-9DEE0DA955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98" name="Groep 297">
                <a:extLst>
                  <a:ext uri="{FF2B5EF4-FFF2-40B4-BE49-F238E27FC236}">
                    <a16:creationId xmlns:a16="http://schemas.microsoft.com/office/drawing/2014/main" id="{E64F86A5-23CC-4132-947F-7BB8C182FA28}"/>
                  </a:ext>
                </a:extLst>
              </p:cNvPr>
              <p:cNvGrpSpPr/>
              <p:nvPr userDrawn="1"/>
            </p:nvGrpSpPr>
            <p:grpSpPr>
              <a:xfrm>
                <a:off x="-3326107" y="720303"/>
                <a:ext cx="182598" cy="143759"/>
                <a:chOff x="-3634116" y="700986"/>
                <a:chExt cx="182598" cy="143759"/>
              </a:xfrm>
            </p:grpSpPr>
            <p:grpSp>
              <p:nvGrpSpPr>
                <p:cNvPr id="327" name="Groep 326">
                  <a:extLst>
                    <a:ext uri="{FF2B5EF4-FFF2-40B4-BE49-F238E27FC236}">
                      <a16:creationId xmlns:a16="http://schemas.microsoft.com/office/drawing/2014/main" id="{D67E7A46-DE9C-4D0A-AEE0-BEEC1685DCDA}"/>
                    </a:ext>
                  </a:extLst>
                </p:cNvPr>
                <p:cNvGrpSpPr/>
                <p:nvPr userDrawn="1"/>
              </p:nvGrpSpPr>
              <p:grpSpPr>
                <a:xfrm>
                  <a:off x="-3634116" y="700986"/>
                  <a:ext cx="182598" cy="143759"/>
                  <a:chOff x="-3634116" y="700986"/>
                  <a:chExt cx="182598" cy="143759"/>
                </a:xfrm>
              </p:grpSpPr>
              <p:cxnSp>
                <p:nvCxnSpPr>
                  <p:cNvPr id="331" name="Rechte verbindingslijn 330">
                    <a:extLst>
                      <a:ext uri="{FF2B5EF4-FFF2-40B4-BE49-F238E27FC236}">
                        <a16:creationId xmlns:a16="http://schemas.microsoft.com/office/drawing/2014/main" id="{6104EABB-E647-4380-BC8D-4735501847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71FC7BD7-238C-4901-906D-C16229B47EF0}"/>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6E626D8-0D5B-479D-A164-63570F35F44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5AD47799-5A26-4B9E-AB95-14F514293F9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5" name="Rechte verbindingslijn 334">
                    <a:extLst>
                      <a:ext uri="{FF2B5EF4-FFF2-40B4-BE49-F238E27FC236}">
                        <a16:creationId xmlns:a16="http://schemas.microsoft.com/office/drawing/2014/main" id="{699F819B-BABF-4D77-BFAA-10E13C0CF606}"/>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28" name="Groep 327">
                  <a:extLst>
                    <a:ext uri="{FF2B5EF4-FFF2-40B4-BE49-F238E27FC236}">
                      <a16:creationId xmlns:a16="http://schemas.microsoft.com/office/drawing/2014/main" id="{057E89C5-21EC-4E99-BBD6-538CA09E4268}"/>
                    </a:ext>
                  </a:extLst>
                </p:cNvPr>
                <p:cNvGrpSpPr/>
                <p:nvPr userDrawn="1"/>
              </p:nvGrpSpPr>
              <p:grpSpPr>
                <a:xfrm>
                  <a:off x="-3634047" y="735854"/>
                  <a:ext cx="88801" cy="72568"/>
                  <a:chOff x="-2091059" y="1395403"/>
                  <a:chExt cx="157316" cy="128558"/>
                </a:xfrm>
              </p:grpSpPr>
              <p:sp>
                <p:nvSpPr>
                  <p:cNvPr id="329" name="Rechthoek 328">
                    <a:extLst>
                      <a:ext uri="{FF2B5EF4-FFF2-40B4-BE49-F238E27FC236}">
                        <a16:creationId xmlns:a16="http://schemas.microsoft.com/office/drawing/2014/main" id="{7F38C0D4-8DFC-4692-84BC-20484B54CA6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30" name="Pijl: punthaak 329">
                    <a:extLst>
                      <a:ext uri="{FF2B5EF4-FFF2-40B4-BE49-F238E27FC236}">
                        <a16:creationId xmlns:a16="http://schemas.microsoft.com/office/drawing/2014/main" id="{CA109E9F-7AD9-49D6-AB21-452F30FB0D9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99" name="Rechte verbindingslijn 298">
                <a:extLst>
                  <a:ext uri="{FF2B5EF4-FFF2-40B4-BE49-F238E27FC236}">
                    <a16:creationId xmlns:a16="http://schemas.microsoft.com/office/drawing/2014/main" id="{7245F918-BD1E-4AA7-AF34-B34807AA5B4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00" name="Rechte verbindingslijn 299">
                <a:extLst>
                  <a:ext uri="{FF2B5EF4-FFF2-40B4-BE49-F238E27FC236}">
                    <a16:creationId xmlns:a16="http://schemas.microsoft.com/office/drawing/2014/main" id="{42204135-130C-4482-8FF4-C457BA30B918}"/>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01" name="Groep 300">
                <a:extLst>
                  <a:ext uri="{FF2B5EF4-FFF2-40B4-BE49-F238E27FC236}">
                    <a16:creationId xmlns:a16="http://schemas.microsoft.com/office/drawing/2014/main" id="{C5620457-BC11-44A1-B35E-8070DAA50D35}"/>
                  </a:ext>
                </a:extLst>
              </p:cNvPr>
              <p:cNvGrpSpPr/>
              <p:nvPr userDrawn="1"/>
            </p:nvGrpSpPr>
            <p:grpSpPr>
              <a:xfrm>
                <a:off x="-2425037" y="370226"/>
                <a:ext cx="357690" cy="330595"/>
                <a:chOff x="-2721817" y="347336"/>
                <a:chExt cx="432805" cy="400021"/>
              </a:xfrm>
            </p:grpSpPr>
            <p:sp>
              <p:nvSpPr>
                <p:cNvPr id="316" name="Rechthoek 315">
                  <a:extLst>
                    <a:ext uri="{FF2B5EF4-FFF2-40B4-BE49-F238E27FC236}">
                      <a16:creationId xmlns:a16="http://schemas.microsoft.com/office/drawing/2014/main" id="{4F12A523-C4D3-4A22-833E-31EC8E567922}"/>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17" name="Groep 316">
                  <a:extLst>
                    <a:ext uri="{FF2B5EF4-FFF2-40B4-BE49-F238E27FC236}">
                      <a16:creationId xmlns:a16="http://schemas.microsoft.com/office/drawing/2014/main" id="{B7ABD13A-1CA0-425C-8716-9975579BA484}"/>
                    </a:ext>
                  </a:extLst>
                </p:cNvPr>
                <p:cNvGrpSpPr/>
                <p:nvPr userDrawn="1"/>
              </p:nvGrpSpPr>
              <p:grpSpPr>
                <a:xfrm>
                  <a:off x="-2652453" y="431583"/>
                  <a:ext cx="294076" cy="231526"/>
                  <a:chOff x="-3634116" y="700986"/>
                  <a:chExt cx="182598" cy="143759"/>
                </a:xfrm>
              </p:grpSpPr>
              <p:grpSp>
                <p:nvGrpSpPr>
                  <p:cNvPr id="318" name="Groep 317">
                    <a:extLst>
                      <a:ext uri="{FF2B5EF4-FFF2-40B4-BE49-F238E27FC236}">
                        <a16:creationId xmlns:a16="http://schemas.microsoft.com/office/drawing/2014/main" id="{CAB27CAE-2F72-4CB7-A34E-D9F827C00955}"/>
                      </a:ext>
                    </a:extLst>
                  </p:cNvPr>
                  <p:cNvGrpSpPr/>
                  <p:nvPr userDrawn="1"/>
                </p:nvGrpSpPr>
                <p:grpSpPr>
                  <a:xfrm>
                    <a:off x="-3634116" y="700986"/>
                    <a:ext cx="182598" cy="143759"/>
                    <a:chOff x="-3634116" y="700986"/>
                    <a:chExt cx="182598" cy="143759"/>
                  </a:xfrm>
                </p:grpSpPr>
                <p:cxnSp>
                  <p:nvCxnSpPr>
                    <p:cNvPr id="322" name="Rechte verbindingslijn 321">
                      <a:extLst>
                        <a:ext uri="{FF2B5EF4-FFF2-40B4-BE49-F238E27FC236}">
                          <a16:creationId xmlns:a16="http://schemas.microsoft.com/office/drawing/2014/main" id="{3AEF513D-B5BB-483D-B64B-DCE9028EA78A}"/>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23" name="Rechte verbindingslijn 322">
                      <a:extLst>
                        <a:ext uri="{FF2B5EF4-FFF2-40B4-BE49-F238E27FC236}">
                          <a16:creationId xmlns:a16="http://schemas.microsoft.com/office/drawing/2014/main" id="{81E2F19F-BB91-4B6A-95CC-FF1E59DF0718}"/>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24" name="Rechte verbindingslijn 323">
                      <a:extLst>
                        <a:ext uri="{FF2B5EF4-FFF2-40B4-BE49-F238E27FC236}">
                          <a16:creationId xmlns:a16="http://schemas.microsoft.com/office/drawing/2014/main" id="{475DAF34-08FE-436D-B1DF-570914C1A996}"/>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25" name="Rechte verbindingslijn 324">
                      <a:extLst>
                        <a:ext uri="{FF2B5EF4-FFF2-40B4-BE49-F238E27FC236}">
                          <a16:creationId xmlns:a16="http://schemas.microsoft.com/office/drawing/2014/main" id="{965628B0-5FC2-4FFA-ACFC-E067A39B9055}"/>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26" name="Rechte verbindingslijn 325">
                      <a:extLst>
                        <a:ext uri="{FF2B5EF4-FFF2-40B4-BE49-F238E27FC236}">
                          <a16:creationId xmlns:a16="http://schemas.microsoft.com/office/drawing/2014/main" id="{9E2F0411-5A06-4DC1-A6F0-FEFD32771E0A}"/>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19" name="Groep 318">
                    <a:extLst>
                      <a:ext uri="{FF2B5EF4-FFF2-40B4-BE49-F238E27FC236}">
                        <a16:creationId xmlns:a16="http://schemas.microsoft.com/office/drawing/2014/main" id="{4B8D49B6-1A7A-438C-ADDE-74D05218A11B}"/>
                      </a:ext>
                    </a:extLst>
                  </p:cNvPr>
                  <p:cNvGrpSpPr/>
                  <p:nvPr userDrawn="1"/>
                </p:nvGrpSpPr>
                <p:grpSpPr>
                  <a:xfrm>
                    <a:off x="-3634047" y="735854"/>
                    <a:ext cx="88801" cy="72568"/>
                    <a:chOff x="-2091059" y="1395403"/>
                    <a:chExt cx="157316" cy="128558"/>
                  </a:xfrm>
                </p:grpSpPr>
                <p:sp>
                  <p:nvSpPr>
                    <p:cNvPr id="320" name="Rechthoek 319">
                      <a:extLst>
                        <a:ext uri="{FF2B5EF4-FFF2-40B4-BE49-F238E27FC236}">
                          <a16:creationId xmlns:a16="http://schemas.microsoft.com/office/drawing/2014/main" id="{33E4C8CB-AD52-459B-A174-350C49240AD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21" name="Pijl: punthaak 320">
                      <a:extLst>
                        <a:ext uri="{FF2B5EF4-FFF2-40B4-BE49-F238E27FC236}">
                          <a16:creationId xmlns:a16="http://schemas.microsoft.com/office/drawing/2014/main" id="{73B42B70-9945-4C6D-9788-1B0E9ED1250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02" name="Groep 301">
                <a:extLst>
                  <a:ext uri="{FF2B5EF4-FFF2-40B4-BE49-F238E27FC236}">
                    <a16:creationId xmlns:a16="http://schemas.microsoft.com/office/drawing/2014/main" id="{2002127F-8125-4C9F-955A-F79489BF6C19}"/>
                  </a:ext>
                </a:extLst>
              </p:cNvPr>
              <p:cNvGrpSpPr/>
              <p:nvPr userDrawn="1"/>
            </p:nvGrpSpPr>
            <p:grpSpPr>
              <a:xfrm>
                <a:off x="-2425037" y="781500"/>
                <a:ext cx="357690" cy="330595"/>
                <a:chOff x="-2721817" y="782525"/>
                <a:chExt cx="432805" cy="400021"/>
              </a:xfrm>
            </p:grpSpPr>
            <p:sp>
              <p:nvSpPr>
                <p:cNvPr id="305" name="Rechthoek 304">
                  <a:extLst>
                    <a:ext uri="{FF2B5EF4-FFF2-40B4-BE49-F238E27FC236}">
                      <a16:creationId xmlns:a16="http://schemas.microsoft.com/office/drawing/2014/main" id="{BB7CB496-4839-4C32-BBC9-2CF9F95CAD3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06" name="Groep 305">
                  <a:extLst>
                    <a:ext uri="{FF2B5EF4-FFF2-40B4-BE49-F238E27FC236}">
                      <a16:creationId xmlns:a16="http://schemas.microsoft.com/office/drawing/2014/main" id="{3CCDEFB4-6B50-42AA-BCF5-989459930D65}"/>
                    </a:ext>
                  </a:extLst>
                </p:cNvPr>
                <p:cNvGrpSpPr/>
                <p:nvPr userDrawn="1"/>
              </p:nvGrpSpPr>
              <p:grpSpPr>
                <a:xfrm>
                  <a:off x="-2652453" y="866772"/>
                  <a:ext cx="294076" cy="231526"/>
                  <a:chOff x="-3310843" y="700986"/>
                  <a:chExt cx="182598" cy="143759"/>
                </a:xfrm>
              </p:grpSpPr>
              <p:grpSp>
                <p:nvGrpSpPr>
                  <p:cNvPr id="307" name="Groep 306">
                    <a:extLst>
                      <a:ext uri="{FF2B5EF4-FFF2-40B4-BE49-F238E27FC236}">
                        <a16:creationId xmlns:a16="http://schemas.microsoft.com/office/drawing/2014/main" id="{C571F501-17EB-471C-B103-A2ECE42DA026}"/>
                      </a:ext>
                    </a:extLst>
                  </p:cNvPr>
                  <p:cNvGrpSpPr/>
                  <p:nvPr userDrawn="1"/>
                </p:nvGrpSpPr>
                <p:grpSpPr>
                  <a:xfrm>
                    <a:off x="-3310843" y="700986"/>
                    <a:ext cx="182598" cy="143759"/>
                    <a:chOff x="-3310843" y="700986"/>
                    <a:chExt cx="182598" cy="143759"/>
                  </a:xfrm>
                </p:grpSpPr>
                <p:cxnSp>
                  <p:nvCxnSpPr>
                    <p:cNvPr id="311" name="Rechte verbindingslijn 310">
                      <a:extLst>
                        <a:ext uri="{FF2B5EF4-FFF2-40B4-BE49-F238E27FC236}">
                          <a16:creationId xmlns:a16="http://schemas.microsoft.com/office/drawing/2014/main" id="{423A8C73-3AEC-44FD-838B-F06C8FAF5EC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12" name="Rechte verbindingslijn 311">
                      <a:extLst>
                        <a:ext uri="{FF2B5EF4-FFF2-40B4-BE49-F238E27FC236}">
                          <a16:creationId xmlns:a16="http://schemas.microsoft.com/office/drawing/2014/main" id="{CA7BABB2-5A61-4001-BE84-72A7DCF6DA9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13" name="Rechte verbindingslijn 312">
                      <a:extLst>
                        <a:ext uri="{FF2B5EF4-FFF2-40B4-BE49-F238E27FC236}">
                          <a16:creationId xmlns:a16="http://schemas.microsoft.com/office/drawing/2014/main" id="{5EF8D43D-8971-4CDE-9BE5-331C595F45C4}"/>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14" name="Rechte verbindingslijn 313">
                      <a:extLst>
                        <a:ext uri="{FF2B5EF4-FFF2-40B4-BE49-F238E27FC236}">
                          <a16:creationId xmlns:a16="http://schemas.microsoft.com/office/drawing/2014/main" id="{E69EABD7-1018-4F1A-A7DC-654C2B63FA23}"/>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15" name="Rechte verbindingslijn 314">
                      <a:extLst>
                        <a:ext uri="{FF2B5EF4-FFF2-40B4-BE49-F238E27FC236}">
                          <a16:creationId xmlns:a16="http://schemas.microsoft.com/office/drawing/2014/main" id="{353F2881-7FAD-4C52-93D4-91A1B19FC86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08" name="Groep 307">
                    <a:extLst>
                      <a:ext uri="{FF2B5EF4-FFF2-40B4-BE49-F238E27FC236}">
                        <a16:creationId xmlns:a16="http://schemas.microsoft.com/office/drawing/2014/main" id="{1E606A95-0805-47B1-9C5F-28A16B1C00CD}"/>
                      </a:ext>
                    </a:extLst>
                  </p:cNvPr>
                  <p:cNvGrpSpPr/>
                  <p:nvPr userDrawn="1"/>
                </p:nvGrpSpPr>
                <p:grpSpPr>
                  <a:xfrm flipH="1">
                    <a:off x="-3310774" y="735854"/>
                    <a:ext cx="88801" cy="72568"/>
                    <a:chOff x="-2091059" y="1395403"/>
                    <a:chExt cx="157316" cy="128558"/>
                  </a:xfrm>
                </p:grpSpPr>
                <p:sp>
                  <p:nvSpPr>
                    <p:cNvPr id="309" name="Rechthoek 308">
                      <a:extLst>
                        <a:ext uri="{FF2B5EF4-FFF2-40B4-BE49-F238E27FC236}">
                          <a16:creationId xmlns:a16="http://schemas.microsoft.com/office/drawing/2014/main" id="{7EE29D92-967B-48CF-A5D2-E4B4B21B191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10" name="Pijl: punthaak 309">
                      <a:extLst>
                        <a:ext uri="{FF2B5EF4-FFF2-40B4-BE49-F238E27FC236}">
                          <a16:creationId xmlns:a16="http://schemas.microsoft.com/office/drawing/2014/main" id="{FBA67239-977D-440E-AE03-3AE3E028DBD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03" name="Rechthoek 302">
                <a:extLst>
                  <a:ext uri="{FF2B5EF4-FFF2-40B4-BE49-F238E27FC236}">
                    <a16:creationId xmlns:a16="http://schemas.microsoft.com/office/drawing/2014/main" id="{D979A2D8-81FE-4BCD-BADA-91AD8746A264}"/>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04" name="Rechthoek 303">
                <a:extLst>
                  <a:ext uri="{FF2B5EF4-FFF2-40B4-BE49-F238E27FC236}">
                    <a16:creationId xmlns:a16="http://schemas.microsoft.com/office/drawing/2014/main" id="{D68C72D0-9FD9-4693-981C-9B416A7D35B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77" name="Rechte verbindingslijn 276">
              <a:extLst>
                <a:ext uri="{FF2B5EF4-FFF2-40B4-BE49-F238E27FC236}">
                  <a16:creationId xmlns:a16="http://schemas.microsoft.com/office/drawing/2014/main" id="{6C0B3FB9-41CF-4BC6-98F9-D3CAAA322063}"/>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78" name="Rechthoek 277">
              <a:extLst>
                <a:ext uri="{FF2B5EF4-FFF2-40B4-BE49-F238E27FC236}">
                  <a16:creationId xmlns:a16="http://schemas.microsoft.com/office/drawing/2014/main" id="{40AA104A-4848-46BB-90CB-701EAF032CC2}"/>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79" name="Ovaal 278">
              <a:extLst>
                <a:ext uri="{FF2B5EF4-FFF2-40B4-BE49-F238E27FC236}">
                  <a16:creationId xmlns:a16="http://schemas.microsoft.com/office/drawing/2014/main" id="{8530AAB3-6524-4FB3-8C05-AE64885833F2}"/>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80" name="Rechthoek 279">
              <a:extLst>
                <a:ext uri="{FF2B5EF4-FFF2-40B4-BE49-F238E27FC236}">
                  <a16:creationId xmlns:a16="http://schemas.microsoft.com/office/drawing/2014/main" id="{33610B47-7565-4647-8573-576B6C3CDD1D}"/>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81" name="Ovaal 280">
              <a:extLst>
                <a:ext uri="{FF2B5EF4-FFF2-40B4-BE49-F238E27FC236}">
                  <a16:creationId xmlns:a16="http://schemas.microsoft.com/office/drawing/2014/main" id="{741069FF-A6CB-4546-BDA1-CBF693B8DF2B}"/>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82" name="Rechthoek 281">
              <a:extLst>
                <a:ext uri="{FF2B5EF4-FFF2-40B4-BE49-F238E27FC236}">
                  <a16:creationId xmlns:a16="http://schemas.microsoft.com/office/drawing/2014/main" id="{C479C393-5B63-4575-8739-3FD944333338}"/>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83" name="Ovaal 282">
              <a:extLst>
                <a:ext uri="{FF2B5EF4-FFF2-40B4-BE49-F238E27FC236}">
                  <a16:creationId xmlns:a16="http://schemas.microsoft.com/office/drawing/2014/main" id="{C8C6C7B0-3A42-4386-A401-0DDDA8347831}"/>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84" name="Rechthoek 283">
              <a:extLst>
                <a:ext uri="{FF2B5EF4-FFF2-40B4-BE49-F238E27FC236}">
                  <a16:creationId xmlns:a16="http://schemas.microsoft.com/office/drawing/2014/main" id="{A3E3C4BB-F431-4EBF-9487-AAFB25614F9C}"/>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85" name="Ovaal 284">
              <a:extLst>
                <a:ext uri="{FF2B5EF4-FFF2-40B4-BE49-F238E27FC236}">
                  <a16:creationId xmlns:a16="http://schemas.microsoft.com/office/drawing/2014/main" id="{453597BF-B3E9-4909-8674-E3F79EB1C33C}"/>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86" name="Rechthoek 285">
              <a:extLst>
                <a:ext uri="{FF2B5EF4-FFF2-40B4-BE49-F238E27FC236}">
                  <a16:creationId xmlns:a16="http://schemas.microsoft.com/office/drawing/2014/main" id="{4C673CB1-DAD9-42DC-96CC-94867620DF98}"/>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87" name="Rechthoek 286">
              <a:extLst>
                <a:ext uri="{FF2B5EF4-FFF2-40B4-BE49-F238E27FC236}">
                  <a16:creationId xmlns:a16="http://schemas.microsoft.com/office/drawing/2014/main" id="{E7F8FE0F-72BF-431D-8BB3-393A13A84BE9}"/>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88" name="Rechte verbindingslijn 287">
              <a:extLst>
                <a:ext uri="{FF2B5EF4-FFF2-40B4-BE49-F238E27FC236}">
                  <a16:creationId xmlns:a16="http://schemas.microsoft.com/office/drawing/2014/main" id="{72F79BD1-79D7-486F-B546-B8E1B4121840}"/>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89" name="Ovaal 288">
              <a:extLst>
                <a:ext uri="{FF2B5EF4-FFF2-40B4-BE49-F238E27FC236}">
                  <a16:creationId xmlns:a16="http://schemas.microsoft.com/office/drawing/2014/main" id="{89110FBF-F25A-48FF-BA54-6EAD12112972}"/>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90" name="Rechthoek 289">
              <a:extLst>
                <a:ext uri="{FF2B5EF4-FFF2-40B4-BE49-F238E27FC236}">
                  <a16:creationId xmlns:a16="http://schemas.microsoft.com/office/drawing/2014/main" id="{0A8FAFE3-8015-4785-A4A9-0BD9D9E6F9F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291" name="Ovaal 290">
              <a:extLst>
                <a:ext uri="{FF2B5EF4-FFF2-40B4-BE49-F238E27FC236}">
                  <a16:creationId xmlns:a16="http://schemas.microsoft.com/office/drawing/2014/main" id="{55C51649-CDB7-4785-BF19-34398664A7E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92" name="Rechthoek 291">
              <a:extLst>
                <a:ext uri="{FF2B5EF4-FFF2-40B4-BE49-F238E27FC236}">
                  <a16:creationId xmlns:a16="http://schemas.microsoft.com/office/drawing/2014/main" id="{A8BA24B8-E5F7-4048-8C16-644FB84F8C11}"/>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3423141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KST / AFBEELDING (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775222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70C1B01D-1909-4062-9272-B0E5D3E8E9BA}"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AFBEELDING (S)</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8832474" y="1459111"/>
            <a:ext cx="2819272" cy="4119774"/>
          </a:xfrm>
          <a:prstGeom prst="roundRect">
            <a:avLst>
              <a:gd name="adj" fmla="val 1562"/>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311" name="Instructie">
            <a:extLst>
              <a:ext uri="{FF2B5EF4-FFF2-40B4-BE49-F238E27FC236}">
                <a16:creationId xmlns:a16="http://schemas.microsoft.com/office/drawing/2014/main" id="{6EC4EDE5-D76F-42E8-99B1-018BA2951E38}"/>
              </a:ext>
            </a:extLst>
          </p:cNvPr>
          <p:cNvGrpSpPr/>
          <p:nvPr userDrawn="1"/>
        </p:nvGrpSpPr>
        <p:grpSpPr>
          <a:xfrm>
            <a:off x="-3437547" y="1434"/>
            <a:ext cx="3201327" cy="6041867"/>
            <a:chOff x="-3437547" y="1434"/>
            <a:chExt cx="3201327" cy="6041867"/>
          </a:xfrm>
        </p:grpSpPr>
        <p:cxnSp>
          <p:nvCxnSpPr>
            <p:cNvPr id="312" name="Rechte verbindingslijn 311">
              <a:extLst>
                <a:ext uri="{FF2B5EF4-FFF2-40B4-BE49-F238E27FC236}">
                  <a16:creationId xmlns:a16="http://schemas.microsoft.com/office/drawing/2014/main" id="{FACF5DB2-5ABA-418F-9DCE-C8B6D935766E}"/>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3" name="Ovaal 312">
              <a:extLst>
                <a:ext uri="{FF2B5EF4-FFF2-40B4-BE49-F238E27FC236}">
                  <a16:creationId xmlns:a16="http://schemas.microsoft.com/office/drawing/2014/main" id="{4CB622CE-714B-4F19-B7A6-B17BBFA2B20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4" name="Rechthoek 313">
              <a:extLst>
                <a:ext uri="{FF2B5EF4-FFF2-40B4-BE49-F238E27FC236}">
                  <a16:creationId xmlns:a16="http://schemas.microsoft.com/office/drawing/2014/main" id="{A3B0D0C5-6650-4323-8DAA-A5E2EA39143D}"/>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5" name="Ovaal 314">
              <a:extLst>
                <a:ext uri="{FF2B5EF4-FFF2-40B4-BE49-F238E27FC236}">
                  <a16:creationId xmlns:a16="http://schemas.microsoft.com/office/drawing/2014/main" id="{933E596B-FFA4-4C73-9F62-F57FB44D0EC7}"/>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16" name="Rechthoek 315">
              <a:extLst>
                <a:ext uri="{FF2B5EF4-FFF2-40B4-BE49-F238E27FC236}">
                  <a16:creationId xmlns:a16="http://schemas.microsoft.com/office/drawing/2014/main" id="{47309AC9-396F-41EA-A05F-FCB6F8937834}"/>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7" name="Ovaal 316">
              <a:extLst>
                <a:ext uri="{FF2B5EF4-FFF2-40B4-BE49-F238E27FC236}">
                  <a16:creationId xmlns:a16="http://schemas.microsoft.com/office/drawing/2014/main" id="{8754AA08-735B-4C39-9384-CB1278D7405C}"/>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18" name="Rechthoek 317">
              <a:extLst>
                <a:ext uri="{FF2B5EF4-FFF2-40B4-BE49-F238E27FC236}">
                  <a16:creationId xmlns:a16="http://schemas.microsoft.com/office/drawing/2014/main" id="{65CBDEA3-1FF3-4432-B08E-E760C7A11EBC}"/>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19" name="Ovaal 318">
              <a:extLst>
                <a:ext uri="{FF2B5EF4-FFF2-40B4-BE49-F238E27FC236}">
                  <a16:creationId xmlns:a16="http://schemas.microsoft.com/office/drawing/2014/main" id="{7641AA04-F501-4A5E-AC0C-FA470C02EA52}"/>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0" name="Rechthoek 319">
              <a:extLst>
                <a:ext uri="{FF2B5EF4-FFF2-40B4-BE49-F238E27FC236}">
                  <a16:creationId xmlns:a16="http://schemas.microsoft.com/office/drawing/2014/main" id="{0EB3FBBB-E00F-4676-A881-4D0250504347}"/>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21" name="Rechthoek 320">
              <a:extLst>
                <a:ext uri="{FF2B5EF4-FFF2-40B4-BE49-F238E27FC236}">
                  <a16:creationId xmlns:a16="http://schemas.microsoft.com/office/drawing/2014/main" id="{080BC829-7C79-410E-84AD-AB37E26F111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2" name="Ovaal 321">
              <a:extLst>
                <a:ext uri="{FF2B5EF4-FFF2-40B4-BE49-F238E27FC236}">
                  <a16:creationId xmlns:a16="http://schemas.microsoft.com/office/drawing/2014/main" id="{4B754F7D-A3FB-4F5A-8930-FBF0BFCCFE0B}"/>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3" name="Rechte verbindingslijn 322">
              <a:extLst>
                <a:ext uri="{FF2B5EF4-FFF2-40B4-BE49-F238E27FC236}">
                  <a16:creationId xmlns:a16="http://schemas.microsoft.com/office/drawing/2014/main" id="{CD5C8E73-AEF1-4F0D-9D88-7DC726AF1174}"/>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4" name="Groep 323">
              <a:extLst>
                <a:ext uri="{FF2B5EF4-FFF2-40B4-BE49-F238E27FC236}">
                  <a16:creationId xmlns:a16="http://schemas.microsoft.com/office/drawing/2014/main" id="{EDAC08E1-768E-45CB-8DEF-06CAA9EBB5D7}"/>
                </a:ext>
              </a:extLst>
            </p:cNvPr>
            <p:cNvGrpSpPr/>
            <p:nvPr userDrawn="1"/>
          </p:nvGrpSpPr>
          <p:grpSpPr>
            <a:xfrm>
              <a:off x="-3437547" y="1295337"/>
              <a:ext cx="2933825" cy="558875"/>
              <a:chOff x="-3419346" y="368233"/>
              <a:chExt cx="3904920" cy="743862"/>
            </a:xfrm>
          </p:grpSpPr>
          <p:sp>
            <p:nvSpPr>
              <p:cNvPr id="341" name="Rechthoek 340">
                <a:extLst>
                  <a:ext uri="{FF2B5EF4-FFF2-40B4-BE49-F238E27FC236}">
                    <a16:creationId xmlns:a16="http://schemas.microsoft.com/office/drawing/2014/main" id="{9DA66142-124E-4A6A-AA99-8C97B74F0F4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2" name="Rechte verbindingslijn 341">
                <a:extLst>
                  <a:ext uri="{FF2B5EF4-FFF2-40B4-BE49-F238E27FC236}">
                    <a16:creationId xmlns:a16="http://schemas.microsoft.com/office/drawing/2014/main" id="{CFA9B92F-748A-4A77-8573-11CF6DCE0DB3}"/>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3" name="Rechte verbindingslijn 342">
                <a:extLst>
                  <a:ext uri="{FF2B5EF4-FFF2-40B4-BE49-F238E27FC236}">
                    <a16:creationId xmlns:a16="http://schemas.microsoft.com/office/drawing/2014/main" id="{8F1B524C-24EE-43CB-BBB7-2261BF93C91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4" name="Rechthoek 343">
                <a:extLst>
                  <a:ext uri="{FF2B5EF4-FFF2-40B4-BE49-F238E27FC236}">
                    <a16:creationId xmlns:a16="http://schemas.microsoft.com/office/drawing/2014/main" id="{EFA26898-2D89-403D-AF0D-234E565CF636}"/>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45" name="Groep 344">
                <a:extLst>
                  <a:ext uri="{FF2B5EF4-FFF2-40B4-BE49-F238E27FC236}">
                    <a16:creationId xmlns:a16="http://schemas.microsoft.com/office/drawing/2014/main" id="{DC7D3128-E12B-4ECE-A589-BBE7A81AF38E}"/>
                  </a:ext>
                </a:extLst>
              </p:cNvPr>
              <p:cNvGrpSpPr/>
              <p:nvPr userDrawn="1"/>
            </p:nvGrpSpPr>
            <p:grpSpPr>
              <a:xfrm>
                <a:off x="-3002834" y="720303"/>
                <a:ext cx="182598" cy="143759"/>
                <a:chOff x="-3310843" y="700986"/>
                <a:chExt cx="182598" cy="143759"/>
              </a:xfrm>
            </p:grpSpPr>
            <p:grpSp>
              <p:nvGrpSpPr>
                <p:cNvPr id="384" name="Groep 383">
                  <a:extLst>
                    <a:ext uri="{FF2B5EF4-FFF2-40B4-BE49-F238E27FC236}">
                      <a16:creationId xmlns:a16="http://schemas.microsoft.com/office/drawing/2014/main" id="{A2DEA057-FEA7-4D5C-A28B-6F3C7C71E0E2}"/>
                    </a:ext>
                  </a:extLst>
                </p:cNvPr>
                <p:cNvGrpSpPr/>
                <p:nvPr userDrawn="1"/>
              </p:nvGrpSpPr>
              <p:grpSpPr>
                <a:xfrm>
                  <a:off x="-3310843" y="700986"/>
                  <a:ext cx="182598" cy="143759"/>
                  <a:chOff x="-3310843" y="700986"/>
                  <a:chExt cx="182598" cy="143759"/>
                </a:xfrm>
              </p:grpSpPr>
              <p:cxnSp>
                <p:nvCxnSpPr>
                  <p:cNvPr id="388" name="Rechte verbindingslijn 387">
                    <a:extLst>
                      <a:ext uri="{FF2B5EF4-FFF2-40B4-BE49-F238E27FC236}">
                        <a16:creationId xmlns:a16="http://schemas.microsoft.com/office/drawing/2014/main" id="{2585BEBE-784B-4514-A895-AF1A9126C5D2}"/>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89" name="Rechte verbindingslijn 388">
                    <a:extLst>
                      <a:ext uri="{FF2B5EF4-FFF2-40B4-BE49-F238E27FC236}">
                        <a16:creationId xmlns:a16="http://schemas.microsoft.com/office/drawing/2014/main" id="{6ED62856-91FD-4925-A6B9-EEA30371B89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0" name="Rechte verbindingslijn 389">
                    <a:extLst>
                      <a:ext uri="{FF2B5EF4-FFF2-40B4-BE49-F238E27FC236}">
                        <a16:creationId xmlns:a16="http://schemas.microsoft.com/office/drawing/2014/main" id="{DA802B00-DF4A-42F3-B849-94BCCDCEC4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58CA2412-7824-4571-A066-7997DEA4A741}"/>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E21AEC1F-2229-442D-9B67-ACFAB7690A58}"/>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85" name="Groep 384">
                  <a:extLst>
                    <a:ext uri="{FF2B5EF4-FFF2-40B4-BE49-F238E27FC236}">
                      <a16:creationId xmlns:a16="http://schemas.microsoft.com/office/drawing/2014/main" id="{33F47883-1082-408E-A24D-3F397A59BCDD}"/>
                    </a:ext>
                  </a:extLst>
                </p:cNvPr>
                <p:cNvGrpSpPr/>
                <p:nvPr userDrawn="1"/>
              </p:nvGrpSpPr>
              <p:grpSpPr>
                <a:xfrm flipH="1">
                  <a:off x="-3310774" y="735854"/>
                  <a:ext cx="88801" cy="72568"/>
                  <a:chOff x="-2091059" y="1395403"/>
                  <a:chExt cx="157316" cy="128558"/>
                </a:xfrm>
              </p:grpSpPr>
              <p:sp>
                <p:nvSpPr>
                  <p:cNvPr id="386" name="Rechthoek 385">
                    <a:extLst>
                      <a:ext uri="{FF2B5EF4-FFF2-40B4-BE49-F238E27FC236}">
                        <a16:creationId xmlns:a16="http://schemas.microsoft.com/office/drawing/2014/main" id="{6EF6CAA6-E626-481C-B9BD-B6F6309B97E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7" name="Pijl: punthaak 386">
                    <a:extLst>
                      <a:ext uri="{FF2B5EF4-FFF2-40B4-BE49-F238E27FC236}">
                        <a16:creationId xmlns:a16="http://schemas.microsoft.com/office/drawing/2014/main" id="{592E89F8-EE36-4B11-B44D-71F9D2A0F8E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46" name="Groep 345">
                <a:extLst>
                  <a:ext uri="{FF2B5EF4-FFF2-40B4-BE49-F238E27FC236}">
                    <a16:creationId xmlns:a16="http://schemas.microsoft.com/office/drawing/2014/main" id="{2B1E59A3-A674-4FC8-96F9-6EB7F00F3F38}"/>
                  </a:ext>
                </a:extLst>
              </p:cNvPr>
              <p:cNvGrpSpPr/>
              <p:nvPr userDrawn="1"/>
            </p:nvGrpSpPr>
            <p:grpSpPr>
              <a:xfrm>
                <a:off x="-3326107" y="720303"/>
                <a:ext cx="182598" cy="143759"/>
                <a:chOff x="-3634116" y="700986"/>
                <a:chExt cx="182598" cy="143759"/>
              </a:xfrm>
            </p:grpSpPr>
            <p:grpSp>
              <p:nvGrpSpPr>
                <p:cNvPr id="375" name="Groep 374">
                  <a:extLst>
                    <a:ext uri="{FF2B5EF4-FFF2-40B4-BE49-F238E27FC236}">
                      <a16:creationId xmlns:a16="http://schemas.microsoft.com/office/drawing/2014/main" id="{1C3E57BA-516B-42D5-BD12-71D3CCC75570}"/>
                    </a:ext>
                  </a:extLst>
                </p:cNvPr>
                <p:cNvGrpSpPr/>
                <p:nvPr userDrawn="1"/>
              </p:nvGrpSpPr>
              <p:grpSpPr>
                <a:xfrm>
                  <a:off x="-3634116" y="700986"/>
                  <a:ext cx="182598" cy="143759"/>
                  <a:chOff x="-3634116" y="700986"/>
                  <a:chExt cx="182598" cy="143759"/>
                </a:xfrm>
              </p:grpSpPr>
              <p:cxnSp>
                <p:nvCxnSpPr>
                  <p:cNvPr id="379" name="Rechte verbindingslijn 378">
                    <a:extLst>
                      <a:ext uri="{FF2B5EF4-FFF2-40B4-BE49-F238E27FC236}">
                        <a16:creationId xmlns:a16="http://schemas.microsoft.com/office/drawing/2014/main" id="{A2F5093B-6601-4390-8FE6-5367351A565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932800E5-6A0B-4BBC-991C-2ABFB450E8E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1" name="Rechte verbindingslijn 380">
                    <a:extLst>
                      <a:ext uri="{FF2B5EF4-FFF2-40B4-BE49-F238E27FC236}">
                        <a16:creationId xmlns:a16="http://schemas.microsoft.com/office/drawing/2014/main" id="{D2826148-49A7-4A12-8F71-61E8BF8ED440}"/>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9A05BCD9-A886-4B24-898D-CA12B80F267E}"/>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EFAEF72F-6930-4549-AA1A-E8C32D2B30D0}"/>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76" name="Groep 375">
                  <a:extLst>
                    <a:ext uri="{FF2B5EF4-FFF2-40B4-BE49-F238E27FC236}">
                      <a16:creationId xmlns:a16="http://schemas.microsoft.com/office/drawing/2014/main" id="{BC0E46A3-A281-4870-88AA-644133C509E0}"/>
                    </a:ext>
                  </a:extLst>
                </p:cNvPr>
                <p:cNvGrpSpPr/>
                <p:nvPr userDrawn="1"/>
              </p:nvGrpSpPr>
              <p:grpSpPr>
                <a:xfrm>
                  <a:off x="-3634047" y="735854"/>
                  <a:ext cx="88801" cy="72568"/>
                  <a:chOff x="-2091059" y="1395403"/>
                  <a:chExt cx="157316" cy="128558"/>
                </a:xfrm>
              </p:grpSpPr>
              <p:sp>
                <p:nvSpPr>
                  <p:cNvPr id="377" name="Rechthoek 376">
                    <a:extLst>
                      <a:ext uri="{FF2B5EF4-FFF2-40B4-BE49-F238E27FC236}">
                        <a16:creationId xmlns:a16="http://schemas.microsoft.com/office/drawing/2014/main" id="{69565C2C-6843-493F-81DB-0603A5E2A98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8" name="Pijl: punthaak 377">
                    <a:extLst>
                      <a:ext uri="{FF2B5EF4-FFF2-40B4-BE49-F238E27FC236}">
                        <a16:creationId xmlns:a16="http://schemas.microsoft.com/office/drawing/2014/main" id="{AA4ED2F2-FC6A-46F4-8942-D8CF9F09E6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47" name="Rechte verbindingslijn 346">
                <a:extLst>
                  <a:ext uri="{FF2B5EF4-FFF2-40B4-BE49-F238E27FC236}">
                    <a16:creationId xmlns:a16="http://schemas.microsoft.com/office/drawing/2014/main" id="{041F7ABF-DE3C-4069-B83B-FDB8D461DCE7}"/>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48" name="Rechte verbindingslijn 347">
                <a:extLst>
                  <a:ext uri="{FF2B5EF4-FFF2-40B4-BE49-F238E27FC236}">
                    <a16:creationId xmlns:a16="http://schemas.microsoft.com/office/drawing/2014/main" id="{985D3FD8-A92C-46DD-A624-8208431B3B2C}"/>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49" name="Groep 348">
                <a:extLst>
                  <a:ext uri="{FF2B5EF4-FFF2-40B4-BE49-F238E27FC236}">
                    <a16:creationId xmlns:a16="http://schemas.microsoft.com/office/drawing/2014/main" id="{63692241-10BA-40DA-A765-D426FE5784A9}"/>
                  </a:ext>
                </a:extLst>
              </p:cNvPr>
              <p:cNvGrpSpPr/>
              <p:nvPr userDrawn="1"/>
            </p:nvGrpSpPr>
            <p:grpSpPr>
              <a:xfrm>
                <a:off x="-2425037" y="370226"/>
                <a:ext cx="357690" cy="330595"/>
                <a:chOff x="-2721817" y="347336"/>
                <a:chExt cx="432805" cy="400021"/>
              </a:xfrm>
            </p:grpSpPr>
            <p:sp>
              <p:nvSpPr>
                <p:cNvPr id="364" name="Rechthoek 363">
                  <a:extLst>
                    <a:ext uri="{FF2B5EF4-FFF2-40B4-BE49-F238E27FC236}">
                      <a16:creationId xmlns:a16="http://schemas.microsoft.com/office/drawing/2014/main" id="{1AB73BB9-5307-4CE6-B310-ABB6C55FA3B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65" name="Groep 364">
                  <a:extLst>
                    <a:ext uri="{FF2B5EF4-FFF2-40B4-BE49-F238E27FC236}">
                      <a16:creationId xmlns:a16="http://schemas.microsoft.com/office/drawing/2014/main" id="{7050BBFE-A35A-4E23-AB7A-036B417D2BC6}"/>
                    </a:ext>
                  </a:extLst>
                </p:cNvPr>
                <p:cNvGrpSpPr/>
                <p:nvPr userDrawn="1"/>
              </p:nvGrpSpPr>
              <p:grpSpPr>
                <a:xfrm>
                  <a:off x="-2652453" y="431583"/>
                  <a:ext cx="294076" cy="231526"/>
                  <a:chOff x="-3634116" y="700986"/>
                  <a:chExt cx="182598" cy="143759"/>
                </a:xfrm>
              </p:grpSpPr>
              <p:grpSp>
                <p:nvGrpSpPr>
                  <p:cNvPr id="366" name="Groep 365">
                    <a:extLst>
                      <a:ext uri="{FF2B5EF4-FFF2-40B4-BE49-F238E27FC236}">
                        <a16:creationId xmlns:a16="http://schemas.microsoft.com/office/drawing/2014/main" id="{4900E8C6-DC4B-48F2-B47F-7442887733A7}"/>
                      </a:ext>
                    </a:extLst>
                  </p:cNvPr>
                  <p:cNvGrpSpPr/>
                  <p:nvPr userDrawn="1"/>
                </p:nvGrpSpPr>
                <p:grpSpPr>
                  <a:xfrm>
                    <a:off x="-3634116" y="700986"/>
                    <a:ext cx="182598" cy="143759"/>
                    <a:chOff x="-3634116" y="700986"/>
                    <a:chExt cx="182598" cy="143759"/>
                  </a:xfrm>
                </p:grpSpPr>
                <p:cxnSp>
                  <p:nvCxnSpPr>
                    <p:cNvPr id="370" name="Rechte verbindingslijn 369">
                      <a:extLst>
                        <a:ext uri="{FF2B5EF4-FFF2-40B4-BE49-F238E27FC236}">
                          <a16:creationId xmlns:a16="http://schemas.microsoft.com/office/drawing/2014/main" id="{2AD75CF8-F235-43E4-8EBF-BCB0C6FEF72A}"/>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1" name="Rechte verbindingslijn 370">
                      <a:extLst>
                        <a:ext uri="{FF2B5EF4-FFF2-40B4-BE49-F238E27FC236}">
                          <a16:creationId xmlns:a16="http://schemas.microsoft.com/office/drawing/2014/main" id="{0ABA2FE7-97F3-408A-9795-C13CE32FD53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2" name="Rechte verbindingslijn 371">
                      <a:extLst>
                        <a:ext uri="{FF2B5EF4-FFF2-40B4-BE49-F238E27FC236}">
                          <a16:creationId xmlns:a16="http://schemas.microsoft.com/office/drawing/2014/main" id="{BB56F574-CB03-427E-80BD-88FDF8C8835E}"/>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3" name="Rechte verbindingslijn 372">
                      <a:extLst>
                        <a:ext uri="{FF2B5EF4-FFF2-40B4-BE49-F238E27FC236}">
                          <a16:creationId xmlns:a16="http://schemas.microsoft.com/office/drawing/2014/main" id="{92BDBBE3-3134-4431-AA15-33D05C56B0DD}"/>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4" name="Rechte verbindingslijn 373">
                      <a:extLst>
                        <a:ext uri="{FF2B5EF4-FFF2-40B4-BE49-F238E27FC236}">
                          <a16:creationId xmlns:a16="http://schemas.microsoft.com/office/drawing/2014/main" id="{3D77D2D0-8677-45BD-9A26-EBAF0A6D435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67" name="Groep 366">
                    <a:extLst>
                      <a:ext uri="{FF2B5EF4-FFF2-40B4-BE49-F238E27FC236}">
                        <a16:creationId xmlns:a16="http://schemas.microsoft.com/office/drawing/2014/main" id="{3191988B-A423-4740-B746-736CEB6161F4}"/>
                      </a:ext>
                    </a:extLst>
                  </p:cNvPr>
                  <p:cNvGrpSpPr/>
                  <p:nvPr userDrawn="1"/>
                </p:nvGrpSpPr>
                <p:grpSpPr>
                  <a:xfrm>
                    <a:off x="-3634047" y="735854"/>
                    <a:ext cx="88801" cy="72568"/>
                    <a:chOff x="-2091059" y="1395403"/>
                    <a:chExt cx="157316" cy="128558"/>
                  </a:xfrm>
                </p:grpSpPr>
                <p:sp>
                  <p:nvSpPr>
                    <p:cNvPr id="368" name="Rechthoek 367">
                      <a:extLst>
                        <a:ext uri="{FF2B5EF4-FFF2-40B4-BE49-F238E27FC236}">
                          <a16:creationId xmlns:a16="http://schemas.microsoft.com/office/drawing/2014/main" id="{9836BB2F-0E2F-4B70-8ED0-BAB1DB9352A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9" name="Pijl: punthaak 368">
                      <a:extLst>
                        <a:ext uri="{FF2B5EF4-FFF2-40B4-BE49-F238E27FC236}">
                          <a16:creationId xmlns:a16="http://schemas.microsoft.com/office/drawing/2014/main" id="{6E04973E-FDFE-4561-B2C8-0158E486E22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0" name="Groep 349">
                <a:extLst>
                  <a:ext uri="{FF2B5EF4-FFF2-40B4-BE49-F238E27FC236}">
                    <a16:creationId xmlns:a16="http://schemas.microsoft.com/office/drawing/2014/main" id="{4D9F4F4D-120F-4CF2-BDB2-B517DE892175}"/>
                  </a:ext>
                </a:extLst>
              </p:cNvPr>
              <p:cNvGrpSpPr/>
              <p:nvPr userDrawn="1"/>
            </p:nvGrpSpPr>
            <p:grpSpPr>
              <a:xfrm>
                <a:off x="-2425037" y="781500"/>
                <a:ext cx="357690" cy="330595"/>
                <a:chOff x="-2721817" y="782525"/>
                <a:chExt cx="432805" cy="400021"/>
              </a:xfrm>
            </p:grpSpPr>
            <p:sp>
              <p:nvSpPr>
                <p:cNvPr id="353" name="Rechthoek 352">
                  <a:extLst>
                    <a:ext uri="{FF2B5EF4-FFF2-40B4-BE49-F238E27FC236}">
                      <a16:creationId xmlns:a16="http://schemas.microsoft.com/office/drawing/2014/main" id="{78A68044-80C9-46AA-AB89-69790C3962A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4" name="Groep 353">
                  <a:extLst>
                    <a:ext uri="{FF2B5EF4-FFF2-40B4-BE49-F238E27FC236}">
                      <a16:creationId xmlns:a16="http://schemas.microsoft.com/office/drawing/2014/main" id="{82A7C0C9-83B2-4948-8D8D-EF3C433A3F37}"/>
                    </a:ext>
                  </a:extLst>
                </p:cNvPr>
                <p:cNvGrpSpPr/>
                <p:nvPr userDrawn="1"/>
              </p:nvGrpSpPr>
              <p:grpSpPr>
                <a:xfrm>
                  <a:off x="-2652453" y="866772"/>
                  <a:ext cx="294076" cy="231526"/>
                  <a:chOff x="-3310843" y="700986"/>
                  <a:chExt cx="182598" cy="143759"/>
                </a:xfrm>
              </p:grpSpPr>
              <p:grpSp>
                <p:nvGrpSpPr>
                  <p:cNvPr id="355" name="Groep 354">
                    <a:extLst>
                      <a:ext uri="{FF2B5EF4-FFF2-40B4-BE49-F238E27FC236}">
                        <a16:creationId xmlns:a16="http://schemas.microsoft.com/office/drawing/2014/main" id="{5EC5AD4E-00E6-438F-8D25-C17EC55CF177}"/>
                      </a:ext>
                    </a:extLst>
                  </p:cNvPr>
                  <p:cNvGrpSpPr/>
                  <p:nvPr userDrawn="1"/>
                </p:nvGrpSpPr>
                <p:grpSpPr>
                  <a:xfrm>
                    <a:off x="-3310843" y="700986"/>
                    <a:ext cx="182598" cy="143759"/>
                    <a:chOff x="-3310843" y="700986"/>
                    <a:chExt cx="182598" cy="143759"/>
                  </a:xfrm>
                </p:grpSpPr>
                <p:cxnSp>
                  <p:nvCxnSpPr>
                    <p:cNvPr id="359" name="Rechte verbindingslijn 358">
                      <a:extLst>
                        <a:ext uri="{FF2B5EF4-FFF2-40B4-BE49-F238E27FC236}">
                          <a16:creationId xmlns:a16="http://schemas.microsoft.com/office/drawing/2014/main" id="{F586A73D-E565-4E0C-855B-59C4D7D7DD8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0" name="Rechte verbindingslijn 359">
                      <a:extLst>
                        <a:ext uri="{FF2B5EF4-FFF2-40B4-BE49-F238E27FC236}">
                          <a16:creationId xmlns:a16="http://schemas.microsoft.com/office/drawing/2014/main" id="{CBC3761A-5808-4C8B-9C55-5C48B34CA743}"/>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1" name="Rechte verbindingslijn 360">
                      <a:extLst>
                        <a:ext uri="{FF2B5EF4-FFF2-40B4-BE49-F238E27FC236}">
                          <a16:creationId xmlns:a16="http://schemas.microsoft.com/office/drawing/2014/main" id="{826EECE1-F2E6-4E25-8B52-2A9F25A1463B}"/>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2A37E3DE-5E44-41FF-B70B-000D642862D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3" name="Rechte verbindingslijn 362">
                      <a:extLst>
                        <a:ext uri="{FF2B5EF4-FFF2-40B4-BE49-F238E27FC236}">
                          <a16:creationId xmlns:a16="http://schemas.microsoft.com/office/drawing/2014/main" id="{3C44D74D-9DAB-4642-B177-CC4186CC575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56" name="Groep 355">
                    <a:extLst>
                      <a:ext uri="{FF2B5EF4-FFF2-40B4-BE49-F238E27FC236}">
                        <a16:creationId xmlns:a16="http://schemas.microsoft.com/office/drawing/2014/main" id="{F90E9ED6-7F69-4EE5-B45A-DA998970F8A5}"/>
                      </a:ext>
                    </a:extLst>
                  </p:cNvPr>
                  <p:cNvGrpSpPr/>
                  <p:nvPr userDrawn="1"/>
                </p:nvGrpSpPr>
                <p:grpSpPr>
                  <a:xfrm flipH="1">
                    <a:off x="-3310774" y="735854"/>
                    <a:ext cx="88801" cy="72568"/>
                    <a:chOff x="-2091059" y="1395403"/>
                    <a:chExt cx="157316" cy="128558"/>
                  </a:xfrm>
                </p:grpSpPr>
                <p:sp>
                  <p:nvSpPr>
                    <p:cNvPr id="357" name="Rechthoek 356">
                      <a:extLst>
                        <a:ext uri="{FF2B5EF4-FFF2-40B4-BE49-F238E27FC236}">
                          <a16:creationId xmlns:a16="http://schemas.microsoft.com/office/drawing/2014/main" id="{48C720B0-5B50-4EB2-9830-559DC775B33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58" name="Pijl: punthaak 357">
                      <a:extLst>
                        <a:ext uri="{FF2B5EF4-FFF2-40B4-BE49-F238E27FC236}">
                          <a16:creationId xmlns:a16="http://schemas.microsoft.com/office/drawing/2014/main" id="{5D37504B-BF55-4936-B4AD-73EA6C83F91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1" name="Rechthoek 350">
                <a:extLst>
                  <a:ext uri="{FF2B5EF4-FFF2-40B4-BE49-F238E27FC236}">
                    <a16:creationId xmlns:a16="http://schemas.microsoft.com/office/drawing/2014/main" id="{B00C6C92-B3F8-4BE5-BD75-9855319C87C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2" name="Rechthoek 351">
                <a:extLst>
                  <a:ext uri="{FF2B5EF4-FFF2-40B4-BE49-F238E27FC236}">
                    <a16:creationId xmlns:a16="http://schemas.microsoft.com/office/drawing/2014/main" id="{98D1D357-2F34-4A4E-8E12-4A703EB67C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25" name="Rechte verbindingslijn 324">
              <a:extLst>
                <a:ext uri="{FF2B5EF4-FFF2-40B4-BE49-F238E27FC236}">
                  <a16:creationId xmlns:a16="http://schemas.microsoft.com/office/drawing/2014/main" id="{78204972-6B44-4A43-B7E9-847E7C5BF9EE}"/>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26" name="Rechthoek 325">
              <a:extLst>
                <a:ext uri="{FF2B5EF4-FFF2-40B4-BE49-F238E27FC236}">
                  <a16:creationId xmlns:a16="http://schemas.microsoft.com/office/drawing/2014/main" id="{518BFF35-59B7-4758-8E44-207484C0F3B1}"/>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7" name="Ovaal 326">
              <a:extLst>
                <a:ext uri="{FF2B5EF4-FFF2-40B4-BE49-F238E27FC236}">
                  <a16:creationId xmlns:a16="http://schemas.microsoft.com/office/drawing/2014/main" id="{86267990-F8CA-46B4-84B9-4547231FF171}"/>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28" name="Rechthoek 327">
              <a:extLst>
                <a:ext uri="{FF2B5EF4-FFF2-40B4-BE49-F238E27FC236}">
                  <a16:creationId xmlns:a16="http://schemas.microsoft.com/office/drawing/2014/main" id="{ACB3F05C-7A84-41B2-80AA-ED6E8C37175C}"/>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29" name="Ovaal 328">
              <a:extLst>
                <a:ext uri="{FF2B5EF4-FFF2-40B4-BE49-F238E27FC236}">
                  <a16:creationId xmlns:a16="http://schemas.microsoft.com/office/drawing/2014/main" id="{67061E4C-F3E4-4983-974A-4AFF29940EDF}"/>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0" name="Rechthoek 329">
              <a:extLst>
                <a:ext uri="{FF2B5EF4-FFF2-40B4-BE49-F238E27FC236}">
                  <a16:creationId xmlns:a16="http://schemas.microsoft.com/office/drawing/2014/main" id="{1799E384-7B67-4008-837C-A03B932F5D8A}"/>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1" name="Ovaal 330">
              <a:extLst>
                <a:ext uri="{FF2B5EF4-FFF2-40B4-BE49-F238E27FC236}">
                  <a16:creationId xmlns:a16="http://schemas.microsoft.com/office/drawing/2014/main" id="{9A597F4B-15B3-4698-AB4D-65F88C53DF85}"/>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2" name="Rechthoek 331">
              <a:extLst>
                <a:ext uri="{FF2B5EF4-FFF2-40B4-BE49-F238E27FC236}">
                  <a16:creationId xmlns:a16="http://schemas.microsoft.com/office/drawing/2014/main" id="{C24DA2C7-923C-47A4-8502-A5517BEF5FB4}"/>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3" name="Ovaal 332">
              <a:extLst>
                <a:ext uri="{FF2B5EF4-FFF2-40B4-BE49-F238E27FC236}">
                  <a16:creationId xmlns:a16="http://schemas.microsoft.com/office/drawing/2014/main" id="{4C3C64EB-8D14-402E-BFE0-4915CF3A7E9D}"/>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4" name="Rechthoek 333">
              <a:extLst>
                <a:ext uri="{FF2B5EF4-FFF2-40B4-BE49-F238E27FC236}">
                  <a16:creationId xmlns:a16="http://schemas.microsoft.com/office/drawing/2014/main" id="{ADBF0AF2-ECF6-48C9-B191-6E26AF901E4C}"/>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35" name="Rechthoek 334">
              <a:extLst>
                <a:ext uri="{FF2B5EF4-FFF2-40B4-BE49-F238E27FC236}">
                  <a16:creationId xmlns:a16="http://schemas.microsoft.com/office/drawing/2014/main" id="{5DEBACAE-13B5-4EB4-A649-E200B928314B}"/>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36" name="Rechte verbindingslijn 335">
              <a:extLst>
                <a:ext uri="{FF2B5EF4-FFF2-40B4-BE49-F238E27FC236}">
                  <a16:creationId xmlns:a16="http://schemas.microsoft.com/office/drawing/2014/main" id="{F7884B7C-59B4-4076-9A85-95DE96F2AFBD}"/>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37" name="Ovaal 336">
              <a:extLst>
                <a:ext uri="{FF2B5EF4-FFF2-40B4-BE49-F238E27FC236}">
                  <a16:creationId xmlns:a16="http://schemas.microsoft.com/office/drawing/2014/main" id="{B2F7E009-2459-4175-B7E9-C62CBD7E968C}"/>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38" name="Rechthoek 337">
              <a:extLst>
                <a:ext uri="{FF2B5EF4-FFF2-40B4-BE49-F238E27FC236}">
                  <a16:creationId xmlns:a16="http://schemas.microsoft.com/office/drawing/2014/main" id="{CDAB2D64-0C51-49B5-8FCE-67ED4BF759E4}"/>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39" name="Ovaal 338">
              <a:extLst>
                <a:ext uri="{FF2B5EF4-FFF2-40B4-BE49-F238E27FC236}">
                  <a16:creationId xmlns:a16="http://schemas.microsoft.com/office/drawing/2014/main" id="{6B81766F-CCFC-401B-8C8C-06BA48813040}"/>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0" name="Rechthoek 339">
              <a:extLst>
                <a:ext uri="{FF2B5EF4-FFF2-40B4-BE49-F238E27FC236}">
                  <a16:creationId xmlns:a16="http://schemas.microsoft.com/office/drawing/2014/main" id="{ACAC3F63-9E69-41A5-9149-58F2682A4DBE}"/>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9" name="Groep 8">
            <a:extLst>
              <a:ext uri="{FF2B5EF4-FFF2-40B4-BE49-F238E27FC236}">
                <a16:creationId xmlns:a16="http://schemas.microsoft.com/office/drawing/2014/main" id="{F331B0C3-F4A4-4D40-9C26-BE456E58414C}"/>
              </a:ext>
            </a:extLst>
          </p:cNvPr>
          <p:cNvGrpSpPr/>
          <p:nvPr userDrawn="1"/>
        </p:nvGrpSpPr>
        <p:grpSpPr>
          <a:xfrm>
            <a:off x="12391601" y="0"/>
            <a:ext cx="3183678" cy="4278621"/>
            <a:chOff x="12391601" y="0"/>
            <a:chExt cx="3183678" cy="4278621"/>
          </a:xfrm>
        </p:grpSpPr>
        <p:sp>
          <p:nvSpPr>
            <p:cNvPr id="111" name="Rechthoek 110">
              <a:extLst>
                <a:ext uri="{FF2B5EF4-FFF2-40B4-BE49-F238E27FC236}">
                  <a16:creationId xmlns:a16="http://schemas.microsoft.com/office/drawing/2014/main" id="{88B549F8-A4C9-4E44-ABAC-AECE120C4AD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12" name="Ovaal 111">
              <a:extLst>
                <a:ext uri="{FF2B5EF4-FFF2-40B4-BE49-F238E27FC236}">
                  <a16:creationId xmlns:a16="http://schemas.microsoft.com/office/drawing/2014/main" id="{56811862-094F-4DCA-BADC-8B091B946AB6}"/>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3" name="Rechte verbindingslijn 112">
              <a:extLst>
                <a:ext uri="{FF2B5EF4-FFF2-40B4-BE49-F238E27FC236}">
                  <a16:creationId xmlns:a16="http://schemas.microsoft.com/office/drawing/2014/main" id="{796B5794-0377-4A06-A8A1-9E2B295DE245}"/>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14" name="Rechte verbindingslijn 113">
              <a:extLst>
                <a:ext uri="{FF2B5EF4-FFF2-40B4-BE49-F238E27FC236}">
                  <a16:creationId xmlns:a16="http://schemas.microsoft.com/office/drawing/2014/main" id="{B4BDD475-CFB3-4ABB-9B3C-20C2996A562D}"/>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15" name="Rechthoek 114">
              <a:extLst>
                <a:ext uri="{FF2B5EF4-FFF2-40B4-BE49-F238E27FC236}">
                  <a16:creationId xmlns:a16="http://schemas.microsoft.com/office/drawing/2014/main" id="{A021DF6F-2FB4-45A7-A889-3E9EF31A71D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16" name="Rechte verbindingslijn 115">
              <a:extLst>
                <a:ext uri="{FF2B5EF4-FFF2-40B4-BE49-F238E27FC236}">
                  <a16:creationId xmlns:a16="http://schemas.microsoft.com/office/drawing/2014/main" id="{10BFE8CA-50E9-4C86-B0A1-7BC5D839AEAE}"/>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17" name="Ovaal 116">
              <a:extLst>
                <a:ext uri="{FF2B5EF4-FFF2-40B4-BE49-F238E27FC236}">
                  <a16:creationId xmlns:a16="http://schemas.microsoft.com/office/drawing/2014/main" id="{F5885AC9-2261-4670-B1B0-143BC8CB6BB3}"/>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8" name="Rechthoek 117">
              <a:extLst>
                <a:ext uri="{FF2B5EF4-FFF2-40B4-BE49-F238E27FC236}">
                  <a16:creationId xmlns:a16="http://schemas.microsoft.com/office/drawing/2014/main" id="{22384295-B68B-49EB-8DC8-C03720826EE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19" name="Groep 118">
              <a:extLst>
                <a:ext uri="{FF2B5EF4-FFF2-40B4-BE49-F238E27FC236}">
                  <a16:creationId xmlns:a16="http://schemas.microsoft.com/office/drawing/2014/main" id="{855E9B9C-52C5-400D-80A5-D7003710502F}"/>
                </a:ext>
              </a:extLst>
            </p:cNvPr>
            <p:cNvGrpSpPr/>
            <p:nvPr userDrawn="1"/>
          </p:nvGrpSpPr>
          <p:grpSpPr>
            <a:xfrm>
              <a:off x="12757282" y="2184550"/>
              <a:ext cx="825500" cy="209550"/>
              <a:chOff x="13504624" y="2482850"/>
              <a:chExt cx="825500" cy="209550"/>
            </a:xfrm>
          </p:grpSpPr>
          <p:sp>
            <p:nvSpPr>
              <p:cNvPr id="147" name="Rechthoek 146">
                <a:extLst>
                  <a:ext uri="{FF2B5EF4-FFF2-40B4-BE49-F238E27FC236}">
                    <a16:creationId xmlns:a16="http://schemas.microsoft.com/office/drawing/2014/main" id="{D122E4A9-0414-463C-A582-2F51D35C4DD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48" name="Rechte verbindingslijn 147">
                <a:extLst>
                  <a:ext uri="{FF2B5EF4-FFF2-40B4-BE49-F238E27FC236}">
                    <a16:creationId xmlns:a16="http://schemas.microsoft.com/office/drawing/2014/main" id="{30BA7DAB-407A-47F9-9287-F44B3512C86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9" name="Gelijkbenige driehoek 148">
                <a:extLst>
                  <a:ext uri="{FF2B5EF4-FFF2-40B4-BE49-F238E27FC236}">
                    <a16:creationId xmlns:a16="http://schemas.microsoft.com/office/drawing/2014/main" id="{6E08367C-0759-47FA-8076-506285DAF1D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20" name="Groep 119">
              <a:extLst>
                <a:ext uri="{FF2B5EF4-FFF2-40B4-BE49-F238E27FC236}">
                  <a16:creationId xmlns:a16="http://schemas.microsoft.com/office/drawing/2014/main" id="{1464CAFD-FD2B-463E-9E14-858F0428FE99}"/>
                </a:ext>
              </a:extLst>
            </p:cNvPr>
            <p:cNvGrpSpPr/>
            <p:nvPr userDrawn="1"/>
          </p:nvGrpSpPr>
          <p:grpSpPr>
            <a:xfrm>
              <a:off x="12757282" y="1141626"/>
              <a:ext cx="294789" cy="318834"/>
              <a:chOff x="14466489" y="1001522"/>
              <a:chExt cx="290627" cy="314333"/>
            </a:xfrm>
          </p:grpSpPr>
          <p:sp>
            <p:nvSpPr>
              <p:cNvPr id="141" name="Rechthoek 140">
                <a:extLst>
                  <a:ext uri="{FF2B5EF4-FFF2-40B4-BE49-F238E27FC236}">
                    <a16:creationId xmlns:a16="http://schemas.microsoft.com/office/drawing/2014/main" id="{14D17561-A4AC-4017-8908-102F1C613C1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42" name="Ovaal 141">
                <a:extLst>
                  <a:ext uri="{FF2B5EF4-FFF2-40B4-BE49-F238E27FC236}">
                    <a16:creationId xmlns:a16="http://schemas.microsoft.com/office/drawing/2014/main" id="{4D09424B-7758-435E-B549-4C591C992AC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43" name="Vrije vorm: vorm 142">
                <a:extLst>
                  <a:ext uri="{FF2B5EF4-FFF2-40B4-BE49-F238E27FC236}">
                    <a16:creationId xmlns:a16="http://schemas.microsoft.com/office/drawing/2014/main" id="{9B1870CF-92F0-49E0-822D-045B8027711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44" name="Rechthoek: afgeronde hoeken 143">
                <a:extLst>
                  <a:ext uri="{FF2B5EF4-FFF2-40B4-BE49-F238E27FC236}">
                    <a16:creationId xmlns:a16="http://schemas.microsoft.com/office/drawing/2014/main" id="{D5B2D999-9331-4E31-A4AF-49233FBB1AE1}"/>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145" name="Rechte verbindingslijn 144">
                <a:extLst>
                  <a:ext uri="{FF2B5EF4-FFF2-40B4-BE49-F238E27FC236}">
                    <a16:creationId xmlns:a16="http://schemas.microsoft.com/office/drawing/2014/main" id="{DB2A4F82-38DF-43B1-8E0E-1EB80AC43379}"/>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6" name="Rechte verbindingslijn 145">
                <a:extLst>
                  <a:ext uri="{FF2B5EF4-FFF2-40B4-BE49-F238E27FC236}">
                    <a16:creationId xmlns:a16="http://schemas.microsoft.com/office/drawing/2014/main" id="{75353569-D539-41C9-AD7C-3698F08EECFF}"/>
                  </a:ext>
                </a:extLst>
              </p:cNvPr>
              <p:cNvCxnSpPr>
                <a:cxnSpLocks/>
                <a:stCxn id="14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21" name="Ovaal 120">
              <a:extLst>
                <a:ext uri="{FF2B5EF4-FFF2-40B4-BE49-F238E27FC236}">
                  <a16:creationId xmlns:a16="http://schemas.microsoft.com/office/drawing/2014/main" id="{7E7064C2-0C74-4D63-91A4-B7B3503886E9}"/>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22" name="Rechthoek 121">
              <a:extLst>
                <a:ext uri="{FF2B5EF4-FFF2-40B4-BE49-F238E27FC236}">
                  <a16:creationId xmlns:a16="http://schemas.microsoft.com/office/drawing/2014/main" id="{24A5DFBB-FE8B-4625-9BB1-015E63656E8F}"/>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3" name="Rechte verbindingslijn 122">
              <a:extLst>
                <a:ext uri="{FF2B5EF4-FFF2-40B4-BE49-F238E27FC236}">
                  <a16:creationId xmlns:a16="http://schemas.microsoft.com/office/drawing/2014/main" id="{D5D1ABD1-D8CD-458D-A41F-791A0AE0121C}"/>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4" name="Groep 123">
              <a:extLst>
                <a:ext uri="{FF2B5EF4-FFF2-40B4-BE49-F238E27FC236}">
                  <a16:creationId xmlns:a16="http://schemas.microsoft.com/office/drawing/2014/main" id="{63A1CFE3-996D-4F97-BC66-91718F95658E}"/>
                </a:ext>
              </a:extLst>
            </p:cNvPr>
            <p:cNvGrpSpPr/>
            <p:nvPr userDrawn="1"/>
          </p:nvGrpSpPr>
          <p:grpSpPr>
            <a:xfrm>
              <a:off x="12696514" y="3540678"/>
              <a:ext cx="514284" cy="612918"/>
              <a:chOff x="12682980" y="3403241"/>
              <a:chExt cx="622284" cy="741632"/>
            </a:xfrm>
          </p:grpSpPr>
          <p:grpSp>
            <p:nvGrpSpPr>
              <p:cNvPr id="125" name="Groep 124">
                <a:extLst>
                  <a:ext uri="{FF2B5EF4-FFF2-40B4-BE49-F238E27FC236}">
                    <a16:creationId xmlns:a16="http://schemas.microsoft.com/office/drawing/2014/main" id="{AD0C89DF-2C1B-4C7D-897B-C810690CF31F}"/>
                  </a:ext>
                </a:extLst>
              </p:cNvPr>
              <p:cNvGrpSpPr/>
              <p:nvPr userDrawn="1"/>
            </p:nvGrpSpPr>
            <p:grpSpPr>
              <a:xfrm>
                <a:off x="12771568" y="3403241"/>
                <a:ext cx="467138" cy="448489"/>
                <a:chOff x="12782195" y="3403241"/>
                <a:chExt cx="467138" cy="448489"/>
              </a:xfrm>
            </p:grpSpPr>
            <p:grpSp>
              <p:nvGrpSpPr>
                <p:cNvPr id="128" name="Groep 127">
                  <a:extLst>
                    <a:ext uri="{FF2B5EF4-FFF2-40B4-BE49-F238E27FC236}">
                      <a16:creationId xmlns:a16="http://schemas.microsoft.com/office/drawing/2014/main" id="{B2674425-3198-42E1-BD6C-71B8EB56413E}"/>
                    </a:ext>
                  </a:extLst>
                </p:cNvPr>
                <p:cNvGrpSpPr/>
                <p:nvPr userDrawn="1"/>
              </p:nvGrpSpPr>
              <p:grpSpPr>
                <a:xfrm>
                  <a:off x="12782195" y="3403241"/>
                  <a:ext cx="412967" cy="393907"/>
                  <a:chOff x="13554906" y="3320109"/>
                  <a:chExt cx="443906" cy="423419"/>
                </a:xfrm>
              </p:grpSpPr>
              <p:grpSp>
                <p:nvGrpSpPr>
                  <p:cNvPr id="135" name="Groep 134">
                    <a:extLst>
                      <a:ext uri="{FF2B5EF4-FFF2-40B4-BE49-F238E27FC236}">
                        <a16:creationId xmlns:a16="http://schemas.microsoft.com/office/drawing/2014/main" id="{F34092AC-0759-42B0-8375-2DB740861304}"/>
                      </a:ext>
                    </a:extLst>
                  </p:cNvPr>
                  <p:cNvGrpSpPr/>
                  <p:nvPr userDrawn="1"/>
                </p:nvGrpSpPr>
                <p:grpSpPr>
                  <a:xfrm>
                    <a:off x="13554906" y="3320109"/>
                    <a:ext cx="443906" cy="423419"/>
                    <a:chOff x="12909684" y="1276143"/>
                    <a:chExt cx="443906" cy="423419"/>
                  </a:xfrm>
                </p:grpSpPr>
                <p:sp>
                  <p:nvSpPr>
                    <p:cNvPr id="138" name="Rechthoek 137">
                      <a:extLst>
                        <a:ext uri="{FF2B5EF4-FFF2-40B4-BE49-F238E27FC236}">
                          <a16:creationId xmlns:a16="http://schemas.microsoft.com/office/drawing/2014/main" id="{06B33E8F-753D-40F8-9AF8-693063D95D5A}"/>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39" name="Rechthoek 138">
                      <a:extLst>
                        <a:ext uri="{FF2B5EF4-FFF2-40B4-BE49-F238E27FC236}">
                          <a16:creationId xmlns:a16="http://schemas.microsoft.com/office/drawing/2014/main" id="{8BAAC9C7-A54A-4C87-8F78-AD2CF4C635A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40" name="Ovaal 139">
                      <a:extLst>
                        <a:ext uri="{FF2B5EF4-FFF2-40B4-BE49-F238E27FC236}">
                          <a16:creationId xmlns:a16="http://schemas.microsoft.com/office/drawing/2014/main" id="{0F513F60-9311-4B93-9022-C0A08303BA2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136" name="Afbeelding 135">
                    <a:extLst>
                      <a:ext uri="{FF2B5EF4-FFF2-40B4-BE49-F238E27FC236}">
                        <a16:creationId xmlns:a16="http://schemas.microsoft.com/office/drawing/2014/main" id="{939ABF57-316F-482C-AF13-5FE368B41A26}"/>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37" name="Afbeelding 136">
                    <a:extLst>
                      <a:ext uri="{FF2B5EF4-FFF2-40B4-BE49-F238E27FC236}">
                        <a16:creationId xmlns:a16="http://schemas.microsoft.com/office/drawing/2014/main" id="{43B1DC30-D33D-4FF0-857B-72F6CD9592D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8" y="3454369"/>
                    <a:ext cx="173367" cy="111423"/>
                  </a:xfrm>
                  <a:prstGeom prst="rect">
                    <a:avLst/>
                  </a:prstGeom>
                </p:spPr>
              </p:pic>
            </p:grpSp>
            <p:grpSp>
              <p:nvGrpSpPr>
                <p:cNvPr id="129" name="Groep 128">
                  <a:extLst>
                    <a:ext uri="{FF2B5EF4-FFF2-40B4-BE49-F238E27FC236}">
                      <a16:creationId xmlns:a16="http://schemas.microsoft.com/office/drawing/2014/main" id="{7DA571B3-6DF2-47F7-BB91-ECF4C2B75EC4}"/>
                    </a:ext>
                  </a:extLst>
                </p:cNvPr>
                <p:cNvGrpSpPr/>
                <p:nvPr userDrawn="1"/>
              </p:nvGrpSpPr>
              <p:grpSpPr>
                <a:xfrm>
                  <a:off x="13103513" y="3705268"/>
                  <a:ext cx="145820" cy="146462"/>
                  <a:chOff x="13096169" y="3602278"/>
                  <a:chExt cx="145820" cy="146462"/>
                </a:xfrm>
              </p:grpSpPr>
              <p:sp>
                <p:nvSpPr>
                  <p:cNvPr id="133" name="Rechthoek 132">
                    <a:extLst>
                      <a:ext uri="{FF2B5EF4-FFF2-40B4-BE49-F238E27FC236}">
                        <a16:creationId xmlns:a16="http://schemas.microsoft.com/office/drawing/2014/main" id="{C01A95CC-CC4F-4D8D-BF65-844F5C6D322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34" name="Rechthoek 133">
                    <a:extLst>
                      <a:ext uri="{FF2B5EF4-FFF2-40B4-BE49-F238E27FC236}">
                        <a16:creationId xmlns:a16="http://schemas.microsoft.com/office/drawing/2014/main" id="{BC21A21B-A18E-41B9-8E41-D301FB379A0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30" name="Groep 129">
                  <a:extLst>
                    <a:ext uri="{FF2B5EF4-FFF2-40B4-BE49-F238E27FC236}">
                      <a16:creationId xmlns:a16="http://schemas.microsoft.com/office/drawing/2014/main" id="{E08BB810-14C1-4669-BBDA-CD2617F0F459}"/>
                    </a:ext>
                  </a:extLst>
                </p:cNvPr>
                <p:cNvGrpSpPr/>
                <p:nvPr userDrawn="1"/>
              </p:nvGrpSpPr>
              <p:grpSpPr>
                <a:xfrm rot="10800000">
                  <a:off x="13061402" y="3665637"/>
                  <a:ext cx="145820" cy="146462"/>
                  <a:chOff x="13096169" y="3602278"/>
                  <a:chExt cx="145820" cy="146462"/>
                </a:xfrm>
              </p:grpSpPr>
              <p:sp>
                <p:nvSpPr>
                  <p:cNvPr id="131" name="Rechthoek 130">
                    <a:extLst>
                      <a:ext uri="{FF2B5EF4-FFF2-40B4-BE49-F238E27FC236}">
                        <a16:creationId xmlns:a16="http://schemas.microsoft.com/office/drawing/2014/main" id="{C0C24F34-A5F4-4BBA-ABA1-6901AB211AF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32" name="Rechthoek 131">
                    <a:extLst>
                      <a:ext uri="{FF2B5EF4-FFF2-40B4-BE49-F238E27FC236}">
                        <a16:creationId xmlns:a16="http://schemas.microsoft.com/office/drawing/2014/main" id="{4227724C-10EE-4B55-B673-0393FC3B2A6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126" name="Rechthoek 125">
                <a:extLst>
                  <a:ext uri="{FF2B5EF4-FFF2-40B4-BE49-F238E27FC236}">
                    <a16:creationId xmlns:a16="http://schemas.microsoft.com/office/drawing/2014/main" id="{F6BC1663-795E-4047-89E2-DA52629B0E0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127" name="Gelijkbenige driehoek 126">
                <a:extLst>
                  <a:ext uri="{FF2B5EF4-FFF2-40B4-BE49-F238E27FC236}">
                    <a16:creationId xmlns:a16="http://schemas.microsoft.com/office/drawing/2014/main" id="{AFD1978B-7966-4B97-A2F0-2281E84D45A0}"/>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10456602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KST / AFBEELDING (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285747"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4AABA333-9F3A-424A-995C-94DCEBC8D597}"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AFBEELDING (M)</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6365873" y="1459111"/>
            <a:ext cx="5285873" cy="4119774"/>
          </a:xfrm>
          <a:prstGeom prst="roundRect">
            <a:avLst>
              <a:gd name="adj" fmla="val 1562"/>
            </a:avLst>
          </a:prstGeo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299" name="Instructie">
            <a:extLst>
              <a:ext uri="{FF2B5EF4-FFF2-40B4-BE49-F238E27FC236}">
                <a16:creationId xmlns:a16="http://schemas.microsoft.com/office/drawing/2014/main" id="{A9040615-5CE4-4514-A742-20EBDF93B84E}"/>
              </a:ext>
            </a:extLst>
          </p:cNvPr>
          <p:cNvGrpSpPr/>
          <p:nvPr userDrawn="1"/>
        </p:nvGrpSpPr>
        <p:grpSpPr>
          <a:xfrm>
            <a:off x="-3437547" y="1434"/>
            <a:ext cx="3201327" cy="6041867"/>
            <a:chOff x="-3437547" y="1434"/>
            <a:chExt cx="3201327" cy="6041867"/>
          </a:xfrm>
        </p:grpSpPr>
        <p:cxnSp>
          <p:nvCxnSpPr>
            <p:cNvPr id="300" name="Rechte verbindingslijn 299">
              <a:extLst>
                <a:ext uri="{FF2B5EF4-FFF2-40B4-BE49-F238E27FC236}">
                  <a16:creationId xmlns:a16="http://schemas.microsoft.com/office/drawing/2014/main" id="{A9E29A4D-6D97-4104-AAB7-B77DE27FDF48}"/>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01" name="Ovaal 300">
              <a:extLst>
                <a:ext uri="{FF2B5EF4-FFF2-40B4-BE49-F238E27FC236}">
                  <a16:creationId xmlns:a16="http://schemas.microsoft.com/office/drawing/2014/main" id="{D2538CC1-6DFE-4937-BF8F-F1554E4D4040}"/>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02" name="Rechthoek 301">
              <a:extLst>
                <a:ext uri="{FF2B5EF4-FFF2-40B4-BE49-F238E27FC236}">
                  <a16:creationId xmlns:a16="http://schemas.microsoft.com/office/drawing/2014/main" id="{6C5D937F-CC31-4E45-A598-A44A739508EC}"/>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03" name="Ovaal 302">
              <a:extLst>
                <a:ext uri="{FF2B5EF4-FFF2-40B4-BE49-F238E27FC236}">
                  <a16:creationId xmlns:a16="http://schemas.microsoft.com/office/drawing/2014/main" id="{9A91952D-3E68-4749-B120-80A4BAFFACDB}"/>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04" name="Rechthoek 303">
              <a:extLst>
                <a:ext uri="{FF2B5EF4-FFF2-40B4-BE49-F238E27FC236}">
                  <a16:creationId xmlns:a16="http://schemas.microsoft.com/office/drawing/2014/main" id="{7266ABBD-99F4-4315-9AEA-3BD489AD5560}"/>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05" name="Ovaal 304">
              <a:extLst>
                <a:ext uri="{FF2B5EF4-FFF2-40B4-BE49-F238E27FC236}">
                  <a16:creationId xmlns:a16="http://schemas.microsoft.com/office/drawing/2014/main" id="{14D6EA74-7BB4-4EE0-9BE8-BF3EBAE33486}"/>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06" name="Rechthoek 305">
              <a:extLst>
                <a:ext uri="{FF2B5EF4-FFF2-40B4-BE49-F238E27FC236}">
                  <a16:creationId xmlns:a16="http://schemas.microsoft.com/office/drawing/2014/main" id="{E7DB094A-C66A-47DD-81CF-DA7A117F0743}"/>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07" name="Ovaal 306">
              <a:extLst>
                <a:ext uri="{FF2B5EF4-FFF2-40B4-BE49-F238E27FC236}">
                  <a16:creationId xmlns:a16="http://schemas.microsoft.com/office/drawing/2014/main" id="{A6EBD7CE-345E-442A-A357-9459DDB13B55}"/>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08" name="Rechthoek 307">
              <a:extLst>
                <a:ext uri="{FF2B5EF4-FFF2-40B4-BE49-F238E27FC236}">
                  <a16:creationId xmlns:a16="http://schemas.microsoft.com/office/drawing/2014/main" id="{6A70AF6D-2195-4FEC-AE55-B58319D87CEB}"/>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09" name="Rechthoek 308">
              <a:extLst>
                <a:ext uri="{FF2B5EF4-FFF2-40B4-BE49-F238E27FC236}">
                  <a16:creationId xmlns:a16="http://schemas.microsoft.com/office/drawing/2014/main" id="{FEDAE30A-E8BC-42D6-8883-FE1A87931DAF}"/>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10" name="Ovaal 309">
              <a:extLst>
                <a:ext uri="{FF2B5EF4-FFF2-40B4-BE49-F238E27FC236}">
                  <a16:creationId xmlns:a16="http://schemas.microsoft.com/office/drawing/2014/main" id="{AA46C297-78C9-4817-9D11-213CCB9C9F64}"/>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11" name="Rechte verbindingslijn 310">
              <a:extLst>
                <a:ext uri="{FF2B5EF4-FFF2-40B4-BE49-F238E27FC236}">
                  <a16:creationId xmlns:a16="http://schemas.microsoft.com/office/drawing/2014/main" id="{557EA977-0096-400F-A663-5BBD6036BFAF}"/>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12" name="Groep 311">
              <a:extLst>
                <a:ext uri="{FF2B5EF4-FFF2-40B4-BE49-F238E27FC236}">
                  <a16:creationId xmlns:a16="http://schemas.microsoft.com/office/drawing/2014/main" id="{BC42600A-B3A3-4877-90D7-C07A82046FF3}"/>
                </a:ext>
              </a:extLst>
            </p:cNvPr>
            <p:cNvGrpSpPr/>
            <p:nvPr userDrawn="1"/>
          </p:nvGrpSpPr>
          <p:grpSpPr>
            <a:xfrm>
              <a:off x="-3437547" y="1295337"/>
              <a:ext cx="2933825" cy="558875"/>
              <a:chOff x="-3419346" y="368233"/>
              <a:chExt cx="3904920" cy="743862"/>
            </a:xfrm>
          </p:grpSpPr>
          <p:sp>
            <p:nvSpPr>
              <p:cNvPr id="329" name="Rechthoek 328">
                <a:extLst>
                  <a:ext uri="{FF2B5EF4-FFF2-40B4-BE49-F238E27FC236}">
                    <a16:creationId xmlns:a16="http://schemas.microsoft.com/office/drawing/2014/main" id="{F4C23DD8-1EEB-444F-97E8-7DB7F22E448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30" name="Rechte verbindingslijn 329">
                <a:extLst>
                  <a:ext uri="{FF2B5EF4-FFF2-40B4-BE49-F238E27FC236}">
                    <a16:creationId xmlns:a16="http://schemas.microsoft.com/office/drawing/2014/main" id="{EC276B65-801E-4FEF-8A36-2F62689B59D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1" name="Rechte verbindingslijn 330">
                <a:extLst>
                  <a:ext uri="{FF2B5EF4-FFF2-40B4-BE49-F238E27FC236}">
                    <a16:creationId xmlns:a16="http://schemas.microsoft.com/office/drawing/2014/main" id="{4D85CD75-D75D-46B8-A00D-4CF81EE3531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2" name="Rechthoek 331">
                <a:extLst>
                  <a:ext uri="{FF2B5EF4-FFF2-40B4-BE49-F238E27FC236}">
                    <a16:creationId xmlns:a16="http://schemas.microsoft.com/office/drawing/2014/main" id="{36E1FA0F-31F3-49C8-8E80-258CED450A3B}"/>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33" name="Groep 332">
                <a:extLst>
                  <a:ext uri="{FF2B5EF4-FFF2-40B4-BE49-F238E27FC236}">
                    <a16:creationId xmlns:a16="http://schemas.microsoft.com/office/drawing/2014/main" id="{5A4795F5-37E6-4F38-850A-7A1A45F43652}"/>
                  </a:ext>
                </a:extLst>
              </p:cNvPr>
              <p:cNvGrpSpPr/>
              <p:nvPr userDrawn="1"/>
            </p:nvGrpSpPr>
            <p:grpSpPr>
              <a:xfrm>
                <a:off x="-3002834" y="720303"/>
                <a:ext cx="182598" cy="143759"/>
                <a:chOff x="-3310843" y="700986"/>
                <a:chExt cx="182598" cy="143759"/>
              </a:xfrm>
            </p:grpSpPr>
            <p:grpSp>
              <p:nvGrpSpPr>
                <p:cNvPr id="372" name="Groep 371">
                  <a:extLst>
                    <a:ext uri="{FF2B5EF4-FFF2-40B4-BE49-F238E27FC236}">
                      <a16:creationId xmlns:a16="http://schemas.microsoft.com/office/drawing/2014/main" id="{39185034-83E7-4FF4-B6FF-250310020996}"/>
                    </a:ext>
                  </a:extLst>
                </p:cNvPr>
                <p:cNvGrpSpPr/>
                <p:nvPr userDrawn="1"/>
              </p:nvGrpSpPr>
              <p:grpSpPr>
                <a:xfrm>
                  <a:off x="-3310843" y="700986"/>
                  <a:ext cx="182598" cy="143759"/>
                  <a:chOff x="-3310843" y="700986"/>
                  <a:chExt cx="182598" cy="143759"/>
                </a:xfrm>
              </p:grpSpPr>
              <p:cxnSp>
                <p:nvCxnSpPr>
                  <p:cNvPr id="376" name="Rechte verbindingslijn 375">
                    <a:extLst>
                      <a:ext uri="{FF2B5EF4-FFF2-40B4-BE49-F238E27FC236}">
                        <a16:creationId xmlns:a16="http://schemas.microsoft.com/office/drawing/2014/main" id="{29D344CD-C7EA-41BA-9DB2-2FDB70EEE87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77" name="Rechte verbindingslijn 376">
                    <a:extLst>
                      <a:ext uri="{FF2B5EF4-FFF2-40B4-BE49-F238E27FC236}">
                        <a16:creationId xmlns:a16="http://schemas.microsoft.com/office/drawing/2014/main" id="{72C08631-A23F-4142-943F-EEC71DA5C7EF}"/>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78" name="Rechte verbindingslijn 377">
                    <a:extLst>
                      <a:ext uri="{FF2B5EF4-FFF2-40B4-BE49-F238E27FC236}">
                        <a16:creationId xmlns:a16="http://schemas.microsoft.com/office/drawing/2014/main" id="{9219C585-A23C-4A03-9037-342255AD87C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79" name="Rechte verbindingslijn 378">
                    <a:extLst>
                      <a:ext uri="{FF2B5EF4-FFF2-40B4-BE49-F238E27FC236}">
                        <a16:creationId xmlns:a16="http://schemas.microsoft.com/office/drawing/2014/main" id="{CD8B7624-9942-4448-9E55-63340A8A91E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AEEE66E4-34BA-4B72-A925-B13B223568E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73" name="Groep 372">
                  <a:extLst>
                    <a:ext uri="{FF2B5EF4-FFF2-40B4-BE49-F238E27FC236}">
                      <a16:creationId xmlns:a16="http://schemas.microsoft.com/office/drawing/2014/main" id="{60CBB292-C3B9-4B4E-9AA5-69061A999BAB}"/>
                    </a:ext>
                  </a:extLst>
                </p:cNvPr>
                <p:cNvGrpSpPr/>
                <p:nvPr userDrawn="1"/>
              </p:nvGrpSpPr>
              <p:grpSpPr>
                <a:xfrm flipH="1">
                  <a:off x="-3310774" y="735854"/>
                  <a:ext cx="88801" cy="72568"/>
                  <a:chOff x="-2091059" y="1395403"/>
                  <a:chExt cx="157316" cy="128558"/>
                </a:xfrm>
              </p:grpSpPr>
              <p:sp>
                <p:nvSpPr>
                  <p:cNvPr id="374" name="Rechthoek 373">
                    <a:extLst>
                      <a:ext uri="{FF2B5EF4-FFF2-40B4-BE49-F238E27FC236}">
                        <a16:creationId xmlns:a16="http://schemas.microsoft.com/office/drawing/2014/main" id="{2B7F2EEC-E9D2-4F6E-AE51-4C99AD380BA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5" name="Pijl: punthaak 374">
                    <a:extLst>
                      <a:ext uri="{FF2B5EF4-FFF2-40B4-BE49-F238E27FC236}">
                        <a16:creationId xmlns:a16="http://schemas.microsoft.com/office/drawing/2014/main" id="{01398107-1754-4322-97B3-3E90A2FACA2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34" name="Groep 333">
                <a:extLst>
                  <a:ext uri="{FF2B5EF4-FFF2-40B4-BE49-F238E27FC236}">
                    <a16:creationId xmlns:a16="http://schemas.microsoft.com/office/drawing/2014/main" id="{939B2F05-4AF3-4F93-B952-01644D230EA6}"/>
                  </a:ext>
                </a:extLst>
              </p:cNvPr>
              <p:cNvGrpSpPr/>
              <p:nvPr userDrawn="1"/>
            </p:nvGrpSpPr>
            <p:grpSpPr>
              <a:xfrm>
                <a:off x="-3326107" y="720303"/>
                <a:ext cx="182598" cy="143759"/>
                <a:chOff x="-3634116" y="700986"/>
                <a:chExt cx="182598" cy="143759"/>
              </a:xfrm>
            </p:grpSpPr>
            <p:grpSp>
              <p:nvGrpSpPr>
                <p:cNvPr id="363" name="Groep 362">
                  <a:extLst>
                    <a:ext uri="{FF2B5EF4-FFF2-40B4-BE49-F238E27FC236}">
                      <a16:creationId xmlns:a16="http://schemas.microsoft.com/office/drawing/2014/main" id="{5A7A2DA7-68C5-4F04-9D8E-A53C0000F482}"/>
                    </a:ext>
                  </a:extLst>
                </p:cNvPr>
                <p:cNvGrpSpPr/>
                <p:nvPr userDrawn="1"/>
              </p:nvGrpSpPr>
              <p:grpSpPr>
                <a:xfrm>
                  <a:off x="-3634116" y="700986"/>
                  <a:ext cx="182598" cy="143759"/>
                  <a:chOff x="-3634116" y="700986"/>
                  <a:chExt cx="182598" cy="143759"/>
                </a:xfrm>
              </p:grpSpPr>
              <p:cxnSp>
                <p:nvCxnSpPr>
                  <p:cNvPr id="367" name="Rechte verbindingslijn 366">
                    <a:extLst>
                      <a:ext uri="{FF2B5EF4-FFF2-40B4-BE49-F238E27FC236}">
                        <a16:creationId xmlns:a16="http://schemas.microsoft.com/office/drawing/2014/main" id="{CE5F4043-BE09-40B9-B8D6-75A94C52DBD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68" name="Rechte verbindingslijn 367">
                    <a:extLst>
                      <a:ext uri="{FF2B5EF4-FFF2-40B4-BE49-F238E27FC236}">
                        <a16:creationId xmlns:a16="http://schemas.microsoft.com/office/drawing/2014/main" id="{C1CE4101-E796-4DF8-80AB-10C6C40AC7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69" name="Rechte verbindingslijn 368">
                    <a:extLst>
                      <a:ext uri="{FF2B5EF4-FFF2-40B4-BE49-F238E27FC236}">
                        <a16:creationId xmlns:a16="http://schemas.microsoft.com/office/drawing/2014/main" id="{A0DE6505-25D1-4493-9581-736CD37443DE}"/>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70" name="Rechte verbindingslijn 369">
                    <a:extLst>
                      <a:ext uri="{FF2B5EF4-FFF2-40B4-BE49-F238E27FC236}">
                        <a16:creationId xmlns:a16="http://schemas.microsoft.com/office/drawing/2014/main" id="{C6998B58-E5C3-421B-AACA-8BB753F24EC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71" name="Rechte verbindingslijn 370">
                    <a:extLst>
                      <a:ext uri="{FF2B5EF4-FFF2-40B4-BE49-F238E27FC236}">
                        <a16:creationId xmlns:a16="http://schemas.microsoft.com/office/drawing/2014/main" id="{1D574B4D-F40B-4471-9C90-2C6869B0E4E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64" name="Groep 363">
                  <a:extLst>
                    <a:ext uri="{FF2B5EF4-FFF2-40B4-BE49-F238E27FC236}">
                      <a16:creationId xmlns:a16="http://schemas.microsoft.com/office/drawing/2014/main" id="{83070619-20BA-4B96-8DD6-7D52C2554D1B}"/>
                    </a:ext>
                  </a:extLst>
                </p:cNvPr>
                <p:cNvGrpSpPr/>
                <p:nvPr userDrawn="1"/>
              </p:nvGrpSpPr>
              <p:grpSpPr>
                <a:xfrm>
                  <a:off x="-3634047" y="735854"/>
                  <a:ext cx="88801" cy="72568"/>
                  <a:chOff x="-2091059" y="1395403"/>
                  <a:chExt cx="157316" cy="128558"/>
                </a:xfrm>
              </p:grpSpPr>
              <p:sp>
                <p:nvSpPr>
                  <p:cNvPr id="365" name="Rechthoek 364">
                    <a:extLst>
                      <a:ext uri="{FF2B5EF4-FFF2-40B4-BE49-F238E27FC236}">
                        <a16:creationId xmlns:a16="http://schemas.microsoft.com/office/drawing/2014/main" id="{A975F434-D9E8-4C86-9221-6ED95E807F9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6" name="Pijl: punthaak 365">
                    <a:extLst>
                      <a:ext uri="{FF2B5EF4-FFF2-40B4-BE49-F238E27FC236}">
                        <a16:creationId xmlns:a16="http://schemas.microsoft.com/office/drawing/2014/main" id="{2251D4A1-10CB-45B0-85A4-2E89DF68063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35" name="Rechte verbindingslijn 334">
                <a:extLst>
                  <a:ext uri="{FF2B5EF4-FFF2-40B4-BE49-F238E27FC236}">
                    <a16:creationId xmlns:a16="http://schemas.microsoft.com/office/drawing/2014/main" id="{5E08EB10-7AC5-46CE-A3DB-AB248D1950D9}"/>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36" name="Rechte verbindingslijn 335">
                <a:extLst>
                  <a:ext uri="{FF2B5EF4-FFF2-40B4-BE49-F238E27FC236}">
                    <a16:creationId xmlns:a16="http://schemas.microsoft.com/office/drawing/2014/main" id="{2C5BD4E2-9DFB-4B2A-A283-D8E5CBA3F745}"/>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37" name="Groep 336">
                <a:extLst>
                  <a:ext uri="{FF2B5EF4-FFF2-40B4-BE49-F238E27FC236}">
                    <a16:creationId xmlns:a16="http://schemas.microsoft.com/office/drawing/2014/main" id="{BA99A363-56A8-4D34-948C-6052880AB635}"/>
                  </a:ext>
                </a:extLst>
              </p:cNvPr>
              <p:cNvGrpSpPr/>
              <p:nvPr userDrawn="1"/>
            </p:nvGrpSpPr>
            <p:grpSpPr>
              <a:xfrm>
                <a:off x="-2425037" y="370226"/>
                <a:ext cx="357690" cy="330595"/>
                <a:chOff x="-2721817" y="347336"/>
                <a:chExt cx="432805" cy="400021"/>
              </a:xfrm>
            </p:grpSpPr>
            <p:sp>
              <p:nvSpPr>
                <p:cNvPr id="352" name="Rechthoek 351">
                  <a:extLst>
                    <a:ext uri="{FF2B5EF4-FFF2-40B4-BE49-F238E27FC236}">
                      <a16:creationId xmlns:a16="http://schemas.microsoft.com/office/drawing/2014/main" id="{5CB1EEA1-175A-4B12-882E-7BAF5BF09D10}"/>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3" name="Groep 352">
                  <a:extLst>
                    <a:ext uri="{FF2B5EF4-FFF2-40B4-BE49-F238E27FC236}">
                      <a16:creationId xmlns:a16="http://schemas.microsoft.com/office/drawing/2014/main" id="{DC050AF5-6B3F-47F3-B296-94792B2F3ACB}"/>
                    </a:ext>
                  </a:extLst>
                </p:cNvPr>
                <p:cNvGrpSpPr/>
                <p:nvPr userDrawn="1"/>
              </p:nvGrpSpPr>
              <p:grpSpPr>
                <a:xfrm>
                  <a:off x="-2652453" y="431583"/>
                  <a:ext cx="294076" cy="231526"/>
                  <a:chOff x="-3634116" y="700986"/>
                  <a:chExt cx="182598" cy="143759"/>
                </a:xfrm>
              </p:grpSpPr>
              <p:grpSp>
                <p:nvGrpSpPr>
                  <p:cNvPr id="354" name="Groep 353">
                    <a:extLst>
                      <a:ext uri="{FF2B5EF4-FFF2-40B4-BE49-F238E27FC236}">
                        <a16:creationId xmlns:a16="http://schemas.microsoft.com/office/drawing/2014/main" id="{D3E174FE-8858-4CA9-A0FE-B0B8FA037AEA}"/>
                      </a:ext>
                    </a:extLst>
                  </p:cNvPr>
                  <p:cNvGrpSpPr/>
                  <p:nvPr userDrawn="1"/>
                </p:nvGrpSpPr>
                <p:grpSpPr>
                  <a:xfrm>
                    <a:off x="-3634116" y="700986"/>
                    <a:ext cx="182598" cy="143759"/>
                    <a:chOff x="-3634116" y="700986"/>
                    <a:chExt cx="182598" cy="143759"/>
                  </a:xfrm>
                </p:grpSpPr>
                <p:cxnSp>
                  <p:nvCxnSpPr>
                    <p:cNvPr id="358" name="Rechte verbindingslijn 357">
                      <a:extLst>
                        <a:ext uri="{FF2B5EF4-FFF2-40B4-BE49-F238E27FC236}">
                          <a16:creationId xmlns:a16="http://schemas.microsoft.com/office/drawing/2014/main" id="{B8638688-72B1-4349-9913-E34F7D24465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59" name="Rechte verbindingslijn 358">
                      <a:extLst>
                        <a:ext uri="{FF2B5EF4-FFF2-40B4-BE49-F238E27FC236}">
                          <a16:creationId xmlns:a16="http://schemas.microsoft.com/office/drawing/2014/main" id="{A449D089-8181-4AA2-BC24-86B165DD7F28}"/>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60" name="Rechte verbindingslijn 359">
                      <a:extLst>
                        <a:ext uri="{FF2B5EF4-FFF2-40B4-BE49-F238E27FC236}">
                          <a16:creationId xmlns:a16="http://schemas.microsoft.com/office/drawing/2014/main" id="{BF91E272-B113-4689-A46D-282D24B4193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61" name="Rechte verbindingslijn 360">
                      <a:extLst>
                        <a:ext uri="{FF2B5EF4-FFF2-40B4-BE49-F238E27FC236}">
                          <a16:creationId xmlns:a16="http://schemas.microsoft.com/office/drawing/2014/main" id="{EC1E3198-7FF6-4E26-9589-E37A5994293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9418E550-56B2-4EF2-990D-906C6FB4CD2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55" name="Groep 354">
                    <a:extLst>
                      <a:ext uri="{FF2B5EF4-FFF2-40B4-BE49-F238E27FC236}">
                        <a16:creationId xmlns:a16="http://schemas.microsoft.com/office/drawing/2014/main" id="{A6862AB4-0AD2-4E76-A072-8505D2299792}"/>
                      </a:ext>
                    </a:extLst>
                  </p:cNvPr>
                  <p:cNvGrpSpPr/>
                  <p:nvPr userDrawn="1"/>
                </p:nvGrpSpPr>
                <p:grpSpPr>
                  <a:xfrm>
                    <a:off x="-3634047" y="735854"/>
                    <a:ext cx="88801" cy="72568"/>
                    <a:chOff x="-2091059" y="1395403"/>
                    <a:chExt cx="157316" cy="128558"/>
                  </a:xfrm>
                </p:grpSpPr>
                <p:sp>
                  <p:nvSpPr>
                    <p:cNvPr id="356" name="Rechthoek 355">
                      <a:extLst>
                        <a:ext uri="{FF2B5EF4-FFF2-40B4-BE49-F238E27FC236}">
                          <a16:creationId xmlns:a16="http://schemas.microsoft.com/office/drawing/2014/main" id="{A8AF7EA4-061F-4D9C-969E-BF974232023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57" name="Pijl: punthaak 356">
                      <a:extLst>
                        <a:ext uri="{FF2B5EF4-FFF2-40B4-BE49-F238E27FC236}">
                          <a16:creationId xmlns:a16="http://schemas.microsoft.com/office/drawing/2014/main" id="{ADCF9CE3-C663-4782-8C65-F80DAAC17CA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38" name="Groep 337">
                <a:extLst>
                  <a:ext uri="{FF2B5EF4-FFF2-40B4-BE49-F238E27FC236}">
                    <a16:creationId xmlns:a16="http://schemas.microsoft.com/office/drawing/2014/main" id="{BCD8E005-759B-409C-A2FB-C8E93945FA2F}"/>
                  </a:ext>
                </a:extLst>
              </p:cNvPr>
              <p:cNvGrpSpPr/>
              <p:nvPr userDrawn="1"/>
            </p:nvGrpSpPr>
            <p:grpSpPr>
              <a:xfrm>
                <a:off x="-2425037" y="781500"/>
                <a:ext cx="357690" cy="330595"/>
                <a:chOff x="-2721817" y="782525"/>
                <a:chExt cx="432805" cy="400021"/>
              </a:xfrm>
            </p:grpSpPr>
            <p:sp>
              <p:nvSpPr>
                <p:cNvPr id="341" name="Rechthoek 340">
                  <a:extLst>
                    <a:ext uri="{FF2B5EF4-FFF2-40B4-BE49-F238E27FC236}">
                      <a16:creationId xmlns:a16="http://schemas.microsoft.com/office/drawing/2014/main" id="{906FEB8C-9C81-490A-9811-A49EC1BE3F0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42" name="Groep 341">
                  <a:extLst>
                    <a:ext uri="{FF2B5EF4-FFF2-40B4-BE49-F238E27FC236}">
                      <a16:creationId xmlns:a16="http://schemas.microsoft.com/office/drawing/2014/main" id="{7CF4158C-C833-4504-BB3A-A11C01ADF087}"/>
                    </a:ext>
                  </a:extLst>
                </p:cNvPr>
                <p:cNvGrpSpPr/>
                <p:nvPr userDrawn="1"/>
              </p:nvGrpSpPr>
              <p:grpSpPr>
                <a:xfrm>
                  <a:off x="-2652453" y="866772"/>
                  <a:ext cx="294076" cy="231526"/>
                  <a:chOff x="-3310843" y="700986"/>
                  <a:chExt cx="182598" cy="143759"/>
                </a:xfrm>
              </p:grpSpPr>
              <p:grpSp>
                <p:nvGrpSpPr>
                  <p:cNvPr id="343" name="Groep 342">
                    <a:extLst>
                      <a:ext uri="{FF2B5EF4-FFF2-40B4-BE49-F238E27FC236}">
                        <a16:creationId xmlns:a16="http://schemas.microsoft.com/office/drawing/2014/main" id="{1582C828-B804-4BE8-B47D-FCDC7BBE5209}"/>
                      </a:ext>
                    </a:extLst>
                  </p:cNvPr>
                  <p:cNvGrpSpPr/>
                  <p:nvPr userDrawn="1"/>
                </p:nvGrpSpPr>
                <p:grpSpPr>
                  <a:xfrm>
                    <a:off x="-3310843" y="700986"/>
                    <a:ext cx="182598" cy="143759"/>
                    <a:chOff x="-3310843" y="700986"/>
                    <a:chExt cx="182598" cy="143759"/>
                  </a:xfrm>
                </p:grpSpPr>
                <p:cxnSp>
                  <p:nvCxnSpPr>
                    <p:cNvPr id="347" name="Rechte verbindingslijn 346">
                      <a:extLst>
                        <a:ext uri="{FF2B5EF4-FFF2-40B4-BE49-F238E27FC236}">
                          <a16:creationId xmlns:a16="http://schemas.microsoft.com/office/drawing/2014/main" id="{D668F080-4415-4CBB-9DD1-7688237BECB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5ABAA773-AC19-4267-9599-F4690BB53C5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0708D3FA-9BAF-4C2F-81A3-1A2C110AD1E7}"/>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50" name="Rechte verbindingslijn 349">
                      <a:extLst>
                        <a:ext uri="{FF2B5EF4-FFF2-40B4-BE49-F238E27FC236}">
                          <a16:creationId xmlns:a16="http://schemas.microsoft.com/office/drawing/2014/main" id="{B030F541-824F-423E-8A89-2BD72A56BFF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51" name="Rechte verbindingslijn 350">
                      <a:extLst>
                        <a:ext uri="{FF2B5EF4-FFF2-40B4-BE49-F238E27FC236}">
                          <a16:creationId xmlns:a16="http://schemas.microsoft.com/office/drawing/2014/main" id="{210C7F8F-3E1C-40C6-B700-51BEDE24B530}"/>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44" name="Groep 343">
                    <a:extLst>
                      <a:ext uri="{FF2B5EF4-FFF2-40B4-BE49-F238E27FC236}">
                        <a16:creationId xmlns:a16="http://schemas.microsoft.com/office/drawing/2014/main" id="{8F406B9C-D62A-476D-ACFD-FFFED04CF50A}"/>
                      </a:ext>
                    </a:extLst>
                  </p:cNvPr>
                  <p:cNvGrpSpPr/>
                  <p:nvPr userDrawn="1"/>
                </p:nvGrpSpPr>
                <p:grpSpPr>
                  <a:xfrm flipH="1">
                    <a:off x="-3310774" y="735854"/>
                    <a:ext cx="88801" cy="72568"/>
                    <a:chOff x="-2091059" y="1395403"/>
                    <a:chExt cx="157316" cy="128558"/>
                  </a:xfrm>
                </p:grpSpPr>
                <p:sp>
                  <p:nvSpPr>
                    <p:cNvPr id="345" name="Rechthoek 344">
                      <a:extLst>
                        <a:ext uri="{FF2B5EF4-FFF2-40B4-BE49-F238E27FC236}">
                          <a16:creationId xmlns:a16="http://schemas.microsoft.com/office/drawing/2014/main" id="{B56B302C-2B12-4206-846F-E8DD9867B6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46" name="Pijl: punthaak 345">
                      <a:extLst>
                        <a:ext uri="{FF2B5EF4-FFF2-40B4-BE49-F238E27FC236}">
                          <a16:creationId xmlns:a16="http://schemas.microsoft.com/office/drawing/2014/main" id="{80D30022-39AA-4521-B6E3-A3C3BEFE5FE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39" name="Rechthoek 338">
                <a:extLst>
                  <a:ext uri="{FF2B5EF4-FFF2-40B4-BE49-F238E27FC236}">
                    <a16:creationId xmlns:a16="http://schemas.microsoft.com/office/drawing/2014/main" id="{7D6AD4B8-8793-4756-B837-C5E0AAEF876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40" name="Rechthoek 339">
                <a:extLst>
                  <a:ext uri="{FF2B5EF4-FFF2-40B4-BE49-F238E27FC236}">
                    <a16:creationId xmlns:a16="http://schemas.microsoft.com/office/drawing/2014/main" id="{96D89153-A0FD-4860-8753-8736481603D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13" name="Rechte verbindingslijn 312">
              <a:extLst>
                <a:ext uri="{FF2B5EF4-FFF2-40B4-BE49-F238E27FC236}">
                  <a16:creationId xmlns:a16="http://schemas.microsoft.com/office/drawing/2014/main" id="{5F76A6E5-4858-4C23-AC19-8436E6602461}"/>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14" name="Rechthoek 313">
              <a:extLst>
                <a:ext uri="{FF2B5EF4-FFF2-40B4-BE49-F238E27FC236}">
                  <a16:creationId xmlns:a16="http://schemas.microsoft.com/office/drawing/2014/main" id="{CF32BC31-02D3-42C8-8D1C-AA544468A86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5" name="Ovaal 314">
              <a:extLst>
                <a:ext uri="{FF2B5EF4-FFF2-40B4-BE49-F238E27FC236}">
                  <a16:creationId xmlns:a16="http://schemas.microsoft.com/office/drawing/2014/main" id="{5180D60B-A16A-40AA-845F-D50838484E7B}"/>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6" name="Rechthoek 315">
              <a:extLst>
                <a:ext uri="{FF2B5EF4-FFF2-40B4-BE49-F238E27FC236}">
                  <a16:creationId xmlns:a16="http://schemas.microsoft.com/office/drawing/2014/main" id="{6140E930-7A42-4182-AA95-7826F8599B38}"/>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17" name="Ovaal 316">
              <a:extLst>
                <a:ext uri="{FF2B5EF4-FFF2-40B4-BE49-F238E27FC236}">
                  <a16:creationId xmlns:a16="http://schemas.microsoft.com/office/drawing/2014/main" id="{9CAAB7AF-18F8-4831-9CAE-73C9A160DCA0}"/>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18" name="Rechthoek 317">
              <a:extLst>
                <a:ext uri="{FF2B5EF4-FFF2-40B4-BE49-F238E27FC236}">
                  <a16:creationId xmlns:a16="http://schemas.microsoft.com/office/drawing/2014/main" id="{42F56C63-86E2-43D7-BC04-C02A6D571913}"/>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19" name="Ovaal 318">
              <a:extLst>
                <a:ext uri="{FF2B5EF4-FFF2-40B4-BE49-F238E27FC236}">
                  <a16:creationId xmlns:a16="http://schemas.microsoft.com/office/drawing/2014/main" id="{23C4633F-6A07-4822-B1F5-6B20C8D87E35}"/>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20" name="Rechthoek 319">
              <a:extLst>
                <a:ext uri="{FF2B5EF4-FFF2-40B4-BE49-F238E27FC236}">
                  <a16:creationId xmlns:a16="http://schemas.microsoft.com/office/drawing/2014/main" id="{DEB0A086-1111-4AB4-9AD5-DD7775735DF8}"/>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21" name="Ovaal 320">
              <a:extLst>
                <a:ext uri="{FF2B5EF4-FFF2-40B4-BE49-F238E27FC236}">
                  <a16:creationId xmlns:a16="http://schemas.microsoft.com/office/drawing/2014/main" id="{F2789F1D-4A82-4DA2-B9D7-616E885A6F88}"/>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22" name="Rechthoek 321">
              <a:extLst>
                <a:ext uri="{FF2B5EF4-FFF2-40B4-BE49-F238E27FC236}">
                  <a16:creationId xmlns:a16="http://schemas.microsoft.com/office/drawing/2014/main" id="{CD5BBC9B-3BD9-4CA3-8B0A-CEEED7165B83}"/>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23" name="Rechthoek 322">
              <a:extLst>
                <a:ext uri="{FF2B5EF4-FFF2-40B4-BE49-F238E27FC236}">
                  <a16:creationId xmlns:a16="http://schemas.microsoft.com/office/drawing/2014/main" id="{DB6A35F0-813D-4860-89AC-BEE9DA357E81}"/>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24" name="Rechte verbindingslijn 323">
              <a:extLst>
                <a:ext uri="{FF2B5EF4-FFF2-40B4-BE49-F238E27FC236}">
                  <a16:creationId xmlns:a16="http://schemas.microsoft.com/office/drawing/2014/main" id="{A58D0377-EA26-4D0E-A18D-45DB404DB7AF}"/>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25" name="Ovaal 324">
              <a:extLst>
                <a:ext uri="{FF2B5EF4-FFF2-40B4-BE49-F238E27FC236}">
                  <a16:creationId xmlns:a16="http://schemas.microsoft.com/office/drawing/2014/main" id="{2E0C2D67-0BC2-41D7-9DF5-3E03E433292C}"/>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26" name="Rechthoek 325">
              <a:extLst>
                <a:ext uri="{FF2B5EF4-FFF2-40B4-BE49-F238E27FC236}">
                  <a16:creationId xmlns:a16="http://schemas.microsoft.com/office/drawing/2014/main" id="{992CBF55-359F-4DEB-B150-894282698C3E}"/>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27" name="Ovaal 326">
              <a:extLst>
                <a:ext uri="{FF2B5EF4-FFF2-40B4-BE49-F238E27FC236}">
                  <a16:creationId xmlns:a16="http://schemas.microsoft.com/office/drawing/2014/main" id="{BA5694DC-83A2-4635-8D3C-4E5F8B00A33A}"/>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28" name="Rechthoek 327">
              <a:extLst>
                <a:ext uri="{FF2B5EF4-FFF2-40B4-BE49-F238E27FC236}">
                  <a16:creationId xmlns:a16="http://schemas.microsoft.com/office/drawing/2014/main" id="{B1F18ECE-4948-4A0D-AB74-3CF7D3C2040A}"/>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177" name="Groep 176">
            <a:extLst>
              <a:ext uri="{FF2B5EF4-FFF2-40B4-BE49-F238E27FC236}">
                <a16:creationId xmlns:a16="http://schemas.microsoft.com/office/drawing/2014/main" id="{78C6F4E0-5D60-45C8-9FAE-E6FFE355A4C5}"/>
              </a:ext>
            </a:extLst>
          </p:cNvPr>
          <p:cNvGrpSpPr/>
          <p:nvPr userDrawn="1"/>
        </p:nvGrpSpPr>
        <p:grpSpPr>
          <a:xfrm>
            <a:off x="12391601" y="0"/>
            <a:ext cx="3183678" cy="4278621"/>
            <a:chOff x="12391601" y="0"/>
            <a:chExt cx="3183678" cy="4278621"/>
          </a:xfrm>
        </p:grpSpPr>
        <p:sp>
          <p:nvSpPr>
            <p:cNvPr id="178" name="Rechthoek 177">
              <a:extLst>
                <a:ext uri="{FF2B5EF4-FFF2-40B4-BE49-F238E27FC236}">
                  <a16:creationId xmlns:a16="http://schemas.microsoft.com/office/drawing/2014/main" id="{0C22893C-BA40-4F30-B310-FF8144B6CFF0}"/>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79" name="Ovaal 178">
              <a:extLst>
                <a:ext uri="{FF2B5EF4-FFF2-40B4-BE49-F238E27FC236}">
                  <a16:creationId xmlns:a16="http://schemas.microsoft.com/office/drawing/2014/main" id="{79CAE5B3-89CD-4DC8-A8BF-08FB15BE0D3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0" name="Rechte verbindingslijn 179">
              <a:extLst>
                <a:ext uri="{FF2B5EF4-FFF2-40B4-BE49-F238E27FC236}">
                  <a16:creationId xmlns:a16="http://schemas.microsoft.com/office/drawing/2014/main" id="{D40955E8-D7A3-465A-9964-568A9EFC6B9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81" name="Rechte verbindingslijn 180">
              <a:extLst>
                <a:ext uri="{FF2B5EF4-FFF2-40B4-BE49-F238E27FC236}">
                  <a16:creationId xmlns:a16="http://schemas.microsoft.com/office/drawing/2014/main" id="{2FAF3A56-9A51-4CBE-8098-8F9571346DE9}"/>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82" name="Rechthoek 181">
              <a:extLst>
                <a:ext uri="{FF2B5EF4-FFF2-40B4-BE49-F238E27FC236}">
                  <a16:creationId xmlns:a16="http://schemas.microsoft.com/office/drawing/2014/main" id="{F0BF308B-466D-4584-BC8E-FBC1CEEB93E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83" name="Rechte verbindingslijn 182">
              <a:extLst>
                <a:ext uri="{FF2B5EF4-FFF2-40B4-BE49-F238E27FC236}">
                  <a16:creationId xmlns:a16="http://schemas.microsoft.com/office/drawing/2014/main" id="{85046990-5994-4AEF-B547-B5D72417368B}"/>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84" name="Ovaal 183">
              <a:extLst>
                <a:ext uri="{FF2B5EF4-FFF2-40B4-BE49-F238E27FC236}">
                  <a16:creationId xmlns:a16="http://schemas.microsoft.com/office/drawing/2014/main" id="{6DBF0669-0C69-46DB-9428-DB7E44A6A3BC}"/>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5" name="Rechthoek 184">
              <a:extLst>
                <a:ext uri="{FF2B5EF4-FFF2-40B4-BE49-F238E27FC236}">
                  <a16:creationId xmlns:a16="http://schemas.microsoft.com/office/drawing/2014/main" id="{0B02E7B6-F96B-4E75-8C7C-ADE41BD6F34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86" name="Groep 185">
              <a:extLst>
                <a:ext uri="{FF2B5EF4-FFF2-40B4-BE49-F238E27FC236}">
                  <a16:creationId xmlns:a16="http://schemas.microsoft.com/office/drawing/2014/main" id="{E5FEA21E-BCB2-4A26-811D-05A0C0A904AC}"/>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26335F41-3D56-42FE-898F-07B7FDA75DC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18" name="Rechte verbindingslijn 217">
                <a:extLst>
                  <a:ext uri="{FF2B5EF4-FFF2-40B4-BE49-F238E27FC236}">
                    <a16:creationId xmlns:a16="http://schemas.microsoft.com/office/drawing/2014/main" id="{C440C38C-20D8-4DED-8D3D-6F5ABD4C3C9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A350DD35-2561-4602-A3EF-FE6A7E9F12B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87" name="Groep 186">
              <a:extLst>
                <a:ext uri="{FF2B5EF4-FFF2-40B4-BE49-F238E27FC236}">
                  <a16:creationId xmlns:a16="http://schemas.microsoft.com/office/drawing/2014/main" id="{C0B2A3FC-E4A4-44DE-B669-20ADDC625114}"/>
                </a:ext>
              </a:extLst>
            </p:cNvPr>
            <p:cNvGrpSpPr/>
            <p:nvPr userDrawn="1"/>
          </p:nvGrpSpPr>
          <p:grpSpPr>
            <a:xfrm>
              <a:off x="12757282" y="1141626"/>
              <a:ext cx="294789" cy="318834"/>
              <a:chOff x="14466489" y="1001522"/>
              <a:chExt cx="290627" cy="314333"/>
            </a:xfrm>
          </p:grpSpPr>
          <p:sp>
            <p:nvSpPr>
              <p:cNvPr id="211" name="Rechthoek 210">
                <a:extLst>
                  <a:ext uri="{FF2B5EF4-FFF2-40B4-BE49-F238E27FC236}">
                    <a16:creationId xmlns:a16="http://schemas.microsoft.com/office/drawing/2014/main" id="{EBC83DBF-8E4B-46C1-9008-55DC25F2DEA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12" name="Ovaal 211">
                <a:extLst>
                  <a:ext uri="{FF2B5EF4-FFF2-40B4-BE49-F238E27FC236}">
                    <a16:creationId xmlns:a16="http://schemas.microsoft.com/office/drawing/2014/main" id="{A3A43F3B-3700-4B89-9793-7D3036DECC4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3" name="Vrije vorm: vorm 212">
                <a:extLst>
                  <a:ext uri="{FF2B5EF4-FFF2-40B4-BE49-F238E27FC236}">
                    <a16:creationId xmlns:a16="http://schemas.microsoft.com/office/drawing/2014/main" id="{7D990796-41AD-4004-9980-E2DF175C36AD}"/>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4" name="Rechthoek: afgeronde hoeken 213">
                <a:extLst>
                  <a:ext uri="{FF2B5EF4-FFF2-40B4-BE49-F238E27FC236}">
                    <a16:creationId xmlns:a16="http://schemas.microsoft.com/office/drawing/2014/main" id="{0825E50A-14F4-4E0B-9361-E3D92A7FCCC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15" name="Rechte verbindingslijn 214">
                <a:extLst>
                  <a:ext uri="{FF2B5EF4-FFF2-40B4-BE49-F238E27FC236}">
                    <a16:creationId xmlns:a16="http://schemas.microsoft.com/office/drawing/2014/main" id="{326055B3-01A6-4D15-9109-D66B3E25A20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16" name="Rechte verbindingslijn 215">
                <a:extLst>
                  <a:ext uri="{FF2B5EF4-FFF2-40B4-BE49-F238E27FC236}">
                    <a16:creationId xmlns:a16="http://schemas.microsoft.com/office/drawing/2014/main" id="{ED193875-86D2-4159-BDCD-C7F71AF80FC1}"/>
                  </a:ext>
                </a:extLst>
              </p:cNvPr>
              <p:cNvCxnSpPr>
                <a:cxnSpLocks/>
                <a:stCxn id="21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88" name="Ovaal 187">
              <a:extLst>
                <a:ext uri="{FF2B5EF4-FFF2-40B4-BE49-F238E27FC236}">
                  <a16:creationId xmlns:a16="http://schemas.microsoft.com/office/drawing/2014/main" id="{3A41CEB9-2038-4A12-AE9B-9F111913363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89" name="Rechthoek 188">
              <a:extLst>
                <a:ext uri="{FF2B5EF4-FFF2-40B4-BE49-F238E27FC236}">
                  <a16:creationId xmlns:a16="http://schemas.microsoft.com/office/drawing/2014/main" id="{0FD90EC1-BC0C-4BE7-AC91-6B70F63783D2}"/>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90" name="Rechte verbindingslijn 189">
              <a:extLst>
                <a:ext uri="{FF2B5EF4-FFF2-40B4-BE49-F238E27FC236}">
                  <a16:creationId xmlns:a16="http://schemas.microsoft.com/office/drawing/2014/main" id="{175003E0-947F-493D-87F2-8723C6A8C12C}"/>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91" name="Groep 190">
              <a:extLst>
                <a:ext uri="{FF2B5EF4-FFF2-40B4-BE49-F238E27FC236}">
                  <a16:creationId xmlns:a16="http://schemas.microsoft.com/office/drawing/2014/main" id="{1598CEBC-2D1A-4008-A56D-EDBF216EE1C0}"/>
                </a:ext>
              </a:extLst>
            </p:cNvPr>
            <p:cNvGrpSpPr/>
            <p:nvPr userDrawn="1"/>
          </p:nvGrpSpPr>
          <p:grpSpPr>
            <a:xfrm>
              <a:off x="12696514" y="3540678"/>
              <a:ext cx="514284" cy="612918"/>
              <a:chOff x="12682980" y="3403241"/>
              <a:chExt cx="622284" cy="741632"/>
            </a:xfrm>
          </p:grpSpPr>
          <p:grpSp>
            <p:nvGrpSpPr>
              <p:cNvPr id="195" name="Groep 194">
                <a:extLst>
                  <a:ext uri="{FF2B5EF4-FFF2-40B4-BE49-F238E27FC236}">
                    <a16:creationId xmlns:a16="http://schemas.microsoft.com/office/drawing/2014/main" id="{F182831D-3676-401A-974B-FAB465349B92}"/>
                  </a:ext>
                </a:extLst>
              </p:cNvPr>
              <p:cNvGrpSpPr/>
              <p:nvPr userDrawn="1"/>
            </p:nvGrpSpPr>
            <p:grpSpPr>
              <a:xfrm>
                <a:off x="12771568" y="3403241"/>
                <a:ext cx="467138" cy="448489"/>
                <a:chOff x="12782195" y="3403241"/>
                <a:chExt cx="467138" cy="448489"/>
              </a:xfrm>
            </p:grpSpPr>
            <p:grpSp>
              <p:nvGrpSpPr>
                <p:cNvPr id="198" name="Groep 197">
                  <a:extLst>
                    <a:ext uri="{FF2B5EF4-FFF2-40B4-BE49-F238E27FC236}">
                      <a16:creationId xmlns:a16="http://schemas.microsoft.com/office/drawing/2014/main" id="{0665E7BB-8ABA-4736-993F-5FECA7203C4E}"/>
                    </a:ext>
                  </a:extLst>
                </p:cNvPr>
                <p:cNvGrpSpPr/>
                <p:nvPr userDrawn="1"/>
              </p:nvGrpSpPr>
              <p:grpSpPr>
                <a:xfrm>
                  <a:off x="12782195" y="3403241"/>
                  <a:ext cx="412967" cy="393907"/>
                  <a:chOff x="13554906" y="3320109"/>
                  <a:chExt cx="443906" cy="423419"/>
                </a:xfrm>
              </p:grpSpPr>
              <p:grpSp>
                <p:nvGrpSpPr>
                  <p:cNvPr id="205" name="Groep 204">
                    <a:extLst>
                      <a:ext uri="{FF2B5EF4-FFF2-40B4-BE49-F238E27FC236}">
                        <a16:creationId xmlns:a16="http://schemas.microsoft.com/office/drawing/2014/main" id="{F70C4021-3530-4634-96F9-21ED1F2E8908}"/>
                      </a:ext>
                    </a:extLst>
                  </p:cNvPr>
                  <p:cNvGrpSpPr/>
                  <p:nvPr userDrawn="1"/>
                </p:nvGrpSpPr>
                <p:grpSpPr>
                  <a:xfrm>
                    <a:off x="13554906" y="3320109"/>
                    <a:ext cx="443906" cy="423419"/>
                    <a:chOff x="12909684" y="1276143"/>
                    <a:chExt cx="443906" cy="423419"/>
                  </a:xfrm>
                </p:grpSpPr>
                <p:sp>
                  <p:nvSpPr>
                    <p:cNvPr id="208" name="Rechthoek 207">
                      <a:extLst>
                        <a:ext uri="{FF2B5EF4-FFF2-40B4-BE49-F238E27FC236}">
                          <a16:creationId xmlns:a16="http://schemas.microsoft.com/office/drawing/2014/main" id="{D5C1438D-A735-4167-A249-AA61399B404C}"/>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09" name="Rechthoek 208">
                      <a:extLst>
                        <a:ext uri="{FF2B5EF4-FFF2-40B4-BE49-F238E27FC236}">
                          <a16:creationId xmlns:a16="http://schemas.microsoft.com/office/drawing/2014/main" id="{F21FF678-A67F-4BAB-84A6-A8FEB9A213A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10" name="Ovaal 209">
                      <a:extLst>
                        <a:ext uri="{FF2B5EF4-FFF2-40B4-BE49-F238E27FC236}">
                          <a16:creationId xmlns:a16="http://schemas.microsoft.com/office/drawing/2014/main" id="{29BC043A-5D61-4FFF-AA22-9693944D309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206" name="Afbeelding 205">
                    <a:extLst>
                      <a:ext uri="{FF2B5EF4-FFF2-40B4-BE49-F238E27FC236}">
                        <a16:creationId xmlns:a16="http://schemas.microsoft.com/office/drawing/2014/main" id="{079F8545-AB46-4034-A22C-6B991D102ED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207" name="Afbeelding 206">
                    <a:extLst>
                      <a:ext uri="{FF2B5EF4-FFF2-40B4-BE49-F238E27FC236}">
                        <a16:creationId xmlns:a16="http://schemas.microsoft.com/office/drawing/2014/main" id="{9DEE9B1E-4595-4571-AB13-AD348943704B}"/>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8" y="3454369"/>
                    <a:ext cx="173367" cy="111423"/>
                  </a:xfrm>
                  <a:prstGeom prst="rect">
                    <a:avLst/>
                  </a:prstGeom>
                </p:spPr>
              </p:pic>
            </p:grpSp>
            <p:grpSp>
              <p:nvGrpSpPr>
                <p:cNvPr id="199" name="Groep 198">
                  <a:extLst>
                    <a:ext uri="{FF2B5EF4-FFF2-40B4-BE49-F238E27FC236}">
                      <a16:creationId xmlns:a16="http://schemas.microsoft.com/office/drawing/2014/main" id="{798D5E4C-42BE-41E8-9B27-B327CD424938}"/>
                    </a:ext>
                  </a:extLst>
                </p:cNvPr>
                <p:cNvGrpSpPr/>
                <p:nvPr userDrawn="1"/>
              </p:nvGrpSpPr>
              <p:grpSpPr>
                <a:xfrm>
                  <a:off x="13103513" y="3705268"/>
                  <a:ext cx="145820" cy="146462"/>
                  <a:chOff x="13096169" y="3602278"/>
                  <a:chExt cx="145820" cy="146462"/>
                </a:xfrm>
              </p:grpSpPr>
              <p:sp>
                <p:nvSpPr>
                  <p:cNvPr id="203" name="Rechthoek 202">
                    <a:extLst>
                      <a:ext uri="{FF2B5EF4-FFF2-40B4-BE49-F238E27FC236}">
                        <a16:creationId xmlns:a16="http://schemas.microsoft.com/office/drawing/2014/main" id="{9426A64A-A40A-4E0A-BE4B-4F4A5B08C32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04" name="Rechthoek 203">
                    <a:extLst>
                      <a:ext uri="{FF2B5EF4-FFF2-40B4-BE49-F238E27FC236}">
                        <a16:creationId xmlns:a16="http://schemas.microsoft.com/office/drawing/2014/main" id="{232A4A1C-3722-4DEA-8F45-097FDB8D88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00" name="Groep 199">
                  <a:extLst>
                    <a:ext uri="{FF2B5EF4-FFF2-40B4-BE49-F238E27FC236}">
                      <a16:creationId xmlns:a16="http://schemas.microsoft.com/office/drawing/2014/main" id="{A963ED44-16C6-43CE-BB5E-4F3D30829AD7}"/>
                    </a:ext>
                  </a:extLst>
                </p:cNvPr>
                <p:cNvGrpSpPr/>
                <p:nvPr userDrawn="1"/>
              </p:nvGrpSpPr>
              <p:grpSpPr>
                <a:xfrm rot="10800000">
                  <a:off x="13061402" y="3665637"/>
                  <a:ext cx="145820" cy="146462"/>
                  <a:chOff x="13096169" y="3602278"/>
                  <a:chExt cx="145820" cy="146462"/>
                </a:xfrm>
              </p:grpSpPr>
              <p:sp>
                <p:nvSpPr>
                  <p:cNvPr id="201" name="Rechthoek 200">
                    <a:extLst>
                      <a:ext uri="{FF2B5EF4-FFF2-40B4-BE49-F238E27FC236}">
                        <a16:creationId xmlns:a16="http://schemas.microsoft.com/office/drawing/2014/main" id="{70CEB185-DB8C-4786-B066-24AE0D25D99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02" name="Rechthoek 201">
                    <a:extLst>
                      <a:ext uri="{FF2B5EF4-FFF2-40B4-BE49-F238E27FC236}">
                        <a16:creationId xmlns:a16="http://schemas.microsoft.com/office/drawing/2014/main" id="{C7A02C0C-4BD5-430B-AA90-54B9D5A2104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196" name="Rechthoek 195">
                <a:extLst>
                  <a:ext uri="{FF2B5EF4-FFF2-40B4-BE49-F238E27FC236}">
                    <a16:creationId xmlns:a16="http://schemas.microsoft.com/office/drawing/2014/main" id="{088F75E5-3279-4406-ADED-7193A27BBF7C}"/>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197" name="Gelijkbenige driehoek 196">
                <a:extLst>
                  <a:ext uri="{FF2B5EF4-FFF2-40B4-BE49-F238E27FC236}">
                    <a16:creationId xmlns:a16="http://schemas.microsoft.com/office/drawing/2014/main" id="{4910FB32-4732-40BB-A8B7-3A645ED0E431}"/>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8780316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KST / AFBEELDING (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2912620"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1FE06E3F-E8B6-4FFF-9874-0C354FD306CD}"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AFBEELDING (L)</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3992873" y="1459111"/>
            <a:ext cx="7658873" cy="4119774"/>
          </a:xfrm>
          <a:prstGeom prst="roundRect">
            <a:avLst>
              <a:gd name="adj" fmla="val 1562"/>
            </a:avLst>
          </a:prstGeo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2" name="GRID" hidden="1">
            <a:extLst>
              <a:ext uri="{FF2B5EF4-FFF2-40B4-BE49-F238E27FC236}">
                <a16:creationId xmlns:a16="http://schemas.microsoft.com/office/drawing/2014/main" id="{1E41F764-1AFD-4406-8FC3-8AFDE81A144B}"/>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A48EBADC-7828-4BE0-96FE-54072374E48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93FEF0DA-6152-49B4-88A9-FA1B029BA12E}"/>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9D7895AD-EFA0-49FE-B48C-7F8CB364A30A}"/>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CFF143D-181F-426E-8325-F22238B7EEBE}"/>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E79AA7-F8F1-455E-9B66-D81495328928}"/>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533D6696-A362-4DD7-803F-2DC08411661E}"/>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EFCCFC8E-71E5-444E-ACBB-E36F283C7588}"/>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5D8956D1-457D-40F8-8190-FA6F756085CB}"/>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1AEE44CE-345A-41FC-8F3E-46B190D19250}"/>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B5CFE119-C5CF-4E3E-9E92-B99F66582E74}"/>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3F952043-26FE-4C8E-A1A4-5780FB85A1A5}"/>
                </a:ext>
              </a:extLst>
            </p:cNvPr>
            <p:cNvSpPr/>
            <p:nvPr userDrawn="1"/>
          </p:nvSpPr>
          <p:spPr>
            <a:xfrm>
              <a:off x="5826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B1470838-9E0F-49A1-AFAE-65487F57FB08}"/>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D9E6C3CF-16A6-4C4A-A370-DB04E3A4CF43}"/>
                </a:ext>
              </a:extLst>
            </p:cNvPr>
            <p:cNvSpPr/>
            <p:nvPr userDrawn="1"/>
          </p:nvSpPr>
          <p:spPr>
            <a:xfrm>
              <a:off x="3452873"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313" name="Instructie">
            <a:extLst>
              <a:ext uri="{FF2B5EF4-FFF2-40B4-BE49-F238E27FC236}">
                <a16:creationId xmlns:a16="http://schemas.microsoft.com/office/drawing/2014/main" id="{66A5A389-707D-4258-A7D5-BE1780C3409B}"/>
              </a:ext>
            </a:extLst>
          </p:cNvPr>
          <p:cNvGrpSpPr/>
          <p:nvPr userDrawn="1"/>
        </p:nvGrpSpPr>
        <p:grpSpPr>
          <a:xfrm>
            <a:off x="-3437547" y="1434"/>
            <a:ext cx="3201327" cy="6041867"/>
            <a:chOff x="-3437547" y="1434"/>
            <a:chExt cx="3201327" cy="6041867"/>
          </a:xfrm>
        </p:grpSpPr>
        <p:cxnSp>
          <p:nvCxnSpPr>
            <p:cNvPr id="314" name="Rechte verbindingslijn 313">
              <a:extLst>
                <a:ext uri="{FF2B5EF4-FFF2-40B4-BE49-F238E27FC236}">
                  <a16:creationId xmlns:a16="http://schemas.microsoft.com/office/drawing/2014/main" id="{BDB3E11C-04FA-4977-B005-A195F31C2869}"/>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5" name="Ovaal 314">
              <a:extLst>
                <a:ext uri="{FF2B5EF4-FFF2-40B4-BE49-F238E27FC236}">
                  <a16:creationId xmlns:a16="http://schemas.microsoft.com/office/drawing/2014/main" id="{19CB214C-60F4-48EF-A8B8-BC59C731B119}"/>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6" name="Rechthoek 315">
              <a:extLst>
                <a:ext uri="{FF2B5EF4-FFF2-40B4-BE49-F238E27FC236}">
                  <a16:creationId xmlns:a16="http://schemas.microsoft.com/office/drawing/2014/main" id="{B61E6B0A-1B59-4F1B-9174-D61F8D244499}"/>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7" name="Ovaal 316">
              <a:extLst>
                <a:ext uri="{FF2B5EF4-FFF2-40B4-BE49-F238E27FC236}">
                  <a16:creationId xmlns:a16="http://schemas.microsoft.com/office/drawing/2014/main" id="{AD1E1F91-5F43-4D18-920A-DA67E3671B90}"/>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18" name="Rechthoek 317">
              <a:extLst>
                <a:ext uri="{FF2B5EF4-FFF2-40B4-BE49-F238E27FC236}">
                  <a16:creationId xmlns:a16="http://schemas.microsoft.com/office/drawing/2014/main" id="{C333984C-4F99-4CD5-963F-7BE7C7EDDE91}"/>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9" name="Ovaal 318">
              <a:extLst>
                <a:ext uri="{FF2B5EF4-FFF2-40B4-BE49-F238E27FC236}">
                  <a16:creationId xmlns:a16="http://schemas.microsoft.com/office/drawing/2014/main" id="{4FCC8973-A1CB-4EE6-84BF-13394AF321B7}"/>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20" name="Rechthoek 319">
              <a:extLst>
                <a:ext uri="{FF2B5EF4-FFF2-40B4-BE49-F238E27FC236}">
                  <a16:creationId xmlns:a16="http://schemas.microsoft.com/office/drawing/2014/main" id="{7BB53F2E-FB55-4AF6-834B-FDE8EC697243}"/>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21" name="Ovaal 320">
              <a:extLst>
                <a:ext uri="{FF2B5EF4-FFF2-40B4-BE49-F238E27FC236}">
                  <a16:creationId xmlns:a16="http://schemas.microsoft.com/office/drawing/2014/main" id="{288904F1-9CC1-4BAD-A57F-A15FE1ACC443}"/>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2" name="Rechthoek 321">
              <a:extLst>
                <a:ext uri="{FF2B5EF4-FFF2-40B4-BE49-F238E27FC236}">
                  <a16:creationId xmlns:a16="http://schemas.microsoft.com/office/drawing/2014/main" id="{9AD2C58B-3D0E-4D39-AA53-E03F600286BB}"/>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23" name="Rechthoek 322">
              <a:extLst>
                <a:ext uri="{FF2B5EF4-FFF2-40B4-BE49-F238E27FC236}">
                  <a16:creationId xmlns:a16="http://schemas.microsoft.com/office/drawing/2014/main" id="{44130C0F-4785-4346-8053-6EDEAFB3C95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4" name="Ovaal 323">
              <a:extLst>
                <a:ext uri="{FF2B5EF4-FFF2-40B4-BE49-F238E27FC236}">
                  <a16:creationId xmlns:a16="http://schemas.microsoft.com/office/drawing/2014/main" id="{8079D226-9D9A-4CCF-AF12-BEAF7081233F}"/>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5" name="Rechte verbindingslijn 324">
              <a:extLst>
                <a:ext uri="{FF2B5EF4-FFF2-40B4-BE49-F238E27FC236}">
                  <a16:creationId xmlns:a16="http://schemas.microsoft.com/office/drawing/2014/main" id="{CD1F7B5D-15A4-4C51-BA9A-8D696834ACB9}"/>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6" name="Groep 325">
              <a:extLst>
                <a:ext uri="{FF2B5EF4-FFF2-40B4-BE49-F238E27FC236}">
                  <a16:creationId xmlns:a16="http://schemas.microsoft.com/office/drawing/2014/main" id="{3E8D81BD-43DC-49CA-9E86-B63A07D93C8D}"/>
                </a:ext>
              </a:extLst>
            </p:cNvPr>
            <p:cNvGrpSpPr/>
            <p:nvPr userDrawn="1"/>
          </p:nvGrpSpPr>
          <p:grpSpPr>
            <a:xfrm>
              <a:off x="-3437547" y="1295337"/>
              <a:ext cx="2933825" cy="558875"/>
              <a:chOff x="-3419346" y="368233"/>
              <a:chExt cx="3904920" cy="743862"/>
            </a:xfrm>
          </p:grpSpPr>
          <p:sp>
            <p:nvSpPr>
              <p:cNvPr id="343" name="Rechthoek 342">
                <a:extLst>
                  <a:ext uri="{FF2B5EF4-FFF2-40B4-BE49-F238E27FC236}">
                    <a16:creationId xmlns:a16="http://schemas.microsoft.com/office/drawing/2014/main" id="{971C35B1-2351-4514-8B7F-9B628E926C2B}"/>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4" name="Rechte verbindingslijn 343">
                <a:extLst>
                  <a:ext uri="{FF2B5EF4-FFF2-40B4-BE49-F238E27FC236}">
                    <a16:creationId xmlns:a16="http://schemas.microsoft.com/office/drawing/2014/main" id="{129E9C8E-61FE-4179-9B3C-6855B49B8AD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5" name="Rechte verbindingslijn 344">
                <a:extLst>
                  <a:ext uri="{FF2B5EF4-FFF2-40B4-BE49-F238E27FC236}">
                    <a16:creationId xmlns:a16="http://schemas.microsoft.com/office/drawing/2014/main" id="{B1D22699-471A-40EF-90FB-B7672957348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6" name="Rechthoek 345">
                <a:extLst>
                  <a:ext uri="{FF2B5EF4-FFF2-40B4-BE49-F238E27FC236}">
                    <a16:creationId xmlns:a16="http://schemas.microsoft.com/office/drawing/2014/main" id="{F0A32C35-7BF9-444E-BE85-24B10C3B2D3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47" name="Groep 346">
                <a:extLst>
                  <a:ext uri="{FF2B5EF4-FFF2-40B4-BE49-F238E27FC236}">
                    <a16:creationId xmlns:a16="http://schemas.microsoft.com/office/drawing/2014/main" id="{D226C922-5240-41B5-AD5F-986D1D179744}"/>
                  </a:ext>
                </a:extLst>
              </p:cNvPr>
              <p:cNvGrpSpPr/>
              <p:nvPr userDrawn="1"/>
            </p:nvGrpSpPr>
            <p:grpSpPr>
              <a:xfrm>
                <a:off x="-3002834" y="720303"/>
                <a:ext cx="182598" cy="143759"/>
                <a:chOff x="-3310843" y="700986"/>
                <a:chExt cx="182598" cy="143759"/>
              </a:xfrm>
            </p:grpSpPr>
            <p:grpSp>
              <p:nvGrpSpPr>
                <p:cNvPr id="386" name="Groep 385">
                  <a:extLst>
                    <a:ext uri="{FF2B5EF4-FFF2-40B4-BE49-F238E27FC236}">
                      <a16:creationId xmlns:a16="http://schemas.microsoft.com/office/drawing/2014/main" id="{CDFBA10E-89A1-4D4B-A357-5FF5D79DD9C0}"/>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61BCBED7-C234-41D6-8596-5D10C0207F4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CAA329F8-73AE-4812-9367-B3EA57D9837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6E5F5E82-5243-4BDC-8A4D-D86D10FEDC3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5B8B2FDE-1D7F-4EB8-B9E7-BB3BCD243FF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835EFA3A-E9E6-4BC7-BE87-618044D5893D}"/>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4FA547EF-5FED-403B-A576-8B68064FFB26}"/>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BA4D0C60-A865-4254-B046-EFFAEE0F206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9" name="Pijl: punthaak 388">
                    <a:extLst>
                      <a:ext uri="{FF2B5EF4-FFF2-40B4-BE49-F238E27FC236}">
                        <a16:creationId xmlns:a16="http://schemas.microsoft.com/office/drawing/2014/main" id="{ED0EB921-B0D9-43E7-AE4B-85E283BA211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48" name="Groep 347">
                <a:extLst>
                  <a:ext uri="{FF2B5EF4-FFF2-40B4-BE49-F238E27FC236}">
                    <a16:creationId xmlns:a16="http://schemas.microsoft.com/office/drawing/2014/main" id="{F9C2DC79-BD42-411B-9B5B-F5ED1BD7FFC6}"/>
                  </a:ext>
                </a:extLst>
              </p:cNvPr>
              <p:cNvGrpSpPr/>
              <p:nvPr userDrawn="1"/>
            </p:nvGrpSpPr>
            <p:grpSpPr>
              <a:xfrm>
                <a:off x="-3326107" y="720303"/>
                <a:ext cx="182598" cy="143759"/>
                <a:chOff x="-3634116" y="700986"/>
                <a:chExt cx="182598" cy="143759"/>
              </a:xfrm>
            </p:grpSpPr>
            <p:grpSp>
              <p:nvGrpSpPr>
                <p:cNvPr id="377" name="Groep 376">
                  <a:extLst>
                    <a:ext uri="{FF2B5EF4-FFF2-40B4-BE49-F238E27FC236}">
                      <a16:creationId xmlns:a16="http://schemas.microsoft.com/office/drawing/2014/main" id="{945510EE-13EC-407D-9B73-D49262235D75}"/>
                    </a:ext>
                  </a:extLst>
                </p:cNvPr>
                <p:cNvGrpSpPr/>
                <p:nvPr userDrawn="1"/>
              </p:nvGrpSpPr>
              <p:grpSpPr>
                <a:xfrm>
                  <a:off x="-3634116" y="700986"/>
                  <a:ext cx="182598" cy="143759"/>
                  <a:chOff x="-3634116" y="700986"/>
                  <a:chExt cx="182598" cy="143759"/>
                </a:xfrm>
              </p:grpSpPr>
              <p:cxnSp>
                <p:nvCxnSpPr>
                  <p:cNvPr id="381" name="Rechte verbindingslijn 380">
                    <a:extLst>
                      <a:ext uri="{FF2B5EF4-FFF2-40B4-BE49-F238E27FC236}">
                        <a16:creationId xmlns:a16="http://schemas.microsoft.com/office/drawing/2014/main" id="{F59B2C75-E712-49B1-A8F4-CC907FD5BD2E}"/>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2AB032FF-F29F-4E98-AB4B-2CC049ECD19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539E62BF-1CAC-431E-870F-4C0877B09ECF}"/>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4" name="Rechte verbindingslijn 383">
                    <a:extLst>
                      <a:ext uri="{FF2B5EF4-FFF2-40B4-BE49-F238E27FC236}">
                        <a16:creationId xmlns:a16="http://schemas.microsoft.com/office/drawing/2014/main" id="{066ACC7E-9034-4381-960C-CF046F2E0A3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FB849B54-1A01-4287-B972-38AC9C5039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78" name="Groep 377">
                  <a:extLst>
                    <a:ext uri="{FF2B5EF4-FFF2-40B4-BE49-F238E27FC236}">
                      <a16:creationId xmlns:a16="http://schemas.microsoft.com/office/drawing/2014/main" id="{D469F597-4C34-4702-B603-A37C34FE4C6A}"/>
                    </a:ext>
                  </a:extLst>
                </p:cNvPr>
                <p:cNvGrpSpPr/>
                <p:nvPr userDrawn="1"/>
              </p:nvGrpSpPr>
              <p:grpSpPr>
                <a:xfrm>
                  <a:off x="-3634047" y="735854"/>
                  <a:ext cx="88801" cy="72568"/>
                  <a:chOff x="-2091059" y="1395403"/>
                  <a:chExt cx="157316" cy="128558"/>
                </a:xfrm>
              </p:grpSpPr>
              <p:sp>
                <p:nvSpPr>
                  <p:cNvPr id="379" name="Rechthoek 378">
                    <a:extLst>
                      <a:ext uri="{FF2B5EF4-FFF2-40B4-BE49-F238E27FC236}">
                        <a16:creationId xmlns:a16="http://schemas.microsoft.com/office/drawing/2014/main" id="{89E6AA46-0CC3-4E9C-8AC4-B58C5A7923F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0" name="Pijl: punthaak 379">
                    <a:extLst>
                      <a:ext uri="{FF2B5EF4-FFF2-40B4-BE49-F238E27FC236}">
                        <a16:creationId xmlns:a16="http://schemas.microsoft.com/office/drawing/2014/main" id="{6C752CED-A17F-424D-9A4B-94385983E14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49" name="Rechte verbindingslijn 348">
                <a:extLst>
                  <a:ext uri="{FF2B5EF4-FFF2-40B4-BE49-F238E27FC236}">
                    <a16:creationId xmlns:a16="http://schemas.microsoft.com/office/drawing/2014/main" id="{C3F67446-0C0D-4B17-9A0E-57AC35069F38}"/>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50" name="Rechte verbindingslijn 349">
                <a:extLst>
                  <a:ext uri="{FF2B5EF4-FFF2-40B4-BE49-F238E27FC236}">
                    <a16:creationId xmlns:a16="http://schemas.microsoft.com/office/drawing/2014/main" id="{65DF656D-3D0C-4EEC-A993-B1A665718ED6}"/>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51" name="Groep 350">
                <a:extLst>
                  <a:ext uri="{FF2B5EF4-FFF2-40B4-BE49-F238E27FC236}">
                    <a16:creationId xmlns:a16="http://schemas.microsoft.com/office/drawing/2014/main" id="{13ABDE18-A6F3-451C-BFAC-0373790CBD59}"/>
                  </a:ext>
                </a:extLst>
              </p:cNvPr>
              <p:cNvGrpSpPr/>
              <p:nvPr userDrawn="1"/>
            </p:nvGrpSpPr>
            <p:grpSpPr>
              <a:xfrm>
                <a:off x="-2425037" y="370226"/>
                <a:ext cx="357690" cy="330595"/>
                <a:chOff x="-2721817" y="347336"/>
                <a:chExt cx="432805" cy="400021"/>
              </a:xfrm>
            </p:grpSpPr>
            <p:sp>
              <p:nvSpPr>
                <p:cNvPr id="366" name="Rechthoek 365">
                  <a:extLst>
                    <a:ext uri="{FF2B5EF4-FFF2-40B4-BE49-F238E27FC236}">
                      <a16:creationId xmlns:a16="http://schemas.microsoft.com/office/drawing/2014/main" id="{2E18999F-9F18-439F-B7F1-ACF0C137626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67" name="Groep 366">
                  <a:extLst>
                    <a:ext uri="{FF2B5EF4-FFF2-40B4-BE49-F238E27FC236}">
                      <a16:creationId xmlns:a16="http://schemas.microsoft.com/office/drawing/2014/main" id="{00543282-9CE6-4F0B-8681-09F96EB87924}"/>
                    </a:ext>
                  </a:extLst>
                </p:cNvPr>
                <p:cNvGrpSpPr/>
                <p:nvPr userDrawn="1"/>
              </p:nvGrpSpPr>
              <p:grpSpPr>
                <a:xfrm>
                  <a:off x="-2652453" y="431583"/>
                  <a:ext cx="294076" cy="231526"/>
                  <a:chOff x="-3634116" y="700986"/>
                  <a:chExt cx="182598" cy="143759"/>
                </a:xfrm>
              </p:grpSpPr>
              <p:grpSp>
                <p:nvGrpSpPr>
                  <p:cNvPr id="368" name="Groep 367">
                    <a:extLst>
                      <a:ext uri="{FF2B5EF4-FFF2-40B4-BE49-F238E27FC236}">
                        <a16:creationId xmlns:a16="http://schemas.microsoft.com/office/drawing/2014/main" id="{19A9E15F-A54E-4B58-9A1D-F9E626A222C6}"/>
                      </a:ext>
                    </a:extLst>
                  </p:cNvPr>
                  <p:cNvGrpSpPr/>
                  <p:nvPr userDrawn="1"/>
                </p:nvGrpSpPr>
                <p:grpSpPr>
                  <a:xfrm>
                    <a:off x="-3634116" y="700986"/>
                    <a:ext cx="182598" cy="143759"/>
                    <a:chOff x="-3634116" y="700986"/>
                    <a:chExt cx="182598" cy="143759"/>
                  </a:xfrm>
                </p:grpSpPr>
                <p:cxnSp>
                  <p:nvCxnSpPr>
                    <p:cNvPr id="372" name="Rechte verbindingslijn 371">
                      <a:extLst>
                        <a:ext uri="{FF2B5EF4-FFF2-40B4-BE49-F238E27FC236}">
                          <a16:creationId xmlns:a16="http://schemas.microsoft.com/office/drawing/2014/main" id="{C574005F-A767-4953-820A-754DD085423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3" name="Rechte verbindingslijn 372">
                      <a:extLst>
                        <a:ext uri="{FF2B5EF4-FFF2-40B4-BE49-F238E27FC236}">
                          <a16:creationId xmlns:a16="http://schemas.microsoft.com/office/drawing/2014/main" id="{BE403BE7-0AF0-4359-80D5-94BB7AE7901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4" name="Rechte verbindingslijn 373">
                      <a:extLst>
                        <a:ext uri="{FF2B5EF4-FFF2-40B4-BE49-F238E27FC236}">
                          <a16:creationId xmlns:a16="http://schemas.microsoft.com/office/drawing/2014/main" id="{9F816BDA-BB3E-42DB-A7FB-38BEF17F60D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5" name="Rechte verbindingslijn 374">
                      <a:extLst>
                        <a:ext uri="{FF2B5EF4-FFF2-40B4-BE49-F238E27FC236}">
                          <a16:creationId xmlns:a16="http://schemas.microsoft.com/office/drawing/2014/main" id="{280E0709-802D-4135-9A10-F1F0EA7C5F4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6" name="Rechte verbindingslijn 375">
                      <a:extLst>
                        <a:ext uri="{FF2B5EF4-FFF2-40B4-BE49-F238E27FC236}">
                          <a16:creationId xmlns:a16="http://schemas.microsoft.com/office/drawing/2014/main" id="{A1F81D07-C763-479C-8C91-DC115C0D8E9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69" name="Groep 368">
                    <a:extLst>
                      <a:ext uri="{FF2B5EF4-FFF2-40B4-BE49-F238E27FC236}">
                        <a16:creationId xmlns:a16="http://schemas.microsoft.com/office/drawing/2014/main" id="{16733BA1-9B49-4AB7-89E2-E477F0C88041}"/>
                      </a:ext>
                    </a:extLst>
                  </p:cNvPr>
                  <p:cNvGrpSpPr/>
                  <p:nvPr userDrawn="1"/>
                </p:nvGrpSpPr>
                <p:grpSpPr>
                  <a:xfrm>
                    <a:off x="-3634047" y="735854"/>
                    <a:ext cx="88801" cy="72568"/>
                    <a:chOff x="-2091059" y="1395403"/>
                    <a:chExt cx="157316" cy="128558"/>
                  </a:xfrm>
                </p:grpSpPr>
                <p:sp>
                  <p:nvSpPr>
                    <p:cNvPr id="370" name="Rechthoek 369">
                      <a:extLst>
                        <a:ext uri="{FF2B5EF4-FFF2-40B4-BE49-F238E27FC236}">
                          <a16:creationId xmlns:a16="http://schemas.microsoft.com/office/drawing/2014/main" id="{C02D85BB-2B7A-48B9-8747-2B4BDC63DF6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1" name="Pijl: punthaak 370">
                      <a:extLst>
                        <a:ext uri="{FF2B5EF4-FFF2-40B4-BE49-F238E27FC236}">
                          <a16:creationId xmlns:a16="http://schemas.microsoft.com/office/drawing/2014/main" id="{5208E2D0-D1B8-4710-ACA3-E340604C5EE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2" name="Groep 351">
                <a:extLst>
                  <a:ext uri="{FF2B5EF4-FFF2-40B4-BE49-F238E27FC236}">
                    <a16:creationId xmlns:a16="http://schemas.microsoft.com/office/drawing/2014/main" id="{2F7B175D-9B0F-4CB9-81A4-07883B538FDD}"/>
                  </a:ext>
                </a:extLst>
              </p:cNvPr>
              <p:cNvGrpSpPr/>
              <p:nvPr userDrawn="1"/>
            </p:nvGrpSpPr>
            <p:grpSpPr>
              <a:xfrm>
                <a:off x="-2425037" y="781500"/>
                <a:ext cx="357690" cy="330595"/>
                <a:chOff x="-2721817" y="782525"/>
                <a:chExt cx="432805" cy="400021"/>
              </a:xfrm>
            </p:grpSpPr>
            <p:sp>
              <p:nvSpPr>
                <p:cNvPr id="355" name="Rechthoek 354">
                  <a:extLst>
                    <a:ext uri="{FF2B5EF4-FFF2-40B4-BE49-F238E27FC236}">
                      <a16:creationId xmlns:a16="http://schemas.microsoft.com/office/drawing/2014/main" id="{517D5E23-FB09-4E72-A832-C28BD866FFD7}"/>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6" name="Groep 355">
                  <a:extLst>
                    <a:ext uri="{FF2B5EF4-FFF2-40B4-BE49-F238E27FC236}">
                      <a16:creationId xmlns:a16="http://schemas.microsoft.com/office/drawing/2014/main" id="{9528064D-0826-4BFC-86D3-9D1EF718CB16}"/>
                    </a:ext>
                  </a:extLst>
                </p:cNvPr>
                <p:cNvGrpSpPr/>
                <p:nvPr userDrawn="1"/>
              </p:nvGrpSpPr>
              <p:grpSpPr>
                <a:xfrm>
                  <a:off x="-2652453" y="866772"/>
                  <a:ext cx="294076" cy="231526"/>
                  <a:chOff x="-3310843" y="700986"/>
                  <a:chExt cx="182598" cy="143759"/>
                </a:xfrm>
              </p:grpSpPr>
              <p:grpSp>
                <p:nvGrpSpPr>
                  <p:cNvPr id="357" name="Groep 356">
                    <a:extLst>
                      <a:ext uri="{FF2B5EF4-FFF2-40B4-BE49-F238E27FC236}">
                        <a16:creationId xmlns:a16="http://schemas.microsoft.com/office/drawing/2014/main" id="{7F35971B-94C6-468B-83CC-521FA2533FA5}"/>
                      </a:ext>
                    </a:extLst>
                  </p:cNvPr>
                  <p:cNvGrpSpPr/>
                  <p:nvPr userDrawn="1"/>
                </p:nvGrpSpPr>
                <p:grpSpPr>
                  <a:xfrm>
                    <a:off x="-3310843" y="700986"/>
                    <a:ext cx="182598" cy="143759"/>
                    <a:chOff x="-3310843" y="700986"/>
                    <a:chExt cx="182598" cy="143759"/>
                  </a:xfrm>
                </p:grpSpPr>
                <p:cxnSp>
                  <p:nvCxnSpPr>
                    <p:cNvPr id="361" name="Rechte verbindingslijn 360">
                      <a:extLst>
                        <a:ext uri="{FF2B5EF4-FFF2-40B4-BE49-F238E27FC236}">
                          <a16:creationId xmlns:a16="http://schemas.microsoft.com/office/drawing/2014/main" id="{CEA1E2CE-9868-46A2-B613-1AD40EBE380C}"/>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FA75C5C3-15A4-41B6-84A9-65D287276D74}"/>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3" name="Rechte verbindingslijn 362">
                      <a:extLst>
                        <a:ext uri="{FF2B5EF4-FFF2-40B4-BE49-F238E27FC236}">
                          <a16:creationId xmlns:a16="http://schemas.microsoft.com/office/drawing/2014/main" id="{25F37B2B-7BB9-48F3-8FAC-AD8B7D02C18E}"/>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4" name="Rechte verbindingslijn 363">
                      <a:extLst>
                        <a:ext uri="{FF2B5EF4-FFF2-40B4-BE49-F238E27FC236}">
                          <a16:creationId xmlns:a16="http://schemas.microsoft.com/office/drawing/2014/main" id="{C60CA2F8-EDBB-4572-9AAD-C3023AFDC15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5" name="Rechte verbindingslijn 364">
                      <a:extLst>
                        <a:ext uri="{FF2B5EF4-FFF2-40B4-BE49-F238E27FC236}">
                          <a16:creationId xmlns:a16="http://schemas.microsoft.com/office/drawing/2014/main" id="{1313F6C8-4720-44EB-ADA4-ED841630A6F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58" name="Groep 357">
                    <a:extLst>
                      <a:ext uri="{FF2B5EF4-FFF2-40B4-BE49-F238E27FC236}">
                        <a16:creationId xmlns:a16="http://schemas.microsoft.com/office/drawing/2014/main" id="{9391042A-C3AE-4FDD-9088-421E57098C95}"/>
                      </a:ext>
                    </a:extLst>
                  </p:cNvPr>
                  <p:cNvGrpSpPr/>
                  <p:nvPr userDrawn="1"/>
                </p:nvGrpSpPr>
                <p:grpSpPr>
                  <a:xfrm flipH="1">
                    <a:off x="-3310774" y="735854"/>
                    <a:ext cx="88801" cy="72568"/>
                    <a:chOff x="-2091059" y="1395403"/>
                    <a:chExt cx="157316" cy="128558"/>
                  </a:xfrm>
                </p:grpSpPr>
                <p:sp>
                  <p:nvSpPr>
                    <p:cNvPr id="359" name="Rechthoek 358">
                      <a:extLst>
                        <a:ext uri="{FF2B5EF4-FFF2-40B4-BE49-F238E27FC236}">
                          <a16:creationId xmlns:a16="http://schemas.microsoft.com/office/drawing/2014/main" id="{4AF52846-E1F0-4F8E-B415-3A923648689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0" name="Pijl: punthaak 359">
                      <a:extLst>
                        <a:ext uri="{FF2B5EF4-FFF2-40B4-BE49-F238E27FC236}">
                          <a16:creationId xmlns:a16="http://schemas.microsoft.com/office/drawing/2014/main" id="{E6D98ECF-0BA1-4D6F-9DA6-3DFCDFB324A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3" name="Rechthoek 352">
                <a:extLst>
                  <a:ext uri="{FF2B5EF4-FFF2-40B4-BE49-F238E27FC236}">
                    <a16:creationId xmlns:a16="http://schemas.microsoft.com/office/drawing/2014/main" id="{4204B077-92FB-4B65-844E-198E8BECD9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4" name="Rechthoek 353">
                <a:extLst>
                  <a:ext uri="{FF2B5EF4-FFF2-40B4-BE49-F238E27FC236}">
                    <a16:creationId xmlns:a16="http://schemas.microsoft.com/office/drawing/2014/main" id="{2E2E24B9-4B50-489B-99E4-BB00A91C8C6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27" name="Rechte verbindingslijn 326">
              <a:extLst>
                <a:ext uri="{FF2B5EF4-FFF2-40B4-BE49-F238E27FC236}">
                  <a16:creationId xmlns:a16="http://schemas.microsoft.com/office/drawing/2014/main" id="{464D35B2-2362-44E2-B3DB-5D8F11BBEE4B}"/>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28" name="Rechthoek 327">
              <a:extLst>
                <a:ext uri="{FF2B5EF4-FFF2-40B4-BE49-F238E27FC236}">
                  <a16:creationId xmlns:a16="http://schemas.microsoft.com/office/drawing/2014/main" id="{C4575DF3-F611-4ED0-9160-61A1427C3AA6}"/>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9" name="Ovaal 328">
              <a:extLst>
                <a:ext uri="{FF2B5EF4-FFF2-40B4-BE49-F238E27FC236}">
                  <a16:creationId xmlns:a16="http://schemas.microsoft.com/office/drawing/2014/main" id="{A1B8E9A6-4379-4925-B80C-62DB31AADB7C}"/>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30" name="Rechthoek 329">
              <a:extLst>
                <a:ext uri="{FF2B5EF4-FFF2-40B4-BE49-F238E27FC236}">
                  <a16:creationId xmlns:a16="http://schemas.microsoft.com/office/drawing/2014/main" id="{9D380F45-E4F1-4BBD-8FA8-CDEDBC7D898C}"/>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31" name="Ovaal 330">
              <a:extLst>
                <a:ext uri="{FF2B5EF4-FFF2-40B4-BE49-F238E27FC236}">
                  <a16:creationId xmlns:a16="http://schemas.microsoft.com/office/drawing/2014/main" id="{17BDFF78-B0B7-4581-AE2A-0051478D8685}"/>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2" name="Rechthoek 331">
              <a:extLst>
                <a:ext uri="{FF2B5EF4-FFF2-40B4-BE49-F238E27FC236}">
                  <a16:creationId xmlns:a16="http://schemas.microsoft.com/office/drawing/2014/main" id="{17036FFC-4998-4B16-803F-FCF3981E4D1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3" name="Ovaal 332">
              <a:extLst>
                <a:ext uri="{FF2B5EF4-FFF2-40B4-BE49-F238E27FC236}">
                  <a16:creationId xmlns:a16="http://schemas.microsoft.com/office/drawing/2014/main" id="{C1421421-1992-42D9-823C-D85B453206B4}"/>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4" name="Rechthoek 333">
              <a:extLst>
                <a:ext uri="{FF2B5EF4-FFF2-40B4-BE49-F238E27FC236}">
                  <a16:creationId xmlns:a16="http://schemas.microsoft.com/office/drawing/2014/main" id="{F68A0C3C-23E2-4568-9682-08A4D02AFAEB}"/>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5" name="Ovaal 334">
              <a:extLst>
                <a:ext uri="{FF2B5EF4-FFF2-40B4-BE49-F238E27FC236}">
                  <a16:creationId xmlns:a16="http://schemas.microsoft.com/office/drawing/2014/main" id="{4799B7D9-C473-430C-8F81-3AE30D31D0B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6" name="Rechthoek 335">
              <a:extLst>
                <a:ext uri="{FF2B5EF4-FFF2-40B4-BE49-F238E27FC236}">
                  <a16:creationId xmlns:a16="http://schemas.microsoft.com/office/drawing/2014/main" id="{7F13A039-6125-42E8-B82E-9CE8F0A550AA}"/>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37" name="Rechthoek 336">
              <a:extLst>
                <a:ext uri="{FF2B5EF4-FFF2-40B4-BE49-F238E27FC236}">
                  <a16:creationId xmlns:a16="http://schemas.microsoft.com/office/drawing/2014/main" id="{26E187A7-8461-48BF-BF3F-03B5981A368B}"/>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38" name="Rechte verbindingslijn 337">
              <a:extLst>
                <a:ext uri="{FF2B5EF4-FFF2-40B4-BE49-F238E27FC236}">
                  <a16:creationId xmlns:a16="http://schemas.microsoft.com/office/drawing/2014/main" id="{A0541823-903A-4C9E-8B9A-270AE2CD068C}"/>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39" name="Ovaal 338">
              <a:extLst>
                <a:ext uri="{FF2B5EF4-FFF2-40B4-BE49-F238E27FC236}">
                  <a16:creationId xmlns:a16="http://schemas.microsoft.com/office/drawing/2014/main" id="{754E9281-9BA1-4E69-9539-0BDE72954F24}"/>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40" name="Rechthoek 339">
              <a:extLst>
                <a:ext uri="{FF2B5EF4-FFF2-40B4-BE49-F238E27FC236}">
                  <a16:creationId xmlns:a16="http://schemas.microsoft.com/office/drawing/2014/main" id="{09E649A0-FC2D-40FE-841A-A3502F2E14D8}"/>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41" name="Ovaal 340">
              <a:extLst>
                <a:ext uri="{FF2B5EF4-FFF2-40B4-BE49-F238E27FC236}">
                  <a16:creationId xmlns:a16="http://schemas.microsoft.com/office/drawing/2014/main" id="{A2C486FF-3197-4B43-AFF1-AFA97A38CC5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2" name="Rechthoek 341">
              <a:extLst>
                <a:ext uri="{FF2B5EF4-FFF2-40B4-BE49-F238E27FC236}">
                  <a16:creationId xmlns:a16="http://schemas.microsoft.com/office/drawing/2014/main" id="{BBB44AF4-1420-42A0-A672-752F26289511}"/>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191" name="Groep 190">
            <a:extLst>
              <a:ext uri="{FF2B5EF4-FFF2-40B4-BE49-F238E27FC236}">
                <a16:creationId xmlns:a16="http://schemas.microsoft.com/office/drawing/2014/main" id="{DE9BD81A-255A-4363-A620-FB41FB91DDDB}"/>
              </a:ext>
            </a:extLst>
          </p:cNvPr>
          <p:cNvGrpSpPr/>
          <p:nvPr userDrawn="1"/>
        </p:nvGrpSpPr>
        <p:grpSpPr>
          <a:xfrm>
            <a:off x="12391601" y="0"/>
            <a:ext cx="3183678" cy="4278621"/>
            <a:chOff x="12391601" y="0"/>
            <a:chExt cx="3183678" cy="4278621"/>
          </a:xfrm>
        </p:grpSpPr>
        <p:sp>
          <p:nvSpPr>
            <p:cNvPr id="192" name="Rechthoek 191">
              <a:extLst>
                <a:ext uri="{FF2B5EF4-FFF2-40B4-BE49-F238E27FC236}">
                  <a16:creationId xmlns:a16="http://schemas.microsoft.com/office/drawing/2014/main" id="{E20C2D69-B092-46AD-AC00-6226A6DBC438}"/>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93" name="Ovaal 192">
              <a:extLst>
                <a:ext uri="{FF2B5EF4-FFF2-40B4-BE49-F238E27FC236}">
                  <a16:creationId xmlns:a16="http://schemas.microsoft.com/office/drawing/2014/main" id="{FC38609A-FD1A-4D80-B12D-571145F0EB6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94" name="Rechte verbindingslijn 193">
              <a:extLst>
                <a:ext uri="{FF2B5EF4-FFF2-40B4-BE49-F238E27FC236}">
                  <a16:creationId xmlns:a16="http://schemas.microsoft.com/office/drawing/2014/main" id="{F0462923-B1C1-4360-A705-8FF7BCCFBE6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95" name="Rechte verbindingslijn 194">
              <a:extLst>
                <a:ext uri="{FF2B5EF4-FFF2-40B4-BE49-F238E27FC236}">
                  <a16:creationId xmlns:a16="http://schemas.microsoft.com/office/drawing/2014/main" id="{EFF44239-810B-46D9-A1D1-47BC2D2B0825}"/>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96" name="Rechthoek 195">
              <a:extLst>
                <a:ext uri="{FF2B5EF4-FFF2-40B4-BE49-F238E27FC236}">
                  <a16:creationId xmlns:a16="http://schemas.microsoft.com/office/drawing/2014/main" id="{7FCE518B-B0B6-4764-8311-C2E1F9007D1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97" name="Rechte verbindingslijn 196">
              <a:extLst>
                <a:ext uri="{FF2B5EF4-FFF2-40B4-BE49-F238E27FC236}">
                  <a16:creationId xmlns:a16="http://schemas.microsoft.com/office/drawing/2014/main" id="{3E38ACFF-90E1-4DBF-888C-536982DC0188}"/>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98" name="Ovaal 197">
              <a:extLst>
                <a:ext uri="{FF2B5EF4-FFF2-40B4-BE49-F238E27FC236}">
                  <a16:creationId xmlns:a16="http://schemas.microsoft.com/office/drawing/2014/main" id="{ADC04B17-9298-42C7-8255-CAE8E7D1D70B}"/>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99" name="Rechthoek 198">
              <a:extLst>
                <a:ext uri="{FF2B5EF4-FFF2-40B4-BE49-F238E27FC236}">
                  <a16:creationId xmlns:a16="http://schemas.microsoft.com/office/drawing/2014/main" id="{E5859DAD-1B71-4678-89E1-FE8A2C8313A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00" name="Groep 199">
              <a:extLst>
                <a:ext uri="{FF2B5EF4-FFF2-40B4-BE49-F238E27FC236}">
                  <a16:creationId xmlns:a16="http://schemas.microsoft.com/office/drawing/2014/main" id="{253ED09A-EEDD-49EE-B275-B09E429CFEA2}"/>
                </a:ext>
              </a:extLst>
            </p:cNvPr>
            <p:cNvGrpSpPr/>
            <p:nvPr userDrawn="1"/>
          </p:nvGrpSpPr>
          <p:grpSpPr>
            <a:xfrm>
              <a:off x="12757282" y="2184550"/>
              <a:ext cx="825500" cy="209550"/>
              <a:chOff x="13504624" y="2482850"/>
              <a:chExt cx="825500" cy="209550"/>
            </a:xfrm>
          </p:grpSpPr>
          <p:sp>
            <p:nvSpPr>
              <p:cNvPr id="231" name="Rechthoek 230">
                <a:extLst>
                  <a:ext uri="{FF2B5EF4-FFF2-40B4-BE49-F238E27FC236}">
                    <a16:creationId xmlns:a16="http://schemas.microsoft.com/office/drawing/2014/main" id="{92896F93-D2A3-4CE6-B222-DC8ED12B6A7D}"/>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32" name="Rechte verbindingslijn 231">
                <a:extLst>
                  <a:ext uri="{FF2B5EF4-FFF2-40B4-BE49-F238E27FC236}">
                    <a16:creationId xmlns:a16="http://schemas.microsoft.com/office/drawing/2014/main" id="{71FF9085-B8A9-4ADA-977D-B0A03A470E0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33" name="Gelijkbenige driehoek 232">
                <a:extLst>
                  <a:ext uri="{FF2B5EF4-FFF2-40B4-BE49-F238E27FC236}">
                    <a16:creationId xmlns:a16="http://schemas.microsoft.com/office/drawing/2014/main" id="{F5501DB9-CF06-4903-829D-97AA4E80E32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01" name="Groep 200">
              <a:extLst>
                <a:ext uri="{FF2B5EF4-FFF2-40B4-BE49-F238E27FC236}">
                  <a16:creationId xmlns:a16="http://schemas.microsoft.com/office/drawing/2014/main" id="{42A220D0-4133-4B24-81B1-98FECD1DF67B}"/>
                </a:ext>
              </a:extLst>
            </p:cNvPr>
            <p:cNvGrpSpPr/>
            <p:nvPr userDrawn="1"/>
          </p:nvGrpSpPr>
          <p:grpSpPr>
            <a:xfrm>
              <a:off x="12757282" y="1141626"/>
              <a:ext cx="294789" cy="318834"/>
              <a:chOff x="14466489" y="1001522"/>
              <a:chExt cx="290627" cy="314333"/>
            </a:xfrm>
          </p:grpSpPr>
          <p:sp>
            <p:nvSpPr>
              <p:cNvPr id="225" name="Rechthoek 224">
                <a:extLst>
                  <a:ext uri="{FF2B5EF4-FFF2-40B4-BE49-F238E27FC236}">
                    <a16:creationId xmlns:a16="http://schemas.microsoft.com/office/drawing/2014/main" id="{D8FCB35D-4FE0-43E9-AA39-A1BA1E8B179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6" name="Ovaal 225">
                <a:extLst>
                  <a:ext uri="{FF2B5EF4-FFF2-40B4-BE49-F238E27FC236}">
                    <a16:creationId xmlns:a16="http://schemas.microsoft.com/office/drawing/2014/main" id="{85A2C362-52AE-402A-8DB2-993C9C0C2236}"/>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27" name="Vrije vorm: vorm 226">
                <a:extLst>
                  <a:ext uri="{FF2B5EF4-FFF2-40B4-BE49-F238E27FC236}">
                    <a16:creationId xmlns:a16="http://schemas.microsoft.com/office/drawing/2014/main" id="{EE197F35-9A80-46F4-B7BE-ED28469089D7}"/>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28" name="Rechthoek: afgeronde hoeken 227">
                <a:extLst>
                  <a:ext uri="{FF2B5EF4-FFF2-40B4-BE49-F238E27FC236}">
                    <a16:creationId xmlns:a16="http://schemas.microsoft.com/office/drawing/2014/main" id="{029FFF95-C519-4C5B-8BE8-BAB1F03F149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29" name="Rechte verbindingslijn 228">
                <a:extLst>
                  <a:ext uri="{FF2B5EF4-FFF2-40B4-BE49-F238E27FC236}">
                    <a16:creationId xmlns:a16="http://schemas.microsoft.com/office/drawing/2014/main" id="{3395386C-90CE-4A7C-A98B-6BDD8C2FA82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30" name="Rechte verbindingslijn 229">
                <a:extLst>
                  <a:ext uri="{FF2B5EF4-FFF2-40B4-BE49-F238E27FC236}">
                    <a16:creationId xmlns:a16="http://schemas.microsoft.com/office/drawing/2014/main" id="{F8B27765-37AB-49A8-8C33-2D3026F8DB19}"/>
                  </a:ext>
                </a:extLst>
              </p:cNvPr>
              <p:cNvCxnSpPr>
                <a:cxnSpLocks/>
                <a:stCxn id="22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02" name="Ovaal 201">
              <a:extLst>
                <a:ext uri="{FF2B5EF4-FFF2-40B4-BE49-F238E27FC236}">
                  <a16:creationId xmlns:a16="http://schemas.microsoft.com/office/drawing/2014/main" id="{AE4A3236-485C-4666-A1DB-FB0114CC0C5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3" name="Rechthoek 202">
              <a:extLst>
                <a:ext uri="{FF2B5EF4-FFF2-40B4-BE49-F238E27FC236}">
                  <a16:creationId xmlns:a16="http://schemas.microsoft.com/office/drawing/2014/main" id="{57BF5333-5012-47B4-96A0-A75CAE4C6531}"/>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04" name="Rechte verbindingslijn 203">
              <a:extLst>
                <a:ext uri="{FF2B5EF4-FFF2-40B4-BE49-F238E27FC236}">
                  <a16:creationId xmlns:a16="http://schemas.microsoft.com/office/drawing/2014/main" id="{A2C3ED1F-1793-493C-87B9-21A427AD265A}"/>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205" name="Groep 204">
              <a:extLst>
                <a:ext uri="{FF2B5EF4-FFF2-40B4-BE49-F238E27FC236}">
                  <a16:creationId xmlns:a16="http://schemas.microsoft.com/office/drawing/2014/main" id="{5C7A68CB-0056-4A1C-BDDD-758D5B45652E}"/>
                </a:ext>
              </a:extLst>
            </p:cNvPr>
            <p:cNvGrpSpPr/>
            <p:nvPr userDrawn="1"/>
          </p:nvGrpSpPr>
          <p:grpSpPr>
            <a:xfrm>
              <a:off x="12696514" y="3540678"/>
              <a:ext cx="514284" cy="612918"/>
              <a:chOff x="12682980" y="3403241"/>
              <a:chExt cx="622284" cy="741632"/>
            </a:xfrm>
          </p:grpSpPr>
          <p:grpSp>
            <p:nvGrpSpPr>
              <p:cNvPr id="209" name="Groep 208">
                <a:extLst>
                  <a:ext uri="{FF2B5EF4-FFF2-40B4-BE49-F238E27FC236}">
                    <a16:creationId xmlns:a16="http://schemas.microsoft.com/office/drawing/2014/main" id="{FE05E858-03BA-47A2-9576-3AC8C9798926}"/>
                  </a:ext>
                </a:extLst>
              </p:cNvPr>
              <p:cNvGrpSpPr/>
              <p:nvPr userDrawn="1"/>
            </p:nvGrpSpPr>
            <p:grpSpPr>
              <a:xfrm>
                <a:off x="12771568" y="3403241"/>
                <a:ext cx="467138" cy="448489"/>
                <a:chOff x="12782195" y="3403241"/>
                <a:chExt cx="467138" cy="448489"/>
              </a:xfrm>
            </p:grpSpPr>
            <p:grpSp>
              <p:nvGrpSpPr>
                <p:cNvPr id="212" name="Groep 211">
                  <a:extLst>
                    <a:ext uri="{FF2B5EF4-FFF2-40B4-BE49-F238E27FC236}">
                      <a16:creationId xmlns:a16="http://schemas.microsoft.com/office/drawing/2014/main" id="{52BF72BA-372B-46AA-A866-5BB2A9E52C99}"/>
                    </a:ext>
                  </a:extLst>
                </p:cNvPr>
                <p:cNvGrpSpPr/>
                <p:nvPr userDrawn="1"/>
              </p:nvGrpSpPr>
              <p:grpSpPr>
                <a:xfrm>
                  <a:off x="12782195" y="3403241"/>
                  <a:ext cx="412967" cy="393907"/>
                  <a:chOff x="13554906" y="3320109"/>
                  <a:chExt cx="443906" cy="423419"/>
                </a:xfrm>
              </p:grpSpPr>
              <p:grpSp>
                <p:nvGrpSpPr>
                  <p:cNvPr id="219" name="Groep 218">
                    <a:extLst>
                      <a:ext uri="{FF2B5EF4-FFF2-40B4-BE49-F238E27FC236}">
                        <a16:creationId xmlns:a16="http://schemas.microsoft.com/office/drawing/2014/main" id="{26AF55C7-E747-41BA-A2A9-AA1C2B1FDC41}"/>
                      </a:ext>
                    </a:extLst>
                  </p:cNvPr>
                  <p:cNvGrpSpPr/>
                  <p:nvPr userDrawn="1"/>
                </p:nvGrpSpPr>
                <p:grpSpPr>
                  <a:xfrm>
                    <a:off x="13554906" y="3320109"/>
                    <a:ext cx="443906" cy="423419"/>
                    <a:chOff x="12909684" y="1276143"/>
                    <a:chExt cx="443906" cy="423419"/>
                  </a:xfrm>
                </p:grpSpPr>
                <p:sp>
                  <p:nvSpPr>
                    <p:cNvPr id="222" name="Rechthoek 221">
                      <a:extLst>
                        <a:ext uri="{FF2B5EF4-FFF2-40B4-BE49-F238E27FC236}">
                          <a16:creationId xmlns:a16="http://schemas.microsoft.com/office/drawing/2014/main" id="{1172B7E7-C162-44AF-96D5-0494FB0FA521}"/>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3" name="Rechthoek 222">
                      <a:extLst>
                        <a:ext uri="{FF2B5EF4-FFF2-40B4-BE49-F238E27FC236}">
                          <a16:creationId xmlns:a16="http://schemas.microsoft.com/office/drawing/2014/main" id="{5D0485DE-E74D-4323-9DEF-ABE7044E3B3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4" name="Ovaal 223">
                      <a:extLst>
                        <a:ext uri="{FF2B5EF4-FFF2-40B4-BE49-F238E27FC236}">
                          <a16:creationId xmlns:a16="http://schemas.microsoft.com/office/drawing/2014/main" id="{E1912CA7-2D38-4167-831B-980CB3070F54}"/>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220" name="Afbeelding 219">
                    <a:extLst>
                      <a:ext uri="{FF2B5EF4-FFF2-40B4-BE49-F238E27FC236}">
                        <a16:creationId xmlns:a16="http://schemas.microsoft.com/office/drawing/2014/main" id="{FDFC122A-A086-4FC8-8E24-00C8CEC16F0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221" name="Afbeelding 220">
                    <a:extLst>
                      <a:ext uri="{FF2B5EF4-FFF2-40B4-BE49-F238E27FC236}">
                        <a16:creationId xmlns:a16="http://schemas.microsoft.com/office/drawing/2014/main" id="{273A67C8-CFF3-4A2E-A364-0EAA1D98B65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8" y="3454369"/>
                    <a:ext cx="173367" cy="111423"/>
                  </a:xfrm>
                  <a:prstGeom prst="rect">
                    <a:avLst/>
                  </a:prstGeom>
                </p:spPr>
              </p:pic>
            </p:grpSp>
            <p:grpSp>
              <p:nvGrpSpPr>
                <p:cNvPr id="213" name="Groep 212">
                  <a:extLst>
                    <a:ext uri="{FF2B5EF4-FFF2-40B4-BE49-F238E27FC236}">
                      <a16:creationId xmlns:a16="http://schemas.microsoft.com/office/drawing/2014/main" id="{D667FD43-AD2B-4AC4-9F28-33AE59F55DB2}"/>
                    </a:ext>
                  </a:extLst>
                </p:cNvPr>
                <p:cNvGrpSpPr/>
                <p:nvPr userDrawn="1"/>
              </p:nvGrpSpPr>
              <p:grpSpPr>
                <a:xfrm>
                  <a:off x="13103513" y="3705268"/>
                  <a:ext cx="145820" cy="146462"/>
                  <a:chOff x="13096169" y="3602278"/>
                  <a:chExt cx="145820" cy="146462"/>
                </a:xfrm>
              </p:grpSpPr>
              <p:sp>
                <p:nvSpPr>
                  <p:cNvPr id="217" name="Rechthoek 216">
                    <a:extLst>
                      <a:ext uri="{FF2B5EF4-FFF2-40B4-BE49-F238E27FC236}">
                        <a16:creationId xmlns:a16="http://schemas.microsoft.com/office/drawing/2014/main" id="{395027D0-3816-4997-9A54-A809A05EDE8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8" name="Rechthoek 217">
                    <a:extLst>
                      <a:ext uri="{FF2B5EF4-FFF2-40B4-BE49-F238E27FC236}">
                        <a16:creationId xmlns:a16="http://schemas.microsoft.com/office/drawing/2014/main" id="{F4C78CEB-2FEB-4AF5-B8C7-CA433D68154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14" name="Groep 213">
                  <a:extLst>
                    <a:ext uri="{FF2B5EF4-FFF2-40B4-BE49-F238E27FC236}">
                      <a16:creationId xmlns:a16="http://schemas.microsoft.com/office/drawing/2014/main" id="{D661A418-387C-4766-B984-6682A019CB0E}"/>
                    </a:ext>
                  </a:extLst>
                </p:cNvPr>
                <p:cNvGrpSpPr/>
                <p:nvPr userDrawn="1"/>
              </p:nvGrpSpPr>
              <p:grpSpPr>
                <a:xfrm rot="10800000">
                  <a:off x="13061402" y="3665637"/>
                  <a:ext cx="145820" cy="146462"/>
                  <a:chOff x="13096169" y="3602278"/>
                  <a:chExt cx="145820" cy="146462"/>
                </a:xfrm>
              </p:grpSpPr>
              <p:sp>
                <p:nvSpPr>
                  <p:cNvPr id="215" name="Rechthoek 214">
                    <a:extLst>
                      <a:ext uri="{FF2B5EF4-FFF2-40B4-BE49-F238E27FC236}">
                        <a16:creationId xmlns:a16="http://schemas.microsoft.com/office/drawing/2014/main" id="{6A033E4D-0B77-4B8D-9DDC-ADA7281B9F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6" name="Rechthoek 215">
                    <a:extLst>
                      <a:ext uri="{FF2B5EF4-FFF2-40B4-BE49-F238E27FC236}">
                        <a16:creationId xmlns:a16="http://schemas.microsoft.com/office/drawing/2014/main" id="{60B65305-B9B3-406E-82BB-EEFEAB6ED5C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210" name="Rechthoek 209">
                <a:extLst>
                  <a:ext uri="{FF2B5EF4-FFF2-40B4-BE49-F238E27FC236}">
                    <a16:creationId xmlns:a16="http://schemas.microsoft.com/office/drawing/2014/main" id="{A5C30312-8246-4345-A86F-02DE31753CB8}"/>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211" name="Gelijkbenige driehoek 210">
                <a:extLst>
                  <a:ext uri="{FF2B5EF4-FFF2-40B4-BE49-F238E27FC236}">
                    <a16:creationId xmlns:a16="http://schemas.microsoft.com/office/drawing/2014/main" id="{EA41D65A-BFA2-433B-A344-B18070AF8B37}"/>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3113130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9277F49C-3EF0-4FE1-9AEE-1B569D8AC0AA}"/>
              </a:ext>
            </a:extLst>
          </p:cNvPr>
          <p:cNvSpPr>
            <a:spLocks noGrp="1"/>
          </p:cNvSpPr>
          <p:nvPr>
            <p:ph type="pic" sz="quarter" idx="16" hasCustomPrompt="1"/>
          </p:nvPr>
        </p:nvSpPr>
        <p:spPr>
          <a:xfrm>
            <a:off x="0" y="-1"/>
            <a:ext cx="12191998" cy="6265769"/>
          </a:xfrm>
          <a:solidFill>
            <a:schemeClr val="bg1">
              <a:lumMod val="95000"/>
            </a:schemeClr>
          </a:solidFill>
        </p:spPr>
        <p:txBody>
          <a:bodyPr tIns="270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1E866FD5-390E-4B41-B79B-CB3DF6FF6E1A}"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AFBEELDING</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61" name="Instructie">
            <a:extLst>
              <a:ext uri="{FF2B5EF4-FFF2-40B4-BE49-F238E27FC236}">
                <a16:creationId xmlns:a16="http://schemas.microsoft.com/office/drawing/2014/main" id="{03E372C2-6CF2-4ED2-8A64-2CB215474CFB}"/>
              </a:ext>
            </a:extLst>
          </p:cNvPr>
          <p:cNvGrpSpPr/>
          <p:nvPr userDrawn="1"/>
        </p:nvGrpSpPr>
        <p:grpSpPr>
          <a:xfrm>
            <a:off x="12391601" y="0"/>
            <a:ext cx="3183678" cy="3883011"/>
            <a:chOff x="12391601" y="0"/>
            <a:chExt cx="3183678" cy="3883011"/>
          </a:xfrm>
        </p:grpSpPr>
        <p:grpSp>
          <p:nvGrpSpPr>
            <p:cNvPr id="65" name="Groep 64">
              <a:extLst>
                <a:ext uri="{FF2B5EF4-FFF2-40B4-BE49-F238E27FC236}">
                  <a16:creationId xmlns:a16="http://schemas.microsoft.com/office/drawing/2014/main" id="{410089C7-732E-470E-A73B-AE0A83CF265E}"/>
                </a:ext>
              </a:extLst>
            </p:cNvPr>
            <p:cNvGrpSpPr/>
            <p:nvPr userDrawn="1"/>
          </p:nvGrpSpPr>
          <p:grpSpPr>
            <a:xfrm>
              <a:off x="12757282" y="3100116"/>
              <a:ext cx="1499406" cy="678267"/>
              <a:chOff x="12757283" y="3120781"/>
              <a:chExt cx="1499406" cy="678267"/>
            </a:xfrm>
          </p:grpSpPr>
          <p:sp>
            <p:nvSpPr>
              <p:cNvPr id="89" name="Rechthoek 88">
                <a:extLst>
                  <a:ext uri="{FF2B5EF4-FFF2-40B4-BE49-F238E27FC236}">
                    <a16:creationId xmlns:a16="http://schemas.microsoft.com/office/drawing/2014/main" id="{CABA49A0-9B70-4593-B4DD-E92D3BE79194}"/>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90" name="Rechthoek 89">
                <a:extLst>
                  <a:ext uri="{FF2B5EF4-FFF2-40B4-BE49-F238E27FC236}">
                    <a16:creationId xmlns:a16="http://schemas.microsoft.com/office/drawing/2014/main" id="{96DDE965-E871-47F5-9FE5-E82F2C25139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1" name="Tekstvak 90">
                <a:extLst>
                  <a:ext uri="{FF2B5EF4-FFF2-40B4-BE49-F238E27FC236}">
                    <a16:creationId xmlns:a16="http://schemas.microsoft.com/office/drawing/2014/main" id="{E9A21028-1874-4295-93FF-4AC3CDB38FB7}"/>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92" name="Tekstvak 91">
                <a:extLst>
                  <a:ext uri="{FF2B5EF4-FFF2-40B4-BE49-F238E27FC236}">
                    <a16:creationId xmlns:a16="http://schemas.microsoft.com/office/drawing/2014/main" id="{AE0EA7B4-0CCD-4215-B995-5EA531B5CA00}"/>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3" name="Picture 3">
                <a:extLst>
                  <a:ext uri="{FF2B5EF4-FFF2-40B4-BE49-F238E27FC236}">
                    <a16:creationId xmlns:a16="http://schemas.microsoft.com/office/drawing/2014/main" id="{918BA030-D629-45BC-8A99-FFAC71280D3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4" name="Gelijkbenige driehoek 93">
                <a:extLst>
                  <a:ext uri="{FF2B5EF4-FFF2-40B4-BE49-F238E27FC236}">
                    <a16:creationId xmlns:a16="http://schemas.microsoft.com/office/drawing/2014/main" id="{B78F2EF2-81FD-4762-9B3C-25A35B5143F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95" name="Groep 94">
                <a:extLst>
                  <a:ext uri="{FF2B5EF4-FFF2-40B4-BE49-F238E27FC236}">
                    <a16:creationId xmlns:a16="http://schemas.microsoft.com/office/drawing/2014/main" id="{E4A351EC-55EF-4909-8119-4D621C97A589}"/>
                  </a:ext>
                </a:extLst>
              </p:cNvPr>
              <p:cNvGrpSpPr/>
              <p:nvPr userDrawn="1"/>
            </p:nvGrpSpPr>
            <p:grpSpPr>
              <a:xfrm>
                <a:off x="12822311" y="3178534"/>
                <a:ext cx="182309" cy="163794"/>
                <a:chOff x="12832541" y="3162395"/>
                <a:chExt cx="219532" cy="197236"/>
              </a:xfrm>
            </p:grpSpPr>
            <p:sp>
              <p:nvSpPr>
                <p:cNvPr id="100" name="Rechthoek 99">
                  <a:extLst>
                    <a:ext uri="{FF2B5EF4-FFF2-40B4-BE49-F238E27FC236}">
                      <a16:creationId xmlns:a16="http://schemas.microsoft.com/office/drawing/2014/main" id="{B832FFCA-9879-405F-AAE8-888376095F92}"/>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01" name="Rechthoek 100">
                  <a:extLst>
                    <a:ext uri="{FF2B5EF4-FFF2-40B4-BE49-F238E27FC236}">
                      <a16:creationId xmlns:a16="http://schemas.microsoft.com/office/drawing/2014/main" id="{5BDB98E6-422C-4652-B8B4-DFCE331F3B26}"/>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02" name="Rechthoek 101">
                  <a:extLst>
                    <a:ext uri="{FF2B5EF4-FFF2-40B4-BE49-F238E27FC236}">
                      <a16:creationId xmlns:a16="http://schemas.microsoft.com/office/drawing/2014/main" id="{069A26F1-6CDF-46E3-BCEF-9027BA7D42F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nvGrpSpPr>
              <p:cNvPr id="96" name="Groep 95">
                <a:extLst>
                  <a:ext uri="{FF2B5EF4-FFF2-40B4-BE49-F238E27FC236}">
                    <a16:creationId xmlns:a16="http://schemas.microsoft.com/office/drawing/2014/main" id="{7275FEBE-22E6-45CB-977F-923A0E758097}"/>
                  </a:ext>
                </a:extLst>
              </p:cNvPr>
              <p:cNvGrpSpPr/>
              <p:nvPr userDrawn="1"/>
            </p:nvGrpSpPr>
            <p:grpSpPr>
              <a:xfrm>
                <a:off x="12822311" y="3480352"/>
                <a:ext cx="182309" cy="163794"/>
                <a:chOff x="12832541" y="3162395"/>
                <a:chExt cx="219532" cy="197236"/>
              </a:xfrm>
            </p:grpSpPr>
            <p:sp>
              <p:nvSpPr>
                <p:cNvPr id="97" name="Rechthoek 96">
                  <a:extLst>
                    <a:ext uri="{FF2B5EF4-FFF2-40B4-BE49-F238E27FC236}">
                      <a16:creationId xmlns:a16="http://schemas.microsoft.com/office/drawing/2014/main" id="{B23D6C2E-0F3B-4616-A53D-854218EFE71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8" name="Rechthoek 97">
                  <a:extLst>
                    <a:ext uri="{FF2B5EF4-FFF2-40B4-BE49-F238E27FC236}">
                      <a16:creationId xmlns:a16="http://schemas.microsoft.com/office/drawing/2014/main" id="{B83D79E5-AD69-4A8A-8354-129A22D25FE3}"/>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9" name="Rechthoek 98">
                  <a:extLst>
                    <a:ext uri="{FF2B5EF4-FFF2-40B4-BE49-F238E27FC236}">
                      <a16:creationId xmlns:a16="http://schemas.microsoft.com/office/drawing/2014/main" id="{8BE7535C-03AF-4D1B-B702-B07FA7AC9787}"/>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
          <p:nvSpPr>
            <p:cNvPr id="66" name="Rechthoek 65">
              <a:extLst>
                <a:ext uri="{FF2B5EF4-FFF2-40B4-BE49-F238E27FC236}">
                  <a16:creationId xmlns:a16="http://schemas.microsoft.com/office/drawing/2014/main" id="{176F3B6B-944E-4017-9F68-62698982C162}"/>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67" name="Ovaal 66">
              <a:extLst>
                <a:ext uri="{FF2B5EF4-FFF2-40B4-BE49-F238E27FC236}">
                  <a16:creationId xmlns:a16="http://schemas.microsoft.com/office/drawing/2014/main" id="{A1409754-86CE-4AB4-B150-0D867D98049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8" name="Rechte verbindingslijn 67">
              <a:extLst>
                <a:ext uri="{FF2B5EF4-FFF2-40B4-BE49-F238E27FC236}">
                  <a16:creationId xmlns:a16="http://schemas.microsoft.com/office/drawing/2014/main" id="{F8FB7CC0-863B-4F17-B3B4-49FE21D5EDA1}"/>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69" name="Rechte verbindingslijn 68">
              <a:extLst>
                <a:ext uri="{FF2B5EF4-FFF2-40B4-BE49-F238E27FC236}">
                  <a16:creationId xmlns:a16="http://schemas.microsoft.com/office/drawing/2014/main" id="{AAC2D312-317B-48B6-80B4-9626E9851B73}"/>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70" name="Rechthoek 69">
              <a:extLst>
                <a:ext uri="{FF2B5EF4-FFF2-40B4-BE49-F238E27FC236}">
                  <a16:creationId xmlns:a16="http://schemas.microsoft.com/office/drawing/2014/main" id="{F6345545-BDFC-4EEE-B76B-30FEADF146D1}"/>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9C1E74D7-BCE7-4C39-925F-055E9FF175D6}"/>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72" name="Ovaal 71">
              <a:extLst>
                <a:ext uri="{FF2B5EF4-FFF2-40B4-BE49-F238E27FC236}">
                  <a16:creationId xmlns:a16="http://schemas.microsoft.com/office/drawing/2014/main" id="{6941CE07-9AC0-4B7C-94FC-0A96C2651182}"/>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3" name="Rechthoek 72">
              <a:extLst>
                <a:ext uri="{FF2B5EF4-FFF2-40B4-BE49-F238E27FC236}">
                  <a16:creationId xmlns:a16="http://schemas.microsoft.com/office/drawing/2014/main" id="{522F2471-323C-4D67-9817-609478422EA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4" name="Groep 73">
              <a:extLst>
                <a:ext uri="{FF2B5EF4-FFF2-40B4-BE49-F238E27FC236}">
                  <a16:creationId xmlns:a16="http://schemas.microsoft.com/office/drawing/2014/main" id="{DBF53E4A-1E86-43FC-AD89-871FB997F320}"/>
                </a:ext>
              </a:extLst>
            </p:cNvPr>
            <p:cNvGrpSpPr/>
            <p:nvPr userDrawn="1"/>
          </p:nvGrpSpPr>
          <p:grpSpPr>
            <a:xfrm>
              <a:off x="12757282" y="2184550"/>
              <a:ext cx="825500" cy="209550"/>
              <a:chOff x="13504624" y="2482850"/>
              <a:chExt cx="825500" cy="209550"/>
            </a:xfrm>
          </p:grpSpPr>
          <p:sp>
            <p:nvSpPr>
              <p:cNvPr id="86" name="Rechthoek 85">
                <a:extLst>
                  <a:ext uri="{FF2B5EF4-FFF2-40B4-BE49-F238E27FC236}">
                    <a16:creationId xmlns:a16="http://schemas.microsoft.com/office/drawing/2014/main" id="{DD742ABA-7974-44E6-B34C-78B657EE035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87" name="Rechte verbindingslijn 86">
                <a:extLst>
                  <a:ext uri="{FF2B5EF4-FFF2-40B4-BE49-F238E27FC236}">
                    <a16:creationId xmlns:a16="http://schemas.microsoft.com/office/drawing/2014/main" id="{E3523979-2512-436A-B53E-5574C67AA28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8" name="Gelijkbenige driehoek 87">
                <a:extLst>
                  <a:ext uri="{FF2B5EF4-FFF2-40B4-BE49-F238E27FC236}">
                    <a16:creationId xmlns:a16="http://schemas.microsoft.com/office/drawing/2014/main" id="{7A2BD2DB-2226-4013-B06B-AB386AE5231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75" name="Groep 74">
              <a:extLst>
                <a:ext uri="{FF2B5EF4-FFF2-40B4-BE49-F238E27FC236}">
                  <a16:creationId xmlns:a16="http://schemas.microsoft.com/office/drawing/2014/main" id="{563C4487-9D2F-4396-B38D-FA27F445588C}"/>
                </a:ext>
              </a:extLst>
            </p:cNvPr>
            <p:cNvGrpSpPr/>
            <p:nvPr userDrawn="1"/>
          </p:nvGrpSpPr>
          <p:grpSpPr>
            <a:xfrm>
              <a:off x="12757282" y="1141626"/>
              <a:ext cx="294789" cy="318834"/>
              <a:chOff x="14466489" y="1001522"/>
              <a:chExt cx="290627" cy="314333"/>
            </a:xfrm>
          </p:grpSpPr>
          <p:sp>
            <p:nvSpPr>
              <p:cNvPr id="79" name="Rechthoek 78">
                <a:extLst>
                  <a:ext uri="{FF2B5EF4-FFF2-40B4-BE49-F238E27FC236}">
                    <a16:creationId xmlns:a16="http://schemas.microsoft.com/office/drawing/2014/main" id="{A8778464-D8CF-4A27-A866-597FB418B44E}"/>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1" name="Ovaal 80">
                <a:extLst>
                  <a:ext uri="{FF2B5EF4-FFF2-40B4-BE49-F238E27FC236}">
                    <a16:creationId xmlns:a16="http://schemas.microsoft.com/office/drawing/2014/main" id="{B6C483D4-91F3-48DA-8BF5-24D6385E62D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2" name="Vrije vorm: vorm 81">
                <a:extLst>
                  <a:ext uri="{FF2B5EF4-FFF2-40B4-BE49-F238E27FC236}">
                    <a16:creationId xmlns:a16="http://schemas.microsoft.com/office/drawing/2014/main" id="{E5500FCF-E6E0-4015-ADD2-E13D4FA4BB7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3" name="Rechthoek: afgeronde hoeken 82">
                <a:extLst>
                  <a:ext uri="{FF2B5EF4-FFF2-40B4-BE49-F238E27FC236}">
                    <a16:creationId xmlns:a16="http://schemas.microsoft.com/office/drawing/2014/main" id="{0C120868-992C-4A83-A843-925C6D2117F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84" name="Rechte verbindingslijn 83">
                <a:extLst>
                  <a:ext uri="{FF2B5EF4-FFF2-40B4-BE49-F238E27FC236}">
                    <a16:creationId xmlns:a16="http://schemas.microsoft.com/office/drawing/2014/main" id="{F450B4A0-C913-433C-8F58-AC476870C4F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85" name="Rechte verbindingslijn 84">
                <a:extLst>
                  <a:ext uri="{FF2B5EF4-FFF2-40B4-BE49-F238E27FC236}">
                    <a16:creationId xmlns:a16="http://schemas.microsoft.com/office/drawing/2014/main" id="{F093EB83-9910-4608-928B-B206FCA39884}"/>
                  </a:ext>
                </a:extLst>
              </p:cNvPr>
              <p:cNvCxnSpPr>
                <a:cxnSpLocks/>
                <a:stCxn id="83"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Ovaal 75">
              <a:extLst>
                <a:ext uri="{FF2B5EF4-FFF2-40B4-BE49-F238E27FC236}">
                  <a16:creationId xmlns:a16="http://schemas.microsoft.com/office/drawing/2014/main" id="{ABB66157-FEA6-42F8-BA39-76BA2C3EB8F1}"/>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7" name="Rechthoek 76">
              <a:extLst>
                <a:ext uri="{FF2B5EF4-FFF2-40B4-BE49-F238E27FC236}">
                  <a16:creationId xmlns:a16="http://schemas.microsoft.com/office/drawing/2014/main" id="{E0D16C00-FDEC-43EC-9403-49F8354E66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8" name="Rechte verbindingslijn 77">
              <a:extLst>
                <a:ext uri="{FF2B5EF4-FFF2-40B4-BE49-F238E27FC236}">
                  <a16:creationId xmlns:a16="http://schemas.microsoft.com/office/drawing/2014/main" id="{C0E867D2-F5D7-4492-A6AB-07D22B431A01}"/>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sp>
        <p:nvSpPr>
          <p:cNvPr id="52" name="Titel 1">
            <a:extLst>
              <a:ext uri="{FF2B5EF4-FFF2-40B4-BE49-F238E27FC236}">
                <a16:creationId xmlns:a16="http://schemas.microsoft.com/office/drawing/2014/main" id="{01F6C60D-5159-4B7A-B934-3A1B555544A0}"/>
              </a:ext>
            </a:extLst>
          </p:cNvPr>
          <p:cNvSpPr>
            <a:spLocks noGrp="1"/>
          </p:cNvSpPr>
          <p:nvPr>
            <p:ph type="title" hasCustomPrompt="1"/>
          </p:nvPr>
        </p:nvSpPr>
        <p:spPr>
          <a:xfrm>
            <a:off x="540000" y="538833"/>
            <a:ext cx="11112000" cy="301139"/>
          </a:xfrm>
        </p:spPr>
        <p:txBody>
          <a:bodyPr/>
          <a:lstStyle>
            <a:lvl1pPr>
              <a:defRPr/>
            </a:lvl1pPr>
          </a:lstStyle>
          <a:p>
            <a:r>
              <a:rPr lang="nl-NL" noProof="0"/>
              <a:t>Voeg hier een titel in</a:t>
            </a:r>
            <a:endParaRPr lang="nl-NL"/>
          </a:p>
        </p:txBody>
      </p:sp>
      <p:sp>
        <p:nvSpPr>
          <p:cNvPr id="53" name="Tijdelijke aanduiding voor tekst 32">
            <a:extLst>
              <a:ext uri="{FF2B5EF4-FFF2-40B4-BE49-F238E27FC236}">
                <a16:creationId xmlns:a16="http://schemas.microsoft.com/office/drawing/2014/main" id="{F650475A-DF8D-4155-91B4-07580ED73B72}"/>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Tree>
    <p:extLst>
      <p:ext uri="{BB962C8B-B14F-4D97-AF65-F5344CB8AC3E}">
        <p14:creationId xmlns:p14="http://schemas.microsoft.com/office/powerpoint/2010/main" val="12292413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9277F49C-3EF0-4FE1-9AEE-1B569D8AC0AA}"/>
              </a:ext>
            </a:extLst>
          </p:cNvPr>
          <p:cNvSpPr>
            <a:spLocks noGrp="1"/>
          </p:cNvSpPr>
          <p:nvPr>
            <p:ph type="pic" sz="quarter" idx="16" hasCustomPrompt="1"/>
          </p:nvPr>
        </p:nvSpPr>
        <p:spPr>
          <a:xfrm>
            <a:off x="0" y="-1"/>
            <a:ext cx="12191998" cy="6265769"/>
          </a:xfrm>
          <a:solidFill>
            <a:schemeClr val="bg1">
              <a:lumMod val="95000"/>
            </a:schemeClr>
          </a:solidFill>
        </p:spPr>
        <p:txBody>
          <a:bodyPr lIns="6480000" tIns="0" anchor="ctr"/>
          <a:lstStyle>
            <a:lvl1pPr marL="0" indent="0" algn="l">
              <a:buNone/>
              <a:defRPr sz="1200" i="1">
                <a:solidFill>
                  <a:schemeClr val="bg1">
                    <a:lumMod val="50000"/>
                  </a:schemeClr>
                </a:solidFill>
              </a:defRPr>
            </a:lvl1pPr>
          </a:lstStyle>
          <a:p>
            <a:r>
              <a:rPr lang="nl-NL" noProof="0"/>
              <a:t>Klik op het pictogram hiernaast om een afbeelding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735EDA61-A351-4C51-879B-97EA160A5710}"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QUOTE</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1" name="Tijdelijke aanduiding voor verticale tekst 2">
            <a:extLst>
              <a:ext uri="{FF2B5EF4-FFF2-40B4-BE49-F238E27FC236}">
                <a16:creationId xmlns:a16="http://schemas.microsoft.com/office/drawing/2014/main" id="{C9789E4E-F2BA-4AE5-B556-28F06570489F}"/>
              </a:ext>
            </a:extLst>
          </p:cNvPr>
          <p:cNvSpPr>
            <a:spLocks noGrp="1"/>
          </p:cNvSpPr>
          <p:nvPr>
            <p:ph type="body" orient="vert" idx="1" hasCustomPrompt="1"/>
          </p:nvPr>
        </p:nvSpPr>
        <p:spPr>
          <a:xfrm>
            <a:off x="539999" y="546980"/>
            <a:ext cx="5260300" cy="4434453"/>
          </a:xfrm>
          <a:prstGeom prst="roundRect">
            <a:avLst>
              <a:gd name="adj" fmla="val 3753"/>
            </a:avLst>
          </a:prstGeom>
          <a:solidFill>
            <a:schemeClr val="accent1"/>
          </a:solidFill>
        </p:spPr>
        <p:txBody>
          <a:bodyPr vert="horz" wrap="square" lIns="360000" tIns="252000" rIns="360000" bIns="252000" anchor="t">
            <a:noAutofit/>
          </a:bodyPr>
          <a:lstStyle>
            <a:lvl1pPr marL="0" indent="0">
              <a:spcAft>
                <a:spcPts val="1000"/>
              </a:spcAft>
              <a:buClr>
                <a:schemeClr val="bg2">
                  <a:lumMod val="50000"/>
                </a:schemeClr>
              </a:buClr>
              <a:buNone/>
              <a:defRPr sz="2400" b="1" i="0">
                <a:solidFill>
                  <a:schemeClr val="bg1"/>
                </a:solidFill>
              </a:defRPr>
            </a:lvl1pPr>
            <a:lvl2pPr marL="0" indent="0" algn="l">
              <a:spcBef>
                <a:spcPts val="1000"/>
              </a:spcBef>
              <a:buClr>
                <a:schemeClr val="bg1"/>
              </a:buClr>
              <a:buFont typeface="Calibri Light" panose="020F0302020204030204" pitchFamily="34" charset="0"/>
              <a:buNone/>
              <a:defRPr sz="2000" i="1">
                <a:solidFill>
                  <a:schemeClr val="bg1"/>
                </a:solidFill>
              </a:defRPr>
            </a:lvl2pPr>
            <a:lvl3pPr marL="355600" indent="0" algn="r">
              <a:spcBef>
                <a:spcPts val="1000"/>
              </a:spcBef>
              <a:buClr>
                <a:schemeClr val="bg1"/>
              </a:buClr>
              <a:buNone/>
              <a:defRPr i="1">
                <a:solidFill>
                  <a:schemeClr val="bg1"/>
                </a:solidFill>
              </a:defRPr>
            </a:lvl3pPr>
            <a:lvl4pPr>
              <a:defRPr>
                <a:solidFill>
                  <a:schemeClr val="bg1"/>
                </a:solidFill>
              </a:defRPr>
            </a:lvl4pPr>
            <a:lvl5pP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defRPr>
                <a:solidFill>
                  <a:schemeClr val="bg1"/>
                </a:solidFill>
              </a:defRPr>
            </a:lvl8pPr>
            <a:lvl9pPr>
              <a:defRPr>
                <a:solidFill>
                  <a:schemeClr val="bg1"/>
                </a:solidFill>
              </a:defRPr>
            </a:lvl9pPr>
          </a:lstStyle>
          <a:p>
            <a:pPr lvl="0"/>
            <a:r>
              <a:rPr lang="nl-NL" noProof="0"/>
              <a:t>Titel quote</a:t>
            </a:r>
          </a:p>
          <a:p>
            <a:pPr lvl="1"/>
            <a:r>
              <a:rPr lang="nl-NL" noProof="0"/>
              <a:t>Quote tekst</a:t>
            </a:r>
          </a:p>
          <a:p>
            <a:pPr lvl="2"/>
            <a:r>
              <a:rPr lang="nl-NL" noProof="0"/>
              <a:t>Voor- en achternaam</a:t>
            </a:r>
          </a:p>
        </p:txBody>
      </p:sp>
      <p:grpSp>
        <p:nvGrpSpPr>
          <p:cNvPr id="12" name="Instructie">
            <a:extLst>
              <a:ext uri="{FF2B5EF4-FFF2-40B4-BE49-F238E27FC236}">
                <a16:creationId xmlns:a16="http://schemas.microsoft.com/office/drawing/2014/main" id="{C9F35CA6-7BFA-474E-8BDC-C043146657C7}"/>
              </a:ext>
            </a:extLst>
          </p:cNvPr>
          <p:cNvGrpSpPr/>
          <p:nvPr userDrawn="1"/>
        </p:nvGrpSpPr>
        <p:grpSpPr>
          <a:xfrm>
            <a:off x="-3437547" y="1434"/>
            <a:ext cx="3201327" cy="2834720"/>
            <a:chOff x="-3437547" y="1434"/>
            <a:chExt cx="3201327" cy="2834720"/>
          </a:xfrm>
        </p:grpSpPr>
        <p:cxnSp>
          <p:nvCxnSpPr>
            <p:cNvPr id="13" name="Rechte verbindingslijn 12">
              <a:extLst>
                <a:ext uri="{FF2B5EF4-FFF2-40B4-BE49-F238E27FC236}">
                  <a16:creationId xmlns:a16="http://schemas.microsoft.com/office/drawing/2014/main" id="{7470AD52-AC44-4F35-98D6-B477F9F4FF33}"/>
                </a:ext>
              </a:extLst>
            </p:cNvPr>
            <p:cNvCxnSpPr>
              <a:cxnSpLocks/>
            </p:cNvCxnSpPr>
            <p:nvPr userDrawn="1"/>
          </p:nvCxnSpPr>
          <p:spPr>
            <a:xfrm>
              <a:off x="-3419346" y="2836154"/>
              <a:ext cx="3176013" cy="0"/>
            </a:xfrm>
            <a:prstGeom prst="line">
              <a:avLst/>
            </a:prstGeom>
            <a:noFill/>
            <a:ln w="3175" cap="flat" cmpd="sng" algn="ctr">
              <a:solidFill>
                <a:schemeClr val="bg1">
                  <a:lumMod val="50000"/>
                </a:schemeClr>
              </a:solidFill>
              <a:prstDash val="solid"/>
            </a:ln>
            <a:effectLst/>
          </p:spPr>
        </p:cxnSp>
        <p:sp>
          <p:nvSpPr>
            <p:cNvPr id="27" name="Rechthoek 26">
              <a:extLst>
                <a:ext uri="{FF2B5EF4-FFF2-40B4-BE49-F238E27FC236}">
                  <a16:creationId xmlns:a16="http://schemas.microsoft.com/office/drawing/2014/main" id="{52978C1F-24D3-4622-9B8D-123FEF33E756}"/>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8" name="Ovaal 27">
              <a:extLst>
                <a:ext uri="{FF2B5EF4-FFF2-40B4-BE49-F238E27FC236}">
                  <a16:creationId xmlns:a16="http://schemas.microsoft.com/office/drawing/2014/main" id="{25B28BE2-CAEC-48F4-A1CE-8881E74BFB96}"/>
                </a:ext>
              </a:extLst>
            </p:cNvPr>
            <p:cNvSpPr/>
            <p:nvPr userDrawn="1"/>
          </p:nvSpPr>
          <p:spPr>
            <a:xfrm>
              <a:off x="-3425006" y="171914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9" name="Rechte verbindingslijn 28">
              <a:extLst>
                <a:ext uri="{FF2B5EF4-FFF2-40B4-BE49-F238E27FC236}">
                  <a16:creationId xmlns:a16="http://schemas.microsoft.com/office/drawing/2014/main" id="{3B708434-69FA-4D4B-BC0B-17AA0CC2A276}"/>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0" name="Groep 29">
              <a:extLst>
                <a:ext uri="{FF2B5EF4-FFF2-40B4-BE49-F238E27FC236}">
                  <a16:creationId xmlns:a16="http://schemas.microsoft.com/office/drawing/2014/main" id="{B10A304D-A5C7-4821-B822-29F75AF73688}"/>
                </a:ext>
              </a:extLst>
            </p:cNvPr>
            <p:cNvGrpSpPr/>
            <p:nvPr userDrawn="1"/>
          </p:nvGrpSpPr>
          <p:grpSpPr>
            <a:xfrm>
              <a:off x="-3437547" y="349413"/>
              <a:ext cx="2933825" cy="558875"/>
              <a:chOff x="-3419346" y="368233"/>
              <a:chExt cx="3904920" cy="743862"/>
            </a:xfrm>
          </p:grpSpPr>
          <p:sp>
            <p:nvSpPr>
              <p:cNvPr id="42" name="Rechthoek 41">
                <a:extLst>
                  <a:ext uri="{FF2B5EF4-FFF2-40B4-BE49-F238E27FC236}">
                    <a16:creationId xmlns:a16="http://schemas.microsoft.com/office/drawing/2014/main" id="{EA15583D-FEED-4915-8351-6134405434C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43" name="Rechte verbindingslijn 42">
                <a:extLst>
                  <a:ext uri="{FF2B5EF4-FFF2-40B4-BE49-F238E27FC236}">
                    <a16:creationId xmlns:a16="http://schemas.microsoft.com/office/drawing/2014/main" id="{1800BBB6-5EDD-45C2-8E3A-7356183B501F}"/>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76426B96-B581-4B1B-9362-F30E61939D5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hthoek 44">
                <a:extLst>
                  <a:ext uri="{FF2B5EF4-FFF2-40B4-BE49-F238E27FC236}">
                    <a16:creationId xmlns:a16="http://schemas.microsoft.com/office/drawing/2014/main" id="{5074095B-E00B-4AEC-A226-2AD4DB0939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46" name="Groep 45">
                <a:extLst>
                  <a:ext uri="{FF2B5EF4-FFF2-40B4-BE49-F238E27FC236}">
                    <a16:creationId xmlns:a16="http://schemas.microsoft.com/office/drawing/2014/main" id="{FD45D8A9-BD5D-47C3-92EF-3B5B4D8EDA3F}"/>
                  </a:ext>
                </a:extLst>
              </p:cNvPr>
              <p:cNvGrpSpPr/>
              <p:nvPr userDrawn="1"/>
            </p:nvGrpSpPr>
            <p:grpSpPr>
              <a:xfrm>
                <a:off x="-3002834" y="720303"/>
                <a:ext cx="182598" cy="143759"/>
                <a:chOff x="-3310843" y="700986"/>
                <a:chExt cx="182598" cy="143759"/>
              </a:xfrm>
            </p:grpSpPr>
            <p:grpSp>
              <p:nvGrpSpPr>
                <p:cNvPr id="85" name="Groep 84">
                  <a:extLst>
                    <a:ext uri="{FF2B5EF4-FFF2-40B4-BE49-F238E27FC236}">
                      <a16:creationId xmlns:a16="http://schemas.microsoft.com/office/drawing/2014/main" id="{842FFAD4-3D40-4352-9FAC-C137FF2E1DFA}"/>
                    </a:ext>
                  </a:extLst>
                </p:cNvPr>
                <p:cNvGrpSpPr/>
                <p:nvPr userDrawn="1"/>
              </p:nvGrpSpPr>
              <p:grpSpPr>
                <a:xfrm>
                  <a:off x="-3310843" y="700986"/>
                  <a:ext cx="182598" cy="143759"/>
                  <a:chOff x="-3310843" y="700986"/>
                  <a:chExt cx="182598" cy="143759"/>
                </a:xfrm>
              </p:grpSpPr>
              <p:cxnSp>
                <p:nvCxnSpPr>
                  <p:cNvPr id="89" name="Rechte verbindingslijn 88">
                    <a:extLst>
                      <a:ext uri="{FF2B5EF4-FFF2-40B4-BE49-F238E27FC236}">
                        <a16:creationId xmlns:a16="http://schemas.microsoft.com/office/drawing/2014/main" id="{F8DE4A24-1DDE-4A29-9E09-C937FB8DF19D}"/>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90" name="Rechte verbindingslijn 89">
                    <a:extLst>
                      <a:ext uri="{FF2B5EF4-FFF2-40B4-BE49-F238E27FC236}">
                        <a16:creationId xmlns:a16="http://schemas.microsoft.com/office/drawing/2014/main" id="{56B5AFDC-0235-40CC-BB9A-3A180CD80BC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91" name="Rechte verbindingslijn 90">
                    <a:extLst>
                      <a:ext uri="{FF2B5EF4-FFF2-40B4-BE49-F238E27FC236}">
                        <a16:creationId xmlns:a16="http://schemas.microsoft.com/office/drawing/2014/main" id="{2CFB5A99-8B73-4E94-BCAB-279572DE0A9E}"/>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92" name="Rechte verbindingslijn 91">
                    <a:extLst>
                      <a:ext uri="{FF2B5EF4-FFF2-40B4-BE49-F238E27FC236}">
                        <a16:creationId xmlns:a16="http://schemas.microsoft.com/office/drawing/2014/main" id="{728F0BB0-9C6C-4A99-B297-1AC6D2776FB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93" name="Rechte verbindingslijn 92">
                    <a:extLst>
                      <a:ext uri="{FF2B5EF4-FFF2-40B4-BE49-F238E27FC236}">
                        <a16:creationId xmlns:a16="http://schemas.microsoft.com/office/drawing/2014/main" id="{3697836E-FF6E-405D-A56A-A88AEE3C448F}"/>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86" name="Groep 85">
                  <a:extLst>
                    <a:ext uri="{FF2B5EF4-FFF2-40B4-BE49-F238E27FC236}">
                      <a16:creationId xmlns:a16="http://schemas.microsoft.com/office/drawing/2014/main" id="{6782AAEF-C7EA-45B3-BE37-34A3D465E27D}"/>
                    </a:ext>
                  </a:extLst>
                </p:cNvPr>
                <p:cNvGrpSpPr/>
                <p:nvPr userDrawn="1"/>
              </p:nvGrpSpPr>
              <p:grpSpPr>
                <a:xfrm flipH="1">
                  <a:off x="-3310774" y="735854"/>
                  <a:ext cx="88801" cy="72568"/>
                  <a:chOff x="-2091059" y="1395403"/>
                  <a:chExt cx="157316" cy="128558"/>
                </a:xfrm>
              </p:grpSpPr>
              <p:sp>
                <p:nvSpPr>
                  <p:cNvPr id="87" name="Rechthoek 86">
                    <a:extLst>
                      <a:ext uri="{FF2B5EF4-FFF2-40B4-BE49-F238E27FC236}">
                        <a16:creationId xmlns:a16="http://schemas.microsoft.com/office/drawing/2014/main" id="{F3EA78F1-F8BE-4025-A753-0EF2E7BD20A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8" name="Pijl: punthaak 87">
                    <a:extLst>
                      <a:ext uri="{FF2B5EF4-FFF2-40B4-BE49-F238E27FC236}">
                        <a16:creationId xmlns:a16="http://schemas.microsoft.com/office/drawing/2014/main" id="{FA15E25B-D8F6-408A-BAC5-A29C52FE13E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47" name="Groep 46">
                <a:extLst>
                  <a:ext uri="{FF2B5EF4-FFF2-40B4-BE49-F238E27FC236}">
                    <a16:creationId xmlns:a16="http://schemas.microsoft.com/office/drawing/2014/main" id="{D5BCE92F-DBF6-4ED4-9B3A-C66E7680F453}"/>
                  </a:ext>
                </a:extLst>
              </p:cNvPr>
              <p:cNvGrpSpPr/>
              <p:nvPr userDrawn="1"/>
            </p:nvGrpSpPr>
            <p:grpSpPr>
              <a:xfrm>
                <a:off x="-3326107" y="720303"/>
                <a:ext cx="182598" cy="143759"/>
                <a:chOff x="-3634116" y="700986"/>
                <a:chExt cx="182598" cy="143759"/>
              </a:xfrm>
            </p:grpSpPr>
            <p:grpSp>
              <p:nvGrpSpPr>
                <p:cNvPr id="76" name="Groep 75">
                  <a:extLst>
                    <a:ext uri="{FF2B5EF4-FFF2-40B4-BE49-F238E27FC236}">
                      <a16:creationId xmlns:a16="http://schemas.microsoft.com/office/drawing/2014/main" id="{3631BAC6-9985-4B81-8945-9406AA7F15BB}"/>
                    </a:ext>
                  </a:extLst>
                </p:cNvPr>
                <p:cNvGrpSpPr/>
                <p:nvPr userDrawn="1"/>
              </p:nvGrpSpPr>
              <p:grpSpPr>
                <a:xfrm>
                  <a:off x="-3634116" y="700986"/>
                  <a:ext cx="182598" cy="143759"/>
                  <a:chOff x="-3634116" y="700986"/>
                  <a:chExt cx="182598" cy="143759"/>
                </a:xfrm>
              </p:grpSpPr>
              <p:cxnSp>
                <p:nvCxnSpPr>
                  <p:cNvPr id="80" name="Rechte verbindingslijn 79">
                    <a:extLst>
                      <a:ext uri="{FF2B5EF4-FFF2-40B4-BE49-F238E27FC236}">
                        <a16:creationId xmlns:a16="http://schemas.microsoft.com/office/drawing/2014/main" id="{42F3EC91-6A0F-4AFA-BD02-D4A141E590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81" name="Rechte verbindingslijn 80">
                    <a:extLst>
                      <a:ext uri="{FF2B5EF4-FFF2-40B4-BE49-F238E27FC236}">
                        <a16:creationId xmlns:a16="http://schemas.microsoft.com/office/drawing/2014/main" id="{63875392-2802-44D8-A9B2-07742CD26604}"/>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id="{F8439B4C-D8DA-4614-B0C0-30E5016C24F1}"/>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83" name="Rechte verbindingslijn 82">
                    <a:extLst>
                      <a:ext uri="{FF2B5EF4-FFF2-40B4-BE49-F238E27FC236}">
                        <a16:creationId xmlns:a16="http://schemas.microsoft.com/office/drawing/2014/main" id="{874B82FC-3E33-4435-B0E8-8F553DD521D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84" name="Rechte verbindingslijn 83">
                    <a:extLst>
                      <a:ext uri="{FF2B5EF4-FFF2-40B4-BE49-F238E27FC236}">
                        <a16:creationId xmlns:a16="http://schemas.microsoft.com/office/drawing/2014/main" id="{D19202BD-FBEB-4203-9277-FF27EAF4420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77" name="Groep 76">
                  <a:extLst>
                    <a:ext uri="{FF2B5EF4-FFF2-40B4-BE49-F238E27FC236}">
                      <a16:creationId xmlns:a16="http://schemas.microsoft.com/office/drawing/2014/main" id="{455246FC-1488-41AB-A6BB-C08DEC74FA65}"/>
                    </a:ext>
                  </a:extLst>
                </p:cNvPr>
                <p:cNvGrpSpPr/>
                <p:nvPr userDrawn="1"/>
              </p:nvGrpSpPr>
              <p:grpSpPr>
                <a:xfrm>
                  <a:off x="-3634047" y="735854"/>
                  <a:ext cx="88801" cy="72568"/>
                  <a:chOff x="-2091059" y="1395403"/>
                  <a:chExt cx="157316" cy="128558"/>
                </a:xfrm>
              </p:grpSpPr>
              <p:sp>
                <p:nvSpPr>
                  <p:cNvPr id="78" name="Rechthoek 77">
                    <a:extLst>
                      <a:ext uri="{FF2B5EF4-FFF2-40B4-BE49-F238E27FC236}">
                        <a16:creationId xmlns:a16="http://schemas.microsoft.com/office/drawing/2014/main" id="{81A40158-DD83-45F4-BF75-41C7592A280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9" name="Pijl: punthaak 78">
                    <a:extLst>
                      <a:ext uri="{FF2B5EF4-FFF2-40B4-BE49-F238E27FC236}">
                        <a16:creationId xmlns:a16="http://schemas.microsoft.com/office/drawing/2014/main" id="{1A1F3830-54EE-472F-8004-E5CAF7AFE3E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48" name="Rechte verbindingslijn 47">
                <a:extLst>
                  <a:ext uri="{FF2B5EF4-FFF2-40B4-BE49-F238E27FC236}">
                    <a16:creationId xmlns:a16="http://schemas.microsoft.com/office/drawing/2014/main" id="{15BC7D26-CAEE-402F-8099-3B48F048B6AD}"/>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49" name="Rechte verbindingslijn 48">
                <a:extLst>
                  <a:ext uri="{FF2B5EF4-FFF2-40B4-BE49-F238E27FC236}">
                    <a16:creationId xmlns:a16="http://schemas.microsoft.com/office/drawing/2014/main" id="{7C805D0F-4D9A-43EB-A8BD-AADF8581D0C9}"/>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50" name="Groep 49">
                <a:extLst>
                  <a:ext uri="{FF2B5EF4-FFF2-40B4-BE49-F238E27FC236}">
                    <a16:creationId xmlns:a16="http://schemas.microsoft.com/office/drawing/2014/main" id="{8F46A0C8-CAD4-4FE2-A9C8-2877A5122A96}"/>
                  </a:ext>
                </a:extLst>
              </p:cNvPr>
              <p:cNvGrpSpPr/>
              <p:nvPr userDrawn="1"/>
            </p:nvGrpSpPr>
            <p:grpSpPr>
              <a:xfrm>
                <a:off x="-2425037" y="370226"/>
                <a:ext cx="357690" cy="330595"/>
                <a:chOff x="-2721817" y="347336"/>
                <a:chExt cx="432805" cy="400021"/>
              </a:xfrm>
            </p:grpSpPr>
            <p:sp>
              <p:nvSpPr>
                <p:cNvPr id="65" name="Rechthoek 64">
                  <a:extLst>
                    <a:ext uri="{FF2B5EF4-FFF2-40B4-BE49-F238E27FC236}">
                      <a16:creationId xmlns:a16="http://schemas.microsoft.com/office/drawing/2014/main" id="{C97BA9B9-8FD9-44E0-8D83-FCBB63F783E8}"/>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66" name="Groep 65">
                  <a:extLst>
                    <a:ext uri="{FF2B5EF4-FFF2-40B4-BE49-F238E27FC236}">
                      <a16:creationId xmlns:a16="http://schemas.microsoft.com/office/drawing/2014/main" id="{711C09C2-B7B9-463B-954A-34719CC16585}"/>
                    </a:ext>
                  </a:extLst>
                </p:cNvPr>
                <p:cNvGrpSpPr/>
                <p:nvPr userDrawn="1"/>
              </p:nvGrpSpPr>
              <p:grpSpPr>
                <a:xfrm>
                  <a:off x="-2652453" y="431583"/>
                  <a:ext cx="294076" cy="231526"/>
                  <a:chOff x="-3634116" y="700986"/>
                  <a:chExt cx="182598" cy="143759"/>
                </a:xfrm>
              </p:grpSpPr>
              <p:grpSp>
                <p:nvGrpSpPr>
                  <p:cNvPr id="67" name="Groep 66">
                    <a:extLst>
                      <a:ext uri="{FF2B5EF4-FFF2-40B4-BE49-F238E27FC236}">
                        <a16:creationId xmlns:a16="http://schemas.microsoft.com/office/drawing/2014/main" id="{863DE0BA-F3AC-4426-9E8B-2D5EEA2F3E44}"/>
                      </a:ext>
                    </a:extLst>
                  </p:cNvPr>
                  <p:cNvGrpSpPr/>
                  <p:nvPr userDrawn="1"/>
                </p:nvGrpSpPr>
                <p:grpSpPr>
                  <a:xfrm>
                    <a:off x="-3634116" y="700986"/>
                    <a:ext cx="182598" cy="143759"/>
                    <a:chOff x="-3634116" y="700986"/>
                    <a:chExt cx="182598" cy="143759"/>
                  </a:xfrm>
                </p:grpSpPr>
                <p:cxnSp>
                  <p:nvCxnSpPr>
                    <p:cNvPr id="71" name="Rechte verbindingslijn 70">
                      <a:extLst>
                        <a:ext uri="{FF2B5EF4-FFF2-40B4-BE49-F238E27FC236}">
                          <a16:creationId xmlns:a16="http://schemas.microsoft.com/office/drawing/2014/main" id="{71384791-FBF2-45F1-9861-FE525279035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72" name="Rechte verbindingslijn 71">
                      <a:extLst>
                        <a:ext uri="{FF2B5EF4-FFF2-40B4-BE49-F238E27FC236}">
                          <a16:creationId xmlns:a16="http://schemas.microsoft.com/office/drawing/2014/main" id="{55ABB93B-45A3-40E3-BAFC-A5D9D3CE325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73" name="Rechte verbindingslijn 72">
                      <a:extLst>
                        <a:ext uri="{FF2B5EF4-FFF2-40B4-BE49-F238E27FC236}">
                          <a16:creationId xmlns:a16="http://schemas.microsoft.com/office/drawing/2014/main" id="{3BC464E2-37C2-441D-8CDD-BE7208006C0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74" name="Rechte verbindingslijn 73">
                      <a:extLst>
                        <a:ext uri="{FF2B5EF4-FFF2-40B4-BE49-F238E27FC236}">
                          <a16:creationId xmlns:a16="http://schemas.microsoft.com/office/drawing/2014/main" id="{A649914B-17FD-48BD-A008-6CA520F20E0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75" name="Rechte verbindingslijn 74">
                      <a:extLst>
                        <a:ext uri="{FF2B5EF4-FFF2-40B4-BE49-F238E27FC236}">
                          <a16:creationId xmlns:a16="http://schemas.microsoft.com/office/drawing/2014/main" id="{BAF0C7B7-549E-4349-B8A4-99E75861345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8" name="Groep 67">
                    <a:extLst>
                      <a:ext uri="{FF2B5EF4-FFF2-40B4-BE49-F238E27FC236}">
                        <a16:creationId xmlns:a16="http://schemas.microsoft.com/office/drawing/2014/main" id="{1642AFD3-B67F-4B05-A669-318A150525D3}"/>
                      </a:ext>
                    </a:extLst>
                  </p:cNvPr>
                  <p:cNvGrpSpPr/>
                  <p:nvPr userDrawn="1"/>
                </p:nvGrpSpPr>
                <p:grpSpPr>
                  <a:xfrm>
                    <a:off x="-3634047" y="735854"/>
                    <a:ext cx="88801" cy="72568"/>
                    <a:chOff x="-2091059" y="1395403"/>
                    <a:chExt cx="157316" cy="128558"/>
                  </a:xfrm>
                </p:grpSpPr>
                <p:sp>
                  <p:nvSpPr>
                    <p:cNvPr id="69" name="Rechthoek 68">
                      <a:extLst>
                        <a:ext uri="{FF2B5EF4-FFF2-40B4-BE49-F238E27FC236}">
                          <a16:creationId xmlns:a16="http://schemas.microsoft.com/office/drawing/2014/main" id="{2B76EB2D-92B1-4482-B2EF-49469EA64FF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0" name="Pijl: punthaak 69">
                      <a:extLst>
                        <a:ext uri="{FF2B5EF4-FFF2-40B4-BE49-F238E27FC236}">
                          <a16:creationId xmlns:a16="http://schemas.microsoft.com/office/drawing/2014/main" id="{165E083E-7C4B-4D63-BB09-D0A066F6E29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51" name="Groep 50">
                <a:extLst>
                  <a:ext uri="{FF2B5EF4-FFF2-40B4-BE49-F238E27FC236}">
                    <a16:creationId xmlns:a16="http://schemas.microsoft.com/office/drawing/2014/main" id="{7D839A57-51AD-49C4-B030-264525AD7C4B}"/>
                  </a:ext>
                </a:extLst>
              </p:cNvPr>
              <p:cNvGrpSpPr/>
              <p:nvPr userDrawn="1"/>
            </p:nvGrpSpPr>
            <p:grpSpPr>
              <a:xfrm>
                <a:off x="-2425037" y="781500"/>
                <a:ext cx="357690" cy="330595"/>
                <a:chOff x="-2721817" y="782525"/>
                <a:chExt cx="432805" cy="400021"/>
              </a:xfrm>
            </p:grpSpPr>
            <p:sp>
              <p:nvSpPr>
                <p:cNvPr id="54" name="Rechthoek 53">
                  <a:extLst>
                    <a:ext uri="{FF2B5EF4-FFF2-40B4-BE49-F238E27FC236}">
                      <a16:creationId xmlns:a16="http://schemas.microsoft.com/office/drawing/2014/main" id="{F2D01EF0-3E51-453F-97B6-78F62D57293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55" name="Groep 54">
                  <a:extLst>
                    <a:ext uri="{FF2B5EF4-FFF2-40B4-BE49-F238E27FC236}">
                      <a16:creationId xmlns:a16="http://schemas.microsoft.com/office/drawing/2014/main" id="{C0BFA5D1-2728-48EF-B856-2C63CDD6B6B4}"/>
                    </a:ext>
                  </a:extLst>
                </p:cNvPr>
                <p:cNvGrpSpPr/>
                <p:nvPr userDrawn="1"/>
              </p:nvGrpSpPr>
              <p:grpSpPr>
                <a:xfrm>
                  <a:off x="-2652453" y="866772"/>
                  <a:ext cx="294076" cy="231526"/>
                  <a:chOff x="-3310843" y="700986"/>
                  <a:chExt cx="182598" cy="143759"/>
                </a:xfrm>
              </p:grpSpPr>
              <p:grpSp>
                <p:nvGrpSpPr>
                  <p:cNvPr id="56" name="Groep 55">
                    <a:extLst>
                      <a:ext uri="{FF2B5EF4-FFF2-40B4-BE49-F238E27FC236}">
                        <a16:creationId xmlns:a16="http://schemas.microsoft.com/office/drawing/2014/main" id="{D2F0E33D-ACA4-410F-A881-4281E34CE7D5}"/>
                      </a:ext>
                    </a:extLst>
                  </p:cNvPr>
                  <p:cNvGrpSpPr/>
                  <p:nvPr userDrawn="1"/>
                </p:nvGrpSpPr>
                <p:grpSpPr>
                  <a:xfrm>
                    <a:off x="-3310843" y="700986"/>
                    <a:ext cx="182598" cy="143759"/>
                    <a:chOff x="-3310843" y="700986"/>
                    <a:chExt cx="182598" cy="143759"/>
                  </a:xfrm>
                </p:grpSpPr>
                <p:cxnSp>
                  <p:nvCxnSpPr>
                    <p:cNvPr id="60" name="Rechte verbindingslijn 59">
                      <a:extLst>
                        <a:ext uri="{FF2B5EF4-FFF2-40B4-BE49-F238E27FC236}">
                          <a16:creationId xmlns:a16="http://schemas.microsoft.com/office/drawing/2014/main" id="{548D75AD-F67F-4384-A9B8-625B5433B88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61" name="Rechte verbindingslijn 60">
                      <a:extLst>
                        <a:ext uri="{FF2B5EF4-FFF2-40B4-BE49-F238E27FC236}">
                          <a16:creationId xmlns:a16="http://schemas.microsoft.com/office/drawing/2014/main" id="{241C06DD-3B81-40ED-B21E-05532263F57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62" name="Rechte verbindingslijn 61">
                      <a:extLst>
                        <a:ext uri="{FF2B5EF4-FFF2-40B4-BE49-F238E27FC236}">
                          <a16:creationId xmlns:a16="http://schemas.microsoft.com/office/drawing/2014/main" id="{61F8E622-007D-4BB1-ADDC-B6C2A9113109}"/>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63" name="Rechte verbindingslijn 62">
                      <a:extLst>
                        <a:ext uri="{FF2B5EF4-FFF2-40B4-BE49-F238E27FC236}">
                          <a16:creationId xmlns:a16="http://schemas.microsoft.com/office/drawing/2014/main" id="{6D8BFAC9-3A85-4247-9431-8321CA18E89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64" name="Rechte verbindingslijn 63">
                      <a:extLst>
                        <a:ext uri="{FF2B5EF4-FFF2-40B4-BE49-F238E27FC236}">
                          <a16:creationId xmlns:a16="http://schemas.microsoft.com/office/drawing/2014/main" id="{A30AAAAB-B596-40E1-A3AB-BE2A30AF625A}"/>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57" name="Groep 56">
                    <a:extLst>
                      <a:ext uri="{FF2B5EF4-FFF2-40B4-BE49-F238E27FC236}">
                        <a16:creationId xmlns:a16="http://schemas.microsoft.com/office/drawing/2014/main" id="{58AF3395-9991-4EAC-ABE3-518F39455D3B}"/>
                      </a:ext>
                    </a:extLst>
                  </p:cNvPr>
                  <p:cNvGrpSpPr/>
                  <p:nvPr userDrawn="1"/>
                </p:nvGrpSpPr>
                <p:grpSpPr>
                  <a:xfrm flipH="1">
                    <a:off x="-3310774" y="735854"/>
                    <a:ext cx="88801" cy="72568"/>
                    <a:chOff x="-2091059" y="1395403"/>
                    <a:chExt cx="157316" cy="128558"/>
                  </a:xfrm>
                </p:grpSpPr>
                <p:sp>
                  <p:nvSpPr>
                    <p:cNvPr id="58" name="Rechthoek 57">
                      <a:extLst>
                        <a:ext uri="{FF2B5EF4-FFF2-40B4-BE49-F238E27FC236}">
                          <a16:creationId xmlns:a16="http://schemas.microsoft.com/office/drawing/2014/main" id="{C6F124DA-0B40-41C9-B04E-AFDA12B611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59" name="Pijl: punthaak 58">
                      <a:extLst>
                        <a:ext uri="{FF2B5EF4-FFF2-40B4-BE49-F238E27FC236}">
                          <a16:creationId xmlns:a16="http://schemas.microsoft.com/office/drawing/2014/main" id="{8F789C1A-F6E1-4D97-8B96-D1A73171C4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52" name="Rechthoek 51">
                <a:extLst>
                  <a:ext uri="{FF2B5EF4-FFF2-40B4-BE49-F238E27FC236}">
                    <a16:creationId xmlns:a16="http://schemas.microsoft.com/office/drawing/2014/main" id="{0DD7F615-D4F7-43C9-AD6F-E2FB55856FC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53" name="Rechthoek 52">
                <a:extLst>
                  <a:ext uri="{FF2B5EF4-FFF2-40B4-BE49-F238E27FC236}">
                    <a16:creationId xmlns:a16="http://schemas.microsoft.com/office/drawing/2014/main" id="{25BC32A9-6AC4-41E3-9104-D5705B883BF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1" name="Rechte verbindingslijn 30">
              <a:extLst>
                <a:ext uri="{FF2B5EF4-FFF2-40B4-BE49-F238E27FC236}">
                  <a16:creationId xmlns:a16="http://schemas.microsoft.com/office/drawing/2014/main" id="{D4D61B48-E007-4271-B80B-E7E5FBD88CD9}"/>
                </a:ext>
              </a:extLst>
            </p:cNvPr>
            <p:cNvCxnSpPr>
              <a:cxnSpLocks/>
            </p:cNvCxnSpPr>
            <p:nvPr userDrawn="1"/>
          </p:nvCxnSpPr>
          <p:spPr>
            <a:xfrm>
              <a:off x="-3419346" y="1020931"/>
              <a:ext cx="3176013" cy="0"/>
            </a:xfrm>
            <a:prstGeom prst="line">
              <a:avLst/>
            </a:prstGeom>
            <a:noFill/>
            <a:ln w="3175" cap="flat" cmpd="sng" algn="ctr">
              <a:solidFill>
                <a:schemeClr val="bg1">
                  <a:lumMod val="50000"/>
                </a:schemeClr>
              </a:solidFill>
              <a:prstDash val="solid"/>
            </a:ln>
            <a:effectLst/>
          </p:spPr>
        </p:cxnSp>
        <p:sp>
          <p:nvSpPr>
            <p:cNvPr id="32" name="Rechthoek 31">
              <a:extLst>
                <a:ext uri="{FF2B5EF4-FFF2-40B4-BE49-F238E27FC236}">
                  <a16:creationId xmlns:a16="http://schemas.microsoft.com/office/drawing/2014/main" id="{EF348504-D17F-46D9-83BD-4ABA9147A72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400" b="1" i="0" kern="1200" noProof="0">
                  <a:solidFill>
                    <a:schemeClr val="tx1"/>
                  </a:solidFill>
                  <a:latin typeface="+mn-lt"/>
                  <a:ea typeface="+mn-ea"/>
                  <a:cs typeface="+mn-cs"/>
                </a:rPr>
                <a:t>Titel quote (24pt)</a:t>
              </a:r>
            </a:p>
          </p:txBody>
        </p:sp>
        <p:sp>
          <p:nvSpPr>
            <p:cNvPr id="33" name="Ovaal 32">
              <a:extLst>
                <a:ext uri="{FF2B5EF4-FFF2-40B4-BE49-F238E27FC236}">
                  <a16:creationId xmlns:a16="http://schemas.microsoft.com/office/drawing/2014/main" id="{8BF5F295-E7D3-4A03-9E13-427F35AC3DBE}"/>
                </a:ext>
              </a:extLst>
            </p:cNvPr>
            <p:cNvSpPr/>
            <p:nvPr userDrawn="1"/>
          </p:nvSpPr>
          <p:spPr>
            <a:xfrm>
              <a:off x="-3425006" y="2091065"/>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 name="Rechthoek 33">
              <a:extLst>
                <a:ext uri="{FF2B5EF4-FFF2-40B4-BE49-F238E27FC236}">
                  <a16:creationId xmlns:a16="http://schemas.microsoft.com/office/drawing/2014/main" id="{1564C920-E615-4D87-83D0-5EC2125A4F74}"/>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41" name="Rechthoek 40">
              <a:extLst>
                <a:ext uri="{FF2B5EF4-FFF2-40B4-BE49-F238E27FC236}">
                  <a16:creationId xmlns:a16="http://schemas.microsoft.com/office/drawing/2014/main" id="{F153F3D6-4CA4-416F-ACA2-562A18BA86F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sp>
          <p:nvSpPr>
            <p:cNvPr id="139" name="Ovaal 138">
              <a:extLst>
                <a:ext uri="{FF2B5EF4-FFF2-40B4-BE49-F238E27FC236}">
                  <a16:creationId xmlns:a16="http://schemas.microsoft.com/office/drawing/2014/main" id="{CFCB3DB3-18C6-4F7C-BFDD-B60CB1F99542}"/>
                </a:ext>
              </a:extLst>
            </p:cNvPr>
            <p:cNvSpPr/>
            <p:nvPr userDrawn="1"/>
          </p:nvSpPr>
          <p:spPr>
            <a:xfrm>
              <a:off x="-3425006" y="2459555"/>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0" name="Rechthoek 139">
              <a:extLst>
                <a:ext uri="{FF2B5EF4-FFF2-40B4-BE49-F238E27FC236}">
                  <a16:creationId xmlns:a16="http://schemas.microsoft.com/office/drawing/2014/main" id="{E7E19244-A189-4FDB-AF43-1667CAA7616B}"/>
                </a:ext>
              </a:extLst>
            </p:cNvPr>
            <p:cNvSpPr/>
            <p:nvPr userDrawn="1"/>
          </p:nvSpPr>
          <p:spPr>
            <a:xfrm>
              <a:off x="-3059324" y="2459554"/>
              <a:ext cx="2823104" cy="255963"/>
            </a:xfrm>
            <a:prstGeom prst="rect">
              <a:avLst/>
            </a:prstGeom>
            <a:noFill/>
            <a:ln w="25400" cap="flat" cmpd="sng" algn="ctr">
              <a:noFill/>
              <a:prstDash val="solid"/>
            </a:ln>
            <a:effectLst/>
          </p:spPr>
          <p:txBody>
            <a:bodyPr lIns="0" tIns="0" rIns="0" bIns="0" rtlCol="0" anchor="ctr"/>
            <a:lstStyle/>
            <a:p>
              <a:pPr marL="0" marR="0" lvl="1" indent="0" algn="l" defTabSz="914400" rtl="0" eaLnBrk="1" fontAlgn="auto" latinLnBrk="0" hangingPunct="1">
                <a:lnSpc>
                  <a:spcPct val="100000"/>
                </a:lnSpc>
                <a:spcBef>
                  <a:spcPts val="300"/>
                </a:spcBef>
                <a:spcAft>
                  <a:spcPts val="300"/>
                </a:spcAft>
                <a:buClr>
                  <a:schemeClr val="tx1"/>
                </a:buClr>
                <a:buSzTx/>
                <a:buFont typeface="Calibri Light" panose="020F0302020204030204" pitchFamily="34" charset="0"/>
                <a:buNone/>
                <a:tabLst/>
                <a:defRPr/>
              </a:pPr>
              <a:r>
                <a:rPr lang="nl-NL" sz="1400" kern="1200" noProof="0">
                  <a:solidFill>
                    <a:schemeClr val="tx1"/>
                  </a:solidFill>
                  <a:latin typeface="+mn-lt"/>
                  <a:ea typeface="+mn-ea"/>
                  <a:cs typeface="+mn-cs"/>
                </a:rPr>
                <a:t>Voor- en achternaam (14pt)</a:t>
              </a:r>
            </a:p>
          </p:txBody>
        </p:sp>
      </p:grpSp>
      <p:grpSp>
        <p:nvGrpSpPr>
          <p:cNvPr id="237" name="Instructie">
            <a:extLst>
              <a:ext uri="{FF2B5EF4-FFF2-40B4-BE49-F238E27FC236}">
                <a16:creationId xmlns:a16="http://schemas.microsoft.com/office/drawing/2014/main" id="{5491918F-D540-4E76-916D-5D5C9250EACF}"/>
              </a:ext>
            </a:extLst>
          </p:cNvPr>
          <p:cNvGrpSpPr/>
          <p:nvPr userDrawn="1"/>
        </p:nvGrpSpPr>
        <p:grpSpPr>
          <a:xfrm>
            <a:off x="12391601" y="0"/>
            <a:ext cx="3183678" cy="3883011"/>
            <a:chOff x="12391601" y="0"/>
            <a:chExt cx="3183678" cy="3883011"/>
          </a:xfrm>
        </p:grpSpPr>
        <p:grpSp>
          <p:nvGrpSpPr>
            <p:cNvPr id="241" name="Groep 240">
              <a:extLst>
                <a:ext uri="{FF2B5EF4-FFF2-40B4-BE49-F238E27FC236}">
                  <a16:creationId xmlns:a16="http://schemas.microsoft.com/office/drawing/2014/main" id="{94DACCBF-5E7C-44F3-94C0-3F7A4D6E3803}"/>
                </a:ext>
              </a:extLst>
            </p:cNvPr>
            <p:cNvGrpSpPr/>
            <p:nvPr userDrawn="1"/>
          </p:nvGrpSpPr>
          <p:grpSpPr>
            <a:xfrm>
              <a:off x="12757282" y="3100116"/>
              <a:ext cx="1499406" cy="678267"/>
              <a:chOff x="12757283" y="3120781"/>
              <a:chExt cx="1499406" cy="678267"/>
            </a:xfrm>
          </p:grpSpPr>
          <p:sp>
            <p:nvSpPr>
              <p:cNvPr id="264" name="Rechthoek 263">
                <a:extLst>
                  <a:ext uri="{FF2B5EF4-FFF2-40B4-BE49-F238E27FC236}">
                    <a16:creationId xmlns:a16="http://schemas.microsoft.com/office/drawing/2014/main" id="{B02759E1-C05D-431B-AE2A-27DC36EC65E2}"/>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65" name="Rechthoek 264">
                <a:extLst>
                  <a:ext uri="{FF2B5EF4-FFF2-40B4-BE49-F238E27FC236}">
                    <a16:creationId xmlns:a16="http://schemas.microsoft.com/office/drawing/2014/main" id="{158B4D79-3C30-465D-B97C-08B48449B45E}"/>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6" name="Tekstvak 265">
                <a:extLst>
                  <a:ext uri="{FF2B5EF4-FFF2-40B4-BE49-F238E27FC236}">
                    <a16:creationId xmlns:a16="http://schemas.microsoft.com/office/drawing/2014/main" id="{B1DC80E3-5222-4D34-A47A-EE5BB06A16A7}"/>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267" name="Tekstvak 266">
                <a:extLst>
                  <a:ext uri="{FF2B5EF4-FFF2-40B4-BE49-F238E27FC236}">
                    <a16:creationId xmlns:a16="http://schemas.microsoft.com/office/drawing/2014/main" id="{03EC5212-FD13-4992-9F4E-53B81E0A313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68" name="Picture 3">
                <a:extLst>
                  <a:ext uri="{FF2B5EF4-FFF2-40B4-BE49-F238E27FC236}">
                    <a16:creationId xmlns:a16="http://schemas.microsoft.com/office/drawing/2014/main" id="{99081990-F68A-4CE7-B403-9C6AF767148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9" name="Gelijkbenige driehoek 268">
                <a:extLst>
                  <a:ext uri="{FF2B5EF4-FFF2-40B4-BE49-F238E27FC236}">
                    <a16:creationId xmlns:a16="http://schemas.microsoft.com/office/drawing/2014/main" id="{7EA62E21-B95F-46A0-9609-6FA9F65415A8}"/>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70" name="Groep 269">
                <a:extLst>
                  <a:ext uri="{FF2B5EF4-FFF2-40B4-BE49-F238E27FC236}">
                    <a16:creationId xmlns:a16="http://schemas.microsoft.com/office/drawing/2014/main" id="{90808785-59DA-4748-A1F4-9EFD8712A5C3}"/>
                  </a:ext>
                </a:extLst>
              </p:cNvPr>
              <p:cNvGrpSpPr/>
              <p:nvPr userDrawn="1"/>
            </p:nvGrpSpPr>
            <p:grpSpPr>
              <a:xfrm>
                <a:off x="12822311" y="3178534"/>
                <a:ext cx="182309" cy="163794"/>
                <a:chOff x="12832541" y="3162395"/>
                <a:chExt cx="219532" cy="197236"/>
              </a:xfrm>
            </p:grpSpPr>
            <p:sp>
              <p:nvSpPr>
                <p:cNvPr id="275" name="Rechthoek 274">
                  <a:extLst>
                    <a:ext uri="{FF2B5EF4-FFF2-40B4-BE49-F238E27FC236}">
                      <a16:creationId xmlns:a16="http://schemas.microsoft.com/office/drawing/2014/main" id="{ABDC1EAB-84B3-49ED-8D0B-E799299D2CAB}"/>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276" name="Rechthoek 275">
                  <a:extLst>
                    <a:ext uri="{FF2B5EF4-FFF2-40B4-BE49-F238E27FC236}">
                      <a16:creationId xmlns:a16="http://schemas.microsoft.com/office/drawing/2014/main" id="{8C660497-F5E5-41E7-9208-7673AC6F4D9D}"/>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277" name="Rechthoek 276">
                  <a:extLst>
                    <a:ext uri="{FF2B5EF4-FFF2-40B4-BE49-F238E27FC236}">
                      <a16:creationId xmlns:a16="http://schemas.microsoft.com/office/drawing/2014/main" id="{0672E17E-BC3A-488B-AF2D-510FEF850AD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nvGrpSpPr>
              <p:cNvPr id="271" name="Groep 270">
                <a:extLst>
                  <a:ext uri="{FF2B5EF4-FFF2-40B4-BE49-F238E27FC236}">
                    <a16:creationId xmlns:a16="http://schemas.microsoft.com/office/drawing/2014/main" id="{AD5B832E-290A-4C57-87C6-747ACE00158E}"/>
                  </a:ext>
                </a:extLst>
              </p:cNvPr>
              <p:cNvGrpSpPr/>
              <p:nvPr userDrawn="1"/>
            </p:nvGrpSpPr>
            <p:grpSpPr>
              <a:xfrm>
                <a:off x="12822311" y="3480352"/>
                <a:ext cx="182309" cy="163794"/>
                <a:chOff x="12832541" y="3162395"/>
                <a:chExt cx="219532" cy="197236"/>
              </a:xfrm>
            </p:grpSpPr>
            <p:sp>
              <p:nvSpPr>
                <p:cNvPr id="272" name="Rechthoek 271">
                  <a:extLst>
                    <a:ext uri="{FF2B5EF4-FFF2-40B4-BE49-F238E27FC236}">
                      <a16:creationId xmlns:a16="http://schemas.microsoft.com/office/drawing/2014/main" id="{B7456BCF-EBDB-43EE-8DB4-DEDB47762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273" name="Rechthoek 272">
                  <a:extLst>
                    <a:ext uri="{FF2B5EF4-FFF2-40B4-BE49-F238E27FC236}">
                      <a16:creationId xmlns:a16="http://schemas.microsoft.com/office/drawing/2014/main" id="{A59F3A86-1244-448C-88C4-20F1E95B7885}"/>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274" name="Rechthoek 273">
                  <a:extLst>
                    <a:ext uri="{FF2B5EF4-FFF2-40B4-BE49-F238E27FC236}">
                      <a16:creationId xmlns:a16="http://schemas.microsoft.com/office/drawing/2014/main" id="{366471D4-3556-4A1B-A7F0-4BDA26CE44A2}"/>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
          <p:nvSpPr>
            <p:cNvPr id="242" name="Rechthoek 241">
              <a:extLst>
                <a:ext uri="{FF2B5EF4-FFF2-40B4-BE49-F238E27FC236}">
                  <a16:creationId xmlns:a16="http://schemas.microsoft.com/office/drawing/2014/main" id="{7F4F5C60-1F67-4C31-897B-D7C807FF3A9C}"/>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243" name="Ovaal 242">
              <a:extLst>
                <a:ext uri="{FF2B5EF4-FFF2-40B4-BE49-F238E27FC236}">
                  <a16:creationId xmlns:a16="http://schemas.microsoft.com/office/drawing/2014/main" id="{3B8192CF-FF08-4E42-AFAE-AFF24262776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44" name="Rechte verbindingslijn 243">
              <a:extLst>
                <a:ext uri="{FF2B5EF4-FFF2-40B4-BE49-F238E27FC236}">
                  <a16:creationId xmlns:a16="http://schemas.microsoft.com/office/drawing/2014/main" id="{92A9A90B-F5D1-4489-817C-6AAB86EBDF76}"/>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245" name="Rechte verbindingslijn 244">
              <a:extLst>
                <a:ext uri="{FF2B5EF4-FFF2-40B4-BE49-F238E27FC236}">
                  <a16:creationId xmlns:a16="http://schemas.microsoft.com/office/drawing/2014/main" id="{06008E7B-F5A4-4CED-B734-9C1D3D9A287A}"/>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246" name="Rechthoek 245">
              <a:extLst>
                <a:ext uri="{FF2B5EF4-FFF2-40B4-BE49-F238E27FC236}">
                  <a16:creationId xmlns:a16="http://schemas.microsoft.com/office/drawing/2014/main" id="{203F024B-60C4-4D71-9EA0-3621B42A3ED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47" name="Rechte verbindingslijn 246">
              <a:extLst>
                <a:ext uri="{FF2B5EF4-FFF2-40B4-BE49-F238E27FC236}">
                  <a16:creationId xmlns:a16="http://schemas.microsoft.com/office/drawing/2014/main" id="{7EABF443-8CD1-458D-A549-C93744F20F48}"/>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248" name="Ovaal 247">
              <a:extLst>
                <a:ext uri="{FF2B5EF4-FFF2-40B4-BE49-F238E27FC236}">
                  <a16:creationId xmlns:a16="http://schemas.microsoft.com/office/drawing/2014/main" id="{96243A47-BA60-458B-8515-9699DB2BC06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49" name="Rechthoek 248">
              <a:extLst>
                <a:ext uri="{FF2B5EF4-FFF2-40B4-BE49-F238E27FC236}">
                  <a16:creationId xmlns:a16="http://schemas.microsoft.com/office/drawing/2014/main" id="{9F28C744-5C9A-406A-A233-25F71A82B3D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50" name="Groep 249">
              <a:extLst>
                <a:ext uri="{FF2B5EF4-FFF2-40B4-BE49-F238E27FC236}">
                  <a16:creationId xmlns:a16="http://schemas.microsoft.com/office/drawing/2014/main" id="{2ADC90C0-E8A7-45BE-8C19-32CF2684F04B}"/>
                </a:ext>
              </a:extLst>
            </p:cNvPr>
            <p:cNvGrpSpPr/>
            <p:nvPr userDrawn="1"/>
          </p:nvGrpSpPr>
          <p:grpSpPr>
            <a:xfrm>
              <a:off x="12757282" y="2184550"/>
              <a:ext cx="825500" cy="209550"/>
              <a:chOff x="13504624" y="2482850"/>
              <a:chExt cx="825500" cy="209550"/>
            </a:xfrm>
          </p:grpSpPr>
          <p:sp>
            <p:nvSpPr>
              <p:cNvPr id="261" name="Rechthoek 260">
                <a:extLst>
                  <a:ext uri="{FF2B5EF4-FFF2-40B4-BE49-F238E27FC236}">
                    <a16:creationId xmlns:a16="http://schemas.microsoft.com/office/drawing/2014/main" id="{F8552CA6-F6C7-4327-AE13-0489A94AF44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62" name="Rechte verbindingslijn 261">
                <a:extLst>
                  <a:ext uri="{FF2B5EF4-FFF2-40B4-BE49-F238E27FC236}">
                    <a16:creationId xmlns:a16="http://schemas.microsoft.com/office/drawing/2014/main" id="{54F435DC-C63E-4FF0-9405-D66348673BD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63" name="Gelijkbenige driehoek 262">
                <a:extLst>
                  <a:ext uri="{FF2B5EF4-FFF2-40B4-BE49-F238E27FC236}">
                    <a16:creationId xmlns:a16="http://schemas.microsoft.com/office/drawing/2014/main" id="{D65CEBD3-80AC-42E7-A9B8-FD4A9D69828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51" name="Groep 250">
              <a:extLst>
                <a:ext uri="{FF2B5EF4-FFF2-40B4-BE49-F238E27FC236}">
                  <a16:creationId xmlns:a16="http://schemas.microsoft.com/office/drawing/2014/main" id="{62C5F95C-44A3-440C-988C-043424C611D1}"/>
                </a:ext>
              </a:extLst>
            </p:cNvPr>
            <p:cNvGrpSpPr/>
            <p:nvPr userDrawn="1"/>
          </p:nvGrpSpPr>
          <p:grpSpPr>
            <a:xfrm>
              <a:off x="12757282" y="1141626"/>
              <a:ext cx="294789" cy="318834"/>
              <a:chOff x="14466489" y="1001522"/>
              <a:chExt cx="290627" cy="314333"/>
            </a:xfrm>
          </p:grpSpPr>
          <p:sp>
            <p:nvSpPr>
              <p:cNvPr id="255" name="Rechthoek 254">
                <a:extLst>
                  <a:ext uri="{FF2B5EF4-FFF2-40B4-BE49-F238E27FC236}">
                    <a16:creationId xmlns:a16="http://schemas.microsoft.com/office/drawing/2014/main" id="{F0EDDF1E-3C33-4F98-8C07-280DBEBDA389}"/>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56" name="Ovaal 255">
                <a:extLst>
                  <a:ext uri="{FF2B5EF4-FFF2-40B4-BE49-F238E27FC236}">
                    <a16:creationId xmlns:a16="http://schemas.microsoft.com/office/drawing/2014/main" id="{593EEAF9-A0D9-4C4A-B674-E1D8658EF565}"/>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7" name="Vrije vorm: vorm 256">
                <a:extLst>
                  <a:ext uri="{FF2B5EF4-FFF2-40B4-BE49-F238E27FC236}">
                    <a16:creationId xmlns:a16="http://schemas.microsoft.com/office/drawing/2014/main" id="{3BE204A8-843C-469A-97BE-06F2C06C507F}"/>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8" name="Rechthoek: afgeronde hoeken 257">
                <a:extLst>
                  <a:ext uri="{FF2B5EF4-FFF2-40B4-BE49-F238E27FC236}">
                    <a16:creationId xmlns:a16="http://schemas.microsoft.com/office/drawing/2014/main" id="{70D35218-ACCA-48B8-B440-E9D19C5714C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59" name="Rechte verbindingslijn 258">
                <a:extLst>
                  <a:ext uri="{FF2B5EF4-FFF2-40B4-BE49-F238E27FC236}">
                    <a16:creationId xmlns:a16="http://schemas.microsoft.com/office/drawing/2014/main" id="{5A9D4445-125E-49D6-B34D-0D641D7808E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60" name="Rechte verbindingslijn 259">
                <a:extLst>
                  <a:ext uri="{FF2B5EF4-FFF2-40B4-BE49-F238E27FC236}">
                    <a16:creationId xmlns:a16="http://schemas.microsoft.com/office/drawing/2014/main" id="{11B68801-55B3-4408-82AC-29D8E6881934}"/>
                  </a:ext>
                </a:extLst>
              </p:cNvPr>
              <p:cNvCxnSpPr>
                <a:cxnSpLocks/>
                <a:stCxn id="25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52" name="Ovaal 251">
              <a:extLst>
                <a:ext uri="{FF2B5EF4-FFF2-40B4-BE49-F238E27FC236}">
                  <a16:creationId xmlns:a16="http://schemas.microsoft.com/office/drawing/2014/main" id="{44303F5E-67D9-4A8F-98D8-56F2581C51BB}"/>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53" name="Rechthoek 252">
              <a:extLst>
                <a:ext uri="{FF2B5EF4-FFF2-40B4-BE49-F238E27FC236}">
                  <a16:creationId xmlns:a16="http://schemas.microsoft.com/office/drawing/2014/main" id="{F19011DA-D85D-4B6B-9046-D65D8C1BF8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54" name="Rechte verbindingslijn 253">
              <a:extLst>
                <a:ext uri="{FF2B5EF4-FFF2-40B4-BE49-F238E27FC236}">
                  <a16:creationId xmlns:a16="http://schemas.microsoft.com/office/drawing/2014/main" id="{2F225B54-B8FA-4201-A60B-FEC37354923F}"/>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spTree>
    <p:extLst>
      <p:ext uri="{BB962C8B-B14F-4D97-AF65-F5344CB8AC3E}">
        <p14:creationId xmlns:p14="http://schemas.microsoft.com/office/powerpoint/2010/main" val="2200685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KST / 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451371FC-809B-4A6E-82C6-DC1BFA3034F7}"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GRAFIEK</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7"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99" name="Instructie">
            <a:extLst>
              <a:ext uri="{FF2B5EF4-FFF2-40B4-BE49-F238E27FC236}">
                <a16:creationId xmlns:a16="http://schemas.microsoft.com/office/drawing/2014/main" id="{73DF0AAA-2D08-4FFB-8F59-5AC0380A2539}"/>
              </a:ext>
            </a:extLst>
          </p:cNvPr>
          <p:cNvGrpSpPr/>
          <p:nvPr userDrawn="1"/>
        </p:nvGrpSpPr>
        <p:grpSpPr>
          <a:xfrm>
            <a:off x="12389714" y="5221435"/>
            <a:ext cx="3183677" cy="1636565"/>
            <a:chOff x="12389714" y="4327164"/>
            <a:chExt cx="3183677" cy="1636565"/>
          </a:xfrm>
        </p:grpSpPr>
        <p:cxnSp>
          <p:nvCxnSpPr>
            <p:cNvPr id="101" name="Rechte verbindingslijn 100">
              <a:extLst>
                <a:ext uri="{FF2B5EF4-FFF2-40B4-BE49-F238E27FC236}">
                  <a16:creationId xmlns:a16="http://schemas.microsoft.com/office/drawing/2014/main" id="{6BEB8563-6DFC-49A1-A0EC-60E06EEAA630}"/>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102" name="Rechthoek 101">
              <a:extLst>
                <a:ext uri="{FF2B5EF4-FFF2-40B4-BE49-F238E27FC236}">
                  <a16:creationId xmlns:a16="http://schemas.microsoft.com/office/drawing/2014/main" id="{25862629-8712-49B9-B934-80319E3F3E2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103" name="Ovaal 102">
              <a:extLst>
                <a:ext uri="{FF2B5EF4-FFF2-40B4-BE49-F238E27FC236}">
                  <a16:creationId xmlns:a16="http://schemas.microsoft.com/office/drawing/2014/main" id="{AE50A387-EF89-4639-A5D5-51B2046494EF}"/>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4" name="Rechte verbindingslijn 103">
              <a:extLst>
                <a:ext uri="{FF2B5EF4-FFF2-40B4-BE49-F238E27FC236}">
                  <a16:creationId xmlns:a16="http://schemas.microsoft.com/office/drawing/2014/main" id="{3485DBD1-B8BC-4E1F-AC58-C1EA763F8C4E}"/>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105" name="Rechthoek 104">
              <a:extLst>
                <a:ext uri="{FF2B5EF4-FFF2-40B4-BE49-F238E27FC236}">
                  <a16:creationId xmlns:a16="http://schemas.microsoft.com/office/drawing/2014/main" id="{6796C7CB-DCE4-4B74-971D-8C6D54AFFEC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106" name="Groep 105">
              <a:extLst>
                <a:ext uri="{FF2B5EF4-FFF2-40B4-BE49-F238E27FC236}">
                  <a16:creationId xmlns:a16="http://schemas.microsoft.com/office/drawing/2014/main" id="{9716417D-3023-4155-9D06-0B4920509541}"/>
                </a:ext>
              </a:extLst>
            </p:cNvPr>
            <p:cNvGrpSpPr/>
            <p:nvPr userDrawn="1"/>
          </p:nvGrpSpPr>
          <p:grpSpPr>
            <a:xfrm>
              <a:off x="12755394" y="5222855"/>
              <a:ext cx="1714530" cy="639425"/>
              <a:chOff x="12757283" y="4365594"/>
              <a:chExt cx="1714530" cy="639425"/>
            </a:xfrm>
          </p:grpSpPr>
          <p:sp>
            <p:nvSpPr>
              <p:cNvPr id="107" name="Rechthoek 106">
                <a:extLst>
                  <a:ext uri="{FF2B5EF4-FFF2-40B4-BE49-F238E27FC236}">
                    <a16:creationId xmlns:a16="http://schemas.microsoft.com/office/drawing/2014/main" id="{728C42C2-1608-48F7-A640-CEF8E15ACCED}"/>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8" name="Rechthoek 107">
                <a:extLst>
                  <a:ext uri="{FF2B5EF4-FFF2-40B4-BE49-F238E27FC236}">
                    <a16:creationId xmlns:a16="http://schemas.microsoft.com/office/drawing/2014/main" id="{C577C2D9-F34C-41C5-A88B-56A65CC38187}"/>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9" name="Tekstvak 108">
                <a:extLst>
                  <a:ext uri="{FF2B5EF4-FFF2-40B4-BE49-F238E27FC236}">
                    <a16:creationId xmlns:a16="http://schemas.microsoft.com/office/drawing/2014/main" id="{E1EEB95A-A0C6-4FFD-BA71-BB3ED11CCB08}"/>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110" name="Tekstvak 109">
                <a:extLst>
                  <a:ext uri="{FF2B5EF4-FFF2-40B4-BE49-F238E27FC236}">
                    <a16:creationId xmlns:a16="http://schemas.microsoft.com/office/drawing/2014/main" id="{4DDD0F85-BA7A-4BEE-A3B3-970743F41683}"/>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111" name="Picture 3">
                <a:extLst>
                  <a:ext uri="{FF2B5EF4-FFF2-40B4-BE49-F238E27FC236}">
                    <a16:creationId xmlns:a16="http://schemas.microsoft.com/office/drawing/2014/main" id="{0D7FE121-0BDF-43BA-BBBB-F86E7F31A7A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2" name="Groep 111">
                <a:extLst>
                  <a:ext uri="{FF2B5EF4-FFF2-40B4-BE49-F238E27FC236}">
                    <a16:creationId xmlns:a16="http://schemas.microsoft.com/office/drawing/2014/main" id="{212B7847-F5F6-4D59-AE9D-9EAABAE8D77C}"/>
                  </a:ext>
                </a:extLst>
              </p:cNvPr>
              <p:cNvGrpSpPr/>
              <p:nvPr userDrawn="1"/>
            </p:nvGrpSpPr>
            <p:grpSpPr>
              <a:xfrm>
                <a:off x="12831198" y="4432250"/>
                <a:ext cx="139861" cy="152244"/>
                <a:chOff x="12574450" y="6053892"/>
                <a:chExt cx="169232" cy="184215"/>
              </a:xfrm>
            </p:grpSpPr>
            <p:sp>
              <p:nvSpPr>
                <p:cNvPr id="135" name="Rechthoek 134">
                  <a:extLst>
                    <a:ext uri="{FF2B5EF4-FFF2-40B4-BE49-F238E27FC236}">
                      <a16:creationId xmlns:a16="http://schemas.microsoft.com/office/drawing/2014/main" id="{268D2472-27C1-49B2-8251-A0C6D175C1F1}"/>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36" name="Rechthoek 135">
                  <a:extLst>
                    <a:ext uri="{FF2B5EF4-FFF2-40B4-BE49-F238E27FC236}">
                      <a16:creationId xmlns:a16="http://schemas.microsoft.com/office/drawing/2014/main" id="{887E6C83-00B9-4617-8913-29138F5061B7}"/>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37" name="Rechthoek 136">
                  <a:extLst>
                    <a:ext uri="{FF2B5EF4-FFF2-40B4-BE49-F238E27FC236}">
                      <a16:creationId xmlns:a16="http://schemas.microsoft.com/office/drawing/2014/main" id="{3E774B55-7142-42FF-A6E7-5D943F99E96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113" name="Groep 112">
                <a:extLst>
                  <a:ext uri="{FF2B5EF4-FFF2-40B4-BE49-F238E27FC236}">
                    <a16:creationId xmlns:a16="http://schemas.microsoft.com/office/drawing/2014/main" id="{5C9C1B5B-1E61-4BF2-8C72-C16A8E010740}"/>
                  </a:ext>
                </a:extLst>
              </p:cNvPr>
              <p:cNvGrpSpPr/>
              <p:nvPr userDrawn="1"/>
            </p:nvGrpSpPr>
            <p:grpSpPr>
              <a:xfrm>
                <a:off x="12831198" y="4748585"/>
                <a:ext cx="184916" cy="120210"/>
                <a:chOff x="8815516" y="1076284"/>
                <a:chExt cx="503174" cy="327105"/>
              </a:xfrm>
            </p:grpSpPr>
            <p:sp>
              <p:nvSpPr>
                <p:cNvPr id="114" name="Rechthoek 113">
                  <a:extLst>
                    <a:ext uri="{FF2B5EF4-FFF2-40B4-BE49-F238E27FC236}">
                      <a16:creationId xmlns:a16="http://schemas.microsoft.com/office/drawing/2014/main" id="{C9B84E01-38BB-46C1-B625-11E7EEC852CA}"/>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15" name="Groep 114">
                  <a:extLst>
                    <a:ext uri="{FF2B5EF4-FFF2-40B4-BE49-F238E27FC236}">
                      <a16:creationId xmlns:a16="http://schemas.microsoft.com/office/drawing/2014/main" id="{8590933D-EB33-4894-AB7D-9C7CB738AB9B}"/>
                    </a:ext>
                  </a:extLst>
                </p:cNvPr>
                <p:cNvGrpSpPr/>
                <p:nvPr userDrawn="1"/>
              </p:nvGrpSpPr>
              <p:grpSpPr>
                <a:xfrm>
                  <a:off x="8815517" y="1076284"/>
                  <a:ext cx="503173" cy="327105"/>
                  <a:chOff x="1351248" y="-683635"/>
                  <a:chExt cx="503173" cy="327105"/>
                </a:xfrm>
              </p:grpSpPr>
              <p:grpSp>
                <p:nvGrpSpPr>
                  <p:cNvPr id="116" name="Groep 115">
                    <a:extLst>
                      <a:ext uri="{FF2B5EF4-FFF2-40B4-BE49-F238E27FC236}">
                        <a16:creationId xmlns:a16="http://schemas.microsoft.com/office/drawing/2014/main" id="{80670382-A1AA-4B46-9350-D25A4ACDB479}"/>
                      </a:ext>
                    </a:extLst>
                  </p:cNvPr>
                  <p:cNvGrpSpPr/>
                  <p:nvPr userDrawn="1"/>
                </p:nvGrpSpPr>
                <p:grpSpPr>
                  <a:xfrm>
                    <a:off x="1351248" y="-683635"/>
                    <a:ext cx="375186" cy="293652"/>
                    <a:chOff x="1094874" y="-884923"/>
                    <a:chExt cx="884668" cy="692417"/>
                  </a:xfrm>
                </p:grpSpPr>
                <p:sp>
                  <p:nvSpPr>
                    <p:cNvPr id="121" name="Rechthoek 120">
                      <a:extLst>
                        <a:ext uri="{FF2B5EF4-FFF2-40B4-BE49-F238E27FC236}">
                          <a16:creationId xmlns:a16="http://schemas.microsoft.com/office/drawing/2014/main" id="{3025728E-2CEA-4382-8347-5A36E93DD146}"/>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22" name="Groep 121">
                      <a:extLst>
                        <a:ext uri="{FF2B5EF4-FFF2-40B4-BE49-F238E27FC236}">
                          <a16:creationId xmlns:a16="http://schemas.microsoft.com/office/drawing/2014/main" id="{646E0C40-3752-43B1-8E26-D36BBF4E56CA}"/>
                        </a:ext>
                      </a:extLst>
                    </p:cNvPr>
                    <p:cNvGrpSpPr/>
                    <p:nvPr userDrawn="1"/>
                  </p:nvGrpSpPr>
                  <p:grpSpPr>
                    <a:xfrm>
                      <a:off x="1094874" y="-878306"/>
                      <a:ext cx="867364" cy="685800"/>
                      <a:chOff x="1094874" y="-878306"/>
                      <a:chExt cx="867364" cy="613611"/>
                    </a:xfrm>
                  </p:grpSpPr>
                  <p:cxnSp>
                    <p:nvCxnSpPr>
                      <p:cNvPr id="128" name="Rechte verbindingslijn 127">
                        <a:extLst>
                          <a:ext uri="{FF2B5EF4-FFF2-40B4-BE49-F238E27FC236}">
                            <a16:creationId xmlns:a16="http://schemas.microsoft.com/office/drawing/2014/main" id="{F37616B4-7414-41E8-92FB-7BC57E05DB80}"/>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128">
                        <a:extLst>
                          <a:ext uri="{FF2B5EF4-FFF2-40B4-BE49-F238E27FC236}">
                            <a16:creationId xmlns:a16="http://schemas.microsoft.com/office/drawing/2014/main" id="{FDBB523A-157C-4881-AF8B-5746D6372C1D}"/>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0" name="Groep 129">
                        <a:extLst>
                          <a:ext uri="{FF2B5EF4-FFF2-40B4-BE49-F238E27FC236}">
                            <a16:creationId xmlns:a16="http://schemas.microsoft.com/office/drawing/2014/main" id="{34B6646E-FB21-417D-BE8C-C36E995E6FC5}"/>
                          </a:ext>
                        </a:extLst>
                      </p:cNvPr>
                      <p:cNvGrpSpPr/>
                      <p:nvPr userDrawn="1"/>
                    </p:nvGrpSpPr>
                    <p:grpSpPr>
                      <a:xfrm>
                        <a:off x="1270535" y="-878306"/>
                        <a:ext cx="526983" cy="613611"/>
                        <a:chOff x="1270535" y="-745959"/>
                        <a:chExt cx="526983" cy="481264"/>
                      </a:xfrm>
                    </p:grpSpPr>
                    <p:cxnSp>
                      <p:nvCxnSpPr>
                        <p:cNvPr id="131" name="Rechte verbindingslijn 130">
                          <a:extLst>
                            <a:ext uri="{FF2B5EF4-FFF2-40B4-BE49-F238E27FC236}">
                              <a16:creationId xmlns:a16="http://schemas.microsoft.com/office/drawing/2014/main" id="{983AF75F-1929-4F5A-99E0-BFABF6FBA658}"/>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2" name="Rechte verbindingslijn 131">
                          <a:extLst>
                            <a:ext uri="{FF2B5EF4-FFF2-40B4-BE49-F238E27FC236}">
                              <a16:creationId xmlns:a16="http://schemas.microsoft.com/office/drawing/2014/main" id="{57D0A238-F249-4020-9BCF-BC8BFB035317}"/>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CD15E116-4AE7-4D12-8892-CE468919BF33}"/>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F01A9A8C-ADF4-4435-A6E6-34455903D86A}"/>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3" name="Rechte verbindingslijn 122">
                      <a:extLst>
                        <a:ext uri="{FF2B5EF4-FFF2-40B4-BE49-F238E27FC236}">
                          <a16:creationId xmlns:a16="http://schemas.microsoft.com/office/drawing/2014/main" id="{FE0560BC-EA9F-418D-9ECF-BDF360242B6B}"/>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4" name="Groep 123">
                      <a:extLst>
                        <a:ext uri="{FF2B5EF4-FFF2-40B4-BE49-F238E27FC236}">
                          <a16:creationId xmlns:a16="http://schemas.microsoft.com/office/drawing/2014/main" id="{9653F7C3-0A4F-4767-9091-88D852C23603}"/>
                        </a:ext>
                      </a:extLst>
                    </p:cNvPr>
                    <p:cNvGrpSpPr/>
                    <p:nvPr userDrawn="1"/>
                  </p:nvGrpSpPr>
                  <p:grpSpPr>
                    <a:xfrm>
                      <a:off x="1094874" y="-607596"/>
                      <a:ext cx="878306" cy="276726"/>
                      <a:chOff x="1106905" y="-607596"/>
                      <a:chExt cx="878307" cy="276726"/>
                    </a:xfrm>
                  </p:grpSpPr>
                  <p:cxnSp>
                    <p:nvCxnSpPr>
                      <p:cNvPr id="125" name="Rechte verbindingslijn 124">
                        <a:extLst>
                          <a:ext uri="{FF2B5EF4-FFF2-40B4-BE49-F238E27FC236}">
                            <a16:creationId xmlns:a16="http://schemas.microsoft.com/office/drawing/2014/main" id="{CE6ABAF4-E3DD-454A-8DF7-81EBEC1F875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25B0FEB7-E215-42F7-9BD2-1E7870E3E5A1}"/>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7" name="Rechte verbindingslijn 126">
                        <a:extLst>
                          <a:ext uri="{FF2B5EF4-FFF2-40B4-BE49-F238E27FC236}">
                            <a16:creationId xmlns:a16="http://schemas.microsoft.com/office/drawing/2014/main" id="{78151A24-E5EF-490E-B4A9-66802AB200C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7" name="Groep 116">
                    <a:extLst>
                      <a:ext uri="{FF2B5EF4-FFF2-40B4-BE49-F238E27FC236}">
                        <a16:creationId xmlns:a16="http://schemas.microsoft.com/office/drawing/2014/main" id="{EF76349C-3F05-4659-AF54-8C8D216D1386}"/>
                      </a:ext>
                    </a:extLst>
                  </p:cNvPr>
                  <p:cNvGrpSpPr/>
                  <p:nvPr userDrawn="1"/>
                </p:nvGrpSpPr>
                <p:grpSpPr>
                  <a:xfrm rot="2700000">
                    <a:off x="1605871" y="-605080"/>
                    <a:ext cx="90079" cy="407021"/>
                    <a:chOff x="3130062" y="-817193"/>
                    <a:chExt cx="131884" cy="595920"/>
                  </a:xfrm>
                  <a:solidFill>
                    <a:srgbClr val="3399FF"/>
                  </a:solidFill>
                </p:grpSpPr>
                <p:sp>
                  <p:nvSpPr>
                    <p:cNvPr id="118" name="Rechthoek 117">
                      <a:extLst>
                        <a:ext uri="{FF2B5EF4-FFF2-40B4-BE49-F238E27FC236}">
                          <a16:creationId xmlns:a16="http://schemas.microsoft.com/office/drawing/2014/main" id="{995964A0-4C57-4D3B-9A70-E48D54293A7B}"/>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9" name="Rechthoek: afgeronde bovenhoeken 118">
                      <a:extLst>
                        <a:ext uri="{FF2B5EF4-FFF2-40B4-BE49-F238E27FC236}">
                          <a16:creationId xmlns:a16="http://schemas.microsoft.com/office/drawing/2014/main" id="{A77CDF6C-827E-4E68-AA74-26174235466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0" name="Gelijkbenige driehoek 119">
                      <a:extLst>
                        <a:ext uri="{FF2B5EF4-FFF2-40B4-BE49-F238E27FC236}">
                          <a16:creationId xmlns:a16="http://schemas.microsoft.com/office/drawing/2014/main" id="{68CD787E-A881-4439-A049-78274DAC56E5}"/>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141" name="Instructie">
            <a:extLst>
              <a:ext uri="{FF2B5EF4-FFF2-40B4-BE49-F238E27FC236}">
                <a16:creationId xmlns:a16="http://schemas.microsoft.com/office/drawing/2014/main" id="{8956ACCE-1B94-4C4E-9621-35D9581BCE44}"/>
              </a:ext>
            </a:extLst>
          </p:cNvPr>
          <p:cNvGrpSpPr/>
          <p:nvPr userDrawn="1"/>
        </p:nvGrpSpPr>
        <p:grpSpPr>
          <a:xfrm>
            <a:off x="12391601" y="0"/>
            <a:ext cx="3183677" cy="2499789"/>
            <a:chOff x="12391601" y="0"/>
            <a:chExt cx="3183677" cy="2499789"/>
          </a:xfrm>
        </p:grpSpPr>
        <p:sp>
          <p:nvSpPr>
            <p:cNvPr id="142" name="Rechthoek 141">
              <a:extLst>
                <a:ext uri="{FF2B5EF4-FFF2-40B4-BE49-F238E27FC236}">
                  <a16:creationId xmlns:a16="http://schemas.microsoft.com/office/drawing/2014/main" id="{605E8FAB-9C56-4547-B1FD-19063089BC0E}"/>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43" name="Ovaal 142">
              <a:extLst>
                <a:ext uri="{FF2B5EF4-FFF2-40B4-BE49-F238E27FC236}">
                  <a16:creationId xmlns:a16="http://schemas.microsoft.com/office/drawing/2014/main" id="{D89E2BA8-0724-4099-A077-278A116A100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4" name="Rechte verbindingslijn 143">
              <a:extLst>
                <a:ext uri="{FF2B5EF4-FFF2-40B4-BE49-F238E27FC236}">
                  <a16:creationId xmlns:a16="http://schemas.microsoft.com/office/drawing/2014/main" id="{98FD3CFA-A053-4F41-BB82-F685B92C6EF4}"/>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45" name="Rechte verbindingslijn 144">
              <a:extLst>
                <a:ext uri="{FF2B5EF4-FFF2-40B4-BE49-F238E27FC236}">
                  <a16:creationId xmlns:a16="http://schemas.microsoft.com/office/drawing/2014/main" id="{ED668D21-7594-4AFD-8412-D7A5872CC3C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46" name="Rechthoek 145">
              <a:extLst>
                <a:ext uri="{FF2B5EF4-FFF2-40B4-BE49-F238E27FC236}">
                  <a16:creationId xmlns:a16="http://schemas.microsoft.com/office/drawing/2014/main" id="{EBFEC36A-063B-4FC3-8220-2A2BFE33D86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47" name="Ovaal 146">
              <a:extLst>
                <a:ext uri="{FF2B5EF4-FFF2-40B4-BE49-F238E27FC236}">
                  <a16:creationId xmlns:a16="http://schemas.microsoft.com/office/drawing/2014/main" id="{59752D84-20A7-4452-A01B-B98AE1AC6A1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8" name="Rechthoek 147">
              <a:extLst>
                <a:ext uri="{FF2B5EF4-FFF2-40B4-BE49-F238E27FC236}">
                  <a16:creationId xmlns:a16="http://schemas.microsoft.com/office/drawing/2014/main" id="{1377E063-3182-4D26-AEF2-D5B7EF22F1B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9" name="Groep 148">
              <a:extLst>
                <a:ext uri="{FF2B5EF4-FFF2-40B4-BE49-F238E27FC236}">
                  <a16:creationId xmlns:a16="http://schemas.microsoft.com/office/drawing/2014/main" id="{BB89C1D8-CC05-4815-8409-B4B05BD21D3A}"/>
                </a:ext>
              </a:extLst>
            </p:cNvPr>
            <p:cNvGrpSpPr/>
            <p:nvPr userDrawn="1"/>
          </p:nvGrpSpPr>
          <p:grpSpPr>
            <a:xfrm>
              <a:off x="12757282" y="2184550"/>
              <a:ext cx="825500" cy="209550"/>
              <a:chOff x="13504624" y="2482850"/>
              <a:chExt cx="825500" cy="209550"/>
            </a:xfrm>
          </p:grpSpPr>
          <p:sp>
            <p:nvSpPr>
              <p:cNvPr id="155" name="Rechthoek 154">
                <a:extLst>
                  <a:ext uri="{FF2B5EF4-FFF2-40B4-BE49-F238E27FC236}">
                    <a16:creationId xmlns:a16="http://schemas.microsoft.com/office/drawing/2014/main" id="{E1BB336F-C4AC-41FB-8183-A4F1E150DF5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56" name="Rechte verbindingslijn 155">
                <a:extLst>
                  <a:ext uri="{FF2B5EF4-FFF2-40B4-BE49-F238E27FC236}">
                    <a16:creationId xmlns:a16="http://schemas.microsoft.com/office/drawing/2014/main" id="{9454AA9D-7433-4729-BE41-2E93DB73FFB7}"/>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7" name="Gelijkbenige driehoek 156">
                <a:extLst>
                  <a:ext uri="{FF2B5EF4-FFF2-40B4-BE49-F238E27FC236}">
                    <a16:creationId xmlns:a16="http://schemas.microsoft.com/office/drawing/2014/main" id="{BDF07484-B1ED-4966-955C-14977E47069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50" name="Rechte verbindingslijn 149">
              <a:extLst>
                <a:ext uri="{FF2B5EF4-FFF2-40B4-BE49-F238E27FC236}">
                  <a16:creationId xmlns:a16="http://schemas.microsoft.com/office/drawing/2014/main" id="{97FA8868-A24F-4AAD-B0DC-C48FE650EFDB}"/>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51" name="Groep 150">
              <a:extLst>
                <a:ext uri="{FF2B5EF4-FFF2-40B4-BE49-F238E27FC236}">
                  <a16:creationId xmlns:a16="http://schemas.microsoft.com/office/drawing/2014/main" id="{19DBE4BD-6A6B-473A-AF79-CBF857EE43C0}"/>
                </a:ext>
              </a:extLst>
            </p:cNvPr>
            <p:cNvGrpSpPr/>
            <p:nvPr userDrawn="1"/>
          </p:nvGrpSpPr>
          <p:grpSpPr>
            <a:xfrm>
              <a:off x="12751697" y="1147804"/>
              <a:ext cx="289372" cy="314992"/>
              <a:chOff x="7322769" y="-310267"/>
              <a:chExt cx="289372" cy="314992"/>
            </a:xfrm>
          </p:grpSpPr>
          <p:sp>
            <p:nvSpPr>
              <p:cNvPr id="152" name="Rechthoek 151">
                <a:extLst>
                  <a:ext uri="{FF2B5EF4-FFF2-40B4-BE49-F238E27FC236}">
                    <a16:creationId xmlns:a16="http://schemas.microsoft.com/office/drawing/2014/main" id="{21422EE9-9966-4204-9FBC-787109172B3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53" name="Rechthoek 152">
                <a:extLst>
                  <a:ext uri="{FF2B5EF4-FFF2-40B4-BE49-F238E27FC236}">
                    <a16:creationId xmlns:a16="http://schemas.microsoft.com/office/drawing/2014/main" id="{7E93F936-57D3-480F-9F5B-1D1FD404E4F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54" name="Rechthoek 153">
                <a:extLst>
                  <a:ext uri="{FF2B5EF4-FFF2-40B4-BE49-F238E27FC236}">
                    <a16:creationId xmlns:a16="http://schemas.microsoft.com/office/drawing/2014/main" id="{20B4A955-E3DA-446D-9B63-E2A32B79D71D}"/>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nvGrpSpPr>
          <p:cNvPr id="316" name="Instructie">
            <a:extLst>
              <a:ext uri="{FF2B5EF4-FFF2-40B4-BE49-F238E27FC236}">
                <a16:creationId xmlns:a16="http://schemas.microsoft.com/office/drawing/2014/main" id="{3010A3CC-B7B6-4B80-B2BD-DB010FDBA6EF}"/>
              </a:ext>
            </a:extLst>
          </p:cNvPr>
          <p:cNvGrpSpPr/>
          <p:nvPr userDrawn="1"/>
        </p:nvGrpSpPr>
        <p:grpSpPr>
          <a:xfrm>
            <a:off x="-3437547" y="1434"/>
            <a:ext cx="3201327" cy="6041867"/>
            <a:chOff x="-3437547" y="1434"/>
            <a:chExt cx="3201327" cy="6041867"/>
          </a:xfrm>
        </p:grpSpPr>
        <p:cxnSp>
          <p:nvCxnSpPr>
            <p:cNvPr id="317" name="Rechte verbindingslijn 316">
              <a:extLst>
                <a:ext uri="{FF2B5EF4-FFF2-40B4-BE49-F238E27FC236}">
                  <a16:creationId xmlns:a16="http://schemas.microsoft.com/office/drawing/2014/main" id="{75FF2CD6-4E38-473C-B674-8C9DA96730ED}"/>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8" name="Ovaal 317">
              <a:extLst>
                <a:ext uri="{FF2B5EF4-FFF2-40B4-BE49-F238E27FC236}">
                  <a16:creationId xmlns:a16="http://schemas.microsoft.com/office/drawing/2014/main" id="{2E05482E-440A-4EDE-A2FB-365DCC9C9E96}"/>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9" name="Rechthoek 318">
              <a:extLst>
                <a:ext uri="{FF2B5EF4-FFF2-40B4-BE49-F238E27FC236}">
                  <a16:creationId xmlns:a16="http://schemas.microsoft.com/office/drawing/2014/main" id="{43A816CC-54C9-4B8A-9ACB-494519E890EF}"/>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0" name="Ovaal 319">
              <a:extLst>
                <a:ext uri="{FF2B5EF4-FFF2-40B4-BE49-F238E27FC236}">
                  <a16:creationId xmlns:a16="http://schemas.microsoft.com/office/drawing/2014/main" id="{A1FF1582-7030-4A7E-B9EE-E881FCE00ABC}"/>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21" name="Rechthoek 320">
              <a:extLst>
                <a:ext uri="{FF2B5EF4-FFF2-40B4-BE49-F238E27FC236}">
                  <a16:creationId xmlns:a16="http://schemas.microsoft.com/office/drawing/2014/main" id="{26126E7F-D7C0-401E-AD94-5393C3BD40A6}"/>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2" name="Ovaal 321">
              <a:extLst>
                <a:ext uri="{FF2B5EF4-FFF2-40B4-BE49-F238E27FC236}">
                  <a16:creationId xmlns:a16="http://schemas.microsoft.com/office/drawing/2014/main" id="{0E9C8282-E155-49B1-9A92-EAE8D704AD6B}"/>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23" name="Rechthoek 322">
              <a:extLst>
                <a:ext uri="{FF2B5EF4-FFF2-40B4-BE49-F238E27FC236}">
                  <a16:creationId xmlns:a16="http://schemas.microsoft.com/office/drawing/2014/main" id="{FF73E9DB-39CE-43EC-B840-81DEAFC7207E}"/>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24" name="Ovaal 323">
              <a:extLst>
                <a:ext uri="{FF2B5EF4-FFF2-40B4-BE49-F238E27FC236}">
                  <a16:creationId xmlns:a16="http://schemas.microsoft.com/office/drawing/2014/main" id="{F1B03572-9FDA-469B-B101-B2730256DAB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5" name="Rechthoek 324">
              <a:extLst>
                <a:ext uri="{FF2B5EF4-FFF2-40B4-BE49-F238E27FC236}">
                  <a16:creationId xmlns:a16="http://schemas.microsoft.com/office/drawing/2014/main" id="{3C0D8723-EF3E-4FD1-B9F7-78AA464812AA}"/>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26" name="Rechthoek 325">
              <a:extLst>
                <a:ext uri="{FF2B5EF4-FFF2-40B4-BE49-F238E27FC236}">
                  <a16:creationId xmlns:a16="http://schemas.microsoft.com/office/drawing/2014/main" id="{A06D57EA-06C7-40D2-AD2E-7F9403839B40}"/>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7" name="Ovaal 326">
              <a:extLst>
                <a:ext uri="{FF2B5EF4-FFF2-40B4-BE49-F238E27FC236}">
                  <a16:creationId xmlns:a16="http://schemas.microsoft.com/office/drawing/2014/main" id="{F20C5B54-FD87-4B64-8543-8557E68EBE14}"/>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8" name="Rechte verbindingslijn 327">
              <a:extLst>
                <a:ext uri="{FF2B5EF4-FFF2-40B4-BE49-F238E27FC236}">
                  <a16:creationId xmlns:a16="http://schemas.microsoft.com/office/drawing/2014/main" id="{9BD0A976-FFCA-4C0F-A8D6-48F187123D9D}"/>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9" name="Groep 328">
              <a:extLst>
                <a:ext uri="{FF2B5EF4-FFF2-40B4-BE49-F238E27FC236}">
                  <a16:creationId xmlns:a16="http://schemas.microsoft.com/office/drawing/2014/main" id="{A22DA597-09F1-406C-86A5-1DE1958D3437}"/>
                </a:ext>
              </a:extLst>
            </p:cNvPr>
            <p:cNvGrpSpPr/>
            <p:nvPr userDrawn="1"/>
          </p:nvGrpSpPr>
          <p:grpSpPr>
            <a:xfrm>
              <a:off x="-3437547" y="1295337"/>
              <a:ext cx="2933825" cy="558875"/>
              <a:chOff x="-3419346" y="368233"/>
              <a:chExt cx="3904920" cy="743862"/>
            </a:xfrm>
          </p:grpSpPr>
          <p:sp>
            <p:nvSpPr>
              <p:cNvPr id="346" name="Rechthoek 345">
                <a:extLst>
                  <a:ext uri="{FF2B5EF4-FFF2-40B4-BE49-F238E27FC236}">
                    <a16:creationId xmlns:a16="http://schemas.microsoft.com/office/drawing/2014/main" id="{F33556BD-A572-4EAA-905B-D27297A5DC2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7" name="Rechte verbindingslijn 346">
                <a:extLst>
                  <a:ext uri="{FF2B5EF4-FFF2-40B4-BE49-F238E27FC236}">
                    <a16:creationId xmlns:a16="http://schemas.microsoft.com/office/drawing/2014/main" id="{D83BA96D-D231-4E16-9868-21314108FAC3}"/>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8" name="Rechte verbindingslijn 347">
                <a:extLst>
                  <a:ext uri="{FF2B5EF4-FFF2-40B4-BE49-F238E27FC236}">
                    <a16:creationId xmlns:a16="http://schemas.microsoft.com/office/drawing/2014/main" id="{17C621A5-4CB1-4CD6-8AA6-8FA9E60213B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9" name="Rechthoek 348">
                <a:extLst>
                  <a:ext uri="{FF2B5EF4-FFF2-40B4-BE49-F238E27FC236}">
                    <a16:creationId xmlns:a16="http://schemas.microsoft.com/office/drawing/2014/main" id="{A5BD966A-5E2D-4267-A0B5-BF990A6633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50" name="Groep 349">
                <a:extLst>
                  <a:ext uri="{FF2B5EF4-FFF2-40B4-BE49-F238E27FC236}">
                    <a16:creationId xmlns:a16="http://schemas.microsoft.com/office/drawing/2014/main" id="{7C1BFD87-4A85-4E6C-AA2A-11985BABFAF9}"/>
                  </a:ext>
                </a:extLst>
              </p:cNvPr>
              <p:cNvGrpSpPr/>
              <p:nvPr userDrawn="1"/>
            </p:nvGrpSpPr>
            <p:grpSpPr>
              <a:xfrm>
                <a:off x="-3002834" y="720303"/>
                <a:ext cx="182598" cy="143759"/>
                <a:chOff x="-3310843" y="700986"/>
                <a:chExt cx="182598" cy="143759"/>
              </a:xfrm>
            </p:grpSpPr>
            <p:grpSp>
              <p:nvGrpSpPr>
                <p:cNvPr id="389" name="Groep 388">
                  <a:extLst>
                    <a:ext uri="{FF2B5EF4-FFF2-40B4-BE49-F238E27FC236}">
                      <a16:creationId xmlns:a16="http://schemas.microsoft.com/office/drawing/2014/main" id="{072CA49D-334A-4ABD-A1AC-E17807EADAC9}"/>
                    </a:ext>
                  </a:extLst>
                </p:cNvPr>
                <p:cNvGrpSpPr/>
                <p:nvPr userDrawn="1"/>
              </p:nvGrpSpPr>
              <p:grpSpPr>
                <a:xfrm>
                  <a:off x="-3310843" y="700986"/>
                  <a:ext cx="182598" cy="143759"/>
                  <a:chOff x="-3310843" y="700986"/>
                  <a:chExt cx="182598" cy="143759"/>
                </a:xfrm>
              </p:grpSpPr>
              <p:cxnSp>
                <p:nvCxnSpPr>
                  <p:cNvPr id="393" name="Rechte verbindingslijn 392">
                    <a:extLst>
                      <a:ext uri="{FF2B5EF4-FFF2-40B4-BE49-F238E27FC236}">
                        <a16:creationId xmlns:a16="http://schemas.microsoft.com/office/drawing/2014/main" id="{F6A590D6-A2D8-498D-A62D-87AAB084856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716B24B5-98C4-4DE2-B5BC-8171A8FAA496}"/>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5" name="Rechte verbindingslijn 394">
                    <a:extLst>
                      <a:ext uri="{FF2B5EF4-FFF2-40B4-BE49-F238E27FC236}">
                        <a16:creationId xmlns:a16="http://schemas.microsoft.com/office/drawing/2014/main" id="{B54E32F3-9CD7-4139-8F00-969822DCD3B0}"/>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6" name="Rechte verbindingslijn 395">
                    <a:extLst>
                      <a:ext uri="{FF2B5EF4-FFF2-40B4-BE49-F238E27FC236}">
                        <a16:creationId xmlns:a16="http://schemas.microsoft.com/office/drawing/2014/main" id="{A55D25B1-8869-43E1-97BF-3D37CF474E0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7" name="Rechte verbindingslijn 396">
                    <a:extLst>
                      <a:ext uri="{FF2B5EF4-FFF2-40B4-BE49-F238E27FC236}">
                        <a16:creationId xmlns:a16="http://schemas.microsoft.com/office/drawing/2014/main" id="{D9907389-BE10-41D6-96B1-66869569E0C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90" name="Groep 389">
                  <a:extLst>
                    <a:ext uri="{FF2B5EF4-FFF2-40B4-BE49-F238E27FC236}">
                      <a16:creationId xmlns:a16="http://schemas.microsoft.com/office/drawing/2014/main" id="{A32F2143-4216-4B7F-B346-9C79C94C0A2B}"/>
                    </a:ext>
                  </a:extLst>
                </p:cNvPr>
                <p:cNvGrpSpPr/>
                <p:nvPr userDrawn="1"/>
              </p:nvGrpSpPr>
              <p:grpSpPr>
                <a:xfrm flipH="1">
                  <a:off x="-3310774" y="735854"/>
                  <a:ext cx="88801" cy="72568"/>
                  <a:chOff x="-2091059" y="1395403"/>
                  <a:chExt cx="157316" cy="128558"/>
                </a:xfrm>
              </p:grpSpPr>
              <p:sp>
                <p:nvSpPr>
                  <p:cNvPr id="391" name="Rechthoek 390">
                    <a:extLst>
                      <a:ext uri="{FF2B5EF4-FFF2-40B4-BE49-F238E27FC236}">
                        <a16:creationId xmlns:a16="http://schemas.microsoft.com/office/drawing/2014/main" id="{C12DD89B-3EAD-47F5-8159-D601AD20B38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2" name="Pijl: punthaak 391">
                    <a:extLst>
                      <a:ext uri="{FF2B5EF4-FFF2-40B4-BE49-F238E27FC236}">
                        <a16:creationId xmlns:a16="http://schemas.microsoft.com/office/drawing/2014/main" id="{EA05B45A-34F3-4936-9844-CB8940610E8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51" name="Groep 350">
                <a:extLst>
                  <a:ext uri="{FF2B5EF4-FFF2-40B4-BE49-F238E27FC236}">
                    <a16:creationId xmlns:a16="http://schemas.microsoft.com/office/drawing/2014/main" id="{068AA8B8-C0B7-40D2-B14E-F3728966E7C0}"/>
                  </a:ext>
                </a:extLst>
              </p:cNvPr>
              <p:cNvGrpSpPr/>
              <p:nvPr userDrawn="1"/>
            </p:nvGrpSpPr>
            <p:grpSpPr>
              <a:xfrm>
                <a:off x="-3326107" y="720303"/>
                <a:ext cx="182598" cy="143759"/>
                <a:chOff x="-3634116" y="700986"/>
                <a:chExt cx="182598" cy="143759"/>
              </a:xfrm>
            </p:grpSpPr>
            <p:grpSp>
              <p:nvGrpSpPr>
                <p:cNvPr id="380" name="Groep 379">
                  <a:extLst>
                    <a:ext uri="{FF2B5EF4-FFF2-40B4-BE49-F238E27FC236}">
                      <a16:creationId xmlns:a16="http://schemas.microsoft.com/office/drawing/2014/main" id="{9E7FA22F-2802-4620-8C18-80669795840C}"/>
                    </a:ext>
                  </a:extLst>
                </p:cNvPr>
                <p:cNvGrpSpPr/>
                <p:nvPr userDrawn="1"/>
              </p:nvGrpSpPr>
              <p:grpSpPr>
                <a:xfrm>
                  <a:off x="-3634116" y="700986"/>
                  <a:ext cx="182598" cy="143759"/>
                  <a:chOff x="-3634116" y="700986"/>
                  <a:chExt cx="182598" cy="143759"/>
                </a:xfrm>
              </p:grpSpPr>
              <p:cxnSp>
                <p:nvCxnSpPr>
                  <p:cNvPr id="384" name="Rechte verbindingslijn 383">
                    <a:extLst>
                      <a:ext uri="{FF2B5EF4-FFF2-40B4-BE49-F238E27FC236}">
                        <a16:creationId xmlns:a16="http://schemas.microsoft.com/office/drawing/2014/main" id="{C53A5BF2-D7D6-40B8-8E92-FE9ED4930F62}"/>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DDDD0B66-5359-48E0-B2D0-23B4BB88617A}"/>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6" name="Rechte verbindingslijn 385">
                    <a:extLst>
                      <a:ext uri="{FF2B5EF4-FFF2-40B4-BE49-F238E27FC236}">
                        <a16:creationId xmlns:a16="http://schemas.microsoft.com/office/drawing/2014/main" id="{26667792-8DAB-4304-8F1C-C4CB49775001}"/>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7" name="Rechte verbindingslijn 386">
                    <a:extLst>
                      <a:ext uri="{FF2B5EF4-FFF2-40B4-BE49-F238E27FC236}">
                        <a16:creationId xmlns:a16="http://schemas.microsoft.com/office/drawing/2014/main" id="{20751DD5-03CF-4BA3-8005-554FA2DD2C1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8" name="Rechte verbindingslijn 387">
                    <a:extLst>
                      <a:ext uri="{FF2B5EF4-FFF2-40B4-BE49-F238E27FC236}">
                        <a16:creationId xmlns:a16="http://schemas.microsoft.com/office/drawing/2014/main" id="{44216857-45AB-4D1A-B268-6113E124C84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81" name="Groep 380">
                  <a:extLst>
                    <a:ext uri="{FF2B5EF4-FFF2-40B4-BE49-F238E27FC236}">
                      <a16:creationId xmlns:a16="http://schemas.microsoft.com/office/drawing/2014/main" id="{1B914C82-BF7F-4E3A-B8BC-4BA51D0FD915}"/>
                    </a:ext>
                  </a:extLst>
                </p:cNvPr>
                <p:cNvGrpSpPr/>
                <p:nvPr userDrawn="1"/>
              </p:nvGrpSpPr>
              <p:grpSpPr>
                <a:xfrm>
                  <a:off x="-3634047" y="735854"/>
                  <a:ext cx="88801" cy="72568"/>
                  <a:chOff x="-2091059" y="1395403"/>
                  <a:chExt cx="157316" cy="128558"/>
                </a:xfrm>
              </p:grpSpPr>
              <p:sp>
                <p:nvSpPr>
                  <p:cNvPr id="382" name="Rechthoek 381">
                    <a:extLst>
                      <a:ext uri="{FF2B5EF4-FFF2-40B4-BE49-F238E27FC236}">
                        <a16:creationId xmlns:a16="http://schemas.microsoft.com/office/drawing/2014/main" id="{6CFE0D3F-01A9-4095-A9BC-22DE4D22A0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3" name="Pijl: punthaak 382">
                    <a:extLst>
                      <a:ext uri="{FF2B5EF4-FFF2-40B4-BE49-F238E27FC236}">
                        <a16:creationId xmlns:a16="http://schemas.microsoft.com/office/drawing/2014/main" id="{74DA5B26-23AE-495E-B754-51EA3B293D8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52" name="Rechte verbindingslijn 351">
                <a:extLst>
                  <a:ext uri="{FF2B5EF4-FFF2-40B4-BE49-F238E27FC236}">
                    <a16:creationId xmlns:a16="http://schemas.microsoft.com/office/drawing/2014/main" id="{BA00214F-1002-4D45-B9A5-9E37AC060F3F}"/>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53" name="Rechte verbindingslijn 352">
                <a:extLst>
                  <a:ext uri="{FF2B5EF4-FFF2-40B4-BE49-F238E27FC236}">
                    <a16:creationId xmlns:a16="http://schemas.microsoft.com/office/drawing/2014/main" id="{ABCE834E-6552-4069-88C3-84B91C332CB5}"/>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54" name="Groep 353">
                <a:extLst>
                  <a:ext uri="{FF2B5EF4-FFF2-40B4-BE49-F238E27FC236}">
                    <a16:creationId xmlns:a16="http://schemas.microsoft.com/office/drawing/2014/main" id="{F2C0C1CF-6A93-4A78-964A-43F278CE2834}"/>
                  </a:ext>
                </a:extLst>
              </p:cNvPr>
              <p:cNvGrpSpPr/>
              <p:nvPr userDrawn="1"/>
            </p:nvGrpSpPr>
            <p:grpSpPr>
              <a:xfrm>
                <a:off x="-2425037" y="370226"/>
                <a:ext cx="357690" cy="330595"/>
                <a:chOff x="-2721817" y="347336"/>
                <a:chExt cx="432805" cy="400021"/>
              </a:xfrm>
            </p:grpSpPr>
            <p:sp>
              <p:nvSpPr>
                <p:cNvPr id="369" name="Rechthoek 368">
                  <a:extLst>
                    <a:ext uri="{FF2B5EF4-FFF2-40B4-BE49-F238E27FC236}">
                      <a16:creationId xmlns:a16="http://schemas.microsoft.com/office/drawing/2014/main" id="{1099A26C-A204-41A8-A35B-EE61D6084F7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0" name="Groep 369">
                  <a:extLst>
                    <a:ext uri="{FF2B5EF4-FFF2-40B4-BE49-F238E27FC236}">
                      <a16:creationId xmlns:a16="http://schemas.microsoft.com/office/drawing/2014/main" id="{63E3090A-2634-4FB0-BF25-3C962B2CD0B7}"/>
                    </a:ext>
                  </a:extLst>
                </p:cNvPr>
                <p:cNvGrpSpPr/>
                <p:nvPr userDrawn="1"/>
              </p:nvGrpSpPr>
              <p:grpSpPr>
                <a:xfrm>
                  <a:off x="-2652453" y="431583"/>
                  <a:ext cx="294076" cy="231526"/>
                  <a:chOff x="-3634116" y="700986"/>
                  <a:chExt cx="182598" cy="143759"/>
                </a:xfrm>
              </p:grpSpPr>
              <p:grpSp>
                <p:nvGrpSpPr>
                  <p:cNvPr id="371" name="Groep 370">
                    <a:extLst>
                      <a:ext uri="{FF2B5EF4-FFF2-40B4-BE49-F238E27FC236}">
                        <a16:creationId xmlns:a16="http://schemas.microsoft.com/office/drawing/2014/main" id="{513C8097-8B9B-4020-B30E-6F2452C2FE0C}"/>
                      </a:ext>
                    </a:extLst>
                  </p:cNvPr>
                  <p:cNvGrpSpPr/>
                  <p:nvPr userDrawn="1"/>
                </p:nvGrpSpPr>
                <p:grpSpPr>
                  <a:xfrm>
                    <a:off x="-3634116" y="700986"/>
                    <a:ext cx="182598" cy="143759"/>
                    <a:chOff x="-3634116" y="700986"/>
                    <a:chExt cx="182598" cy="143759"/>
                  </a:xfrm>
                </p:grpSpPr>
                <p:cxnSp>
                  <p:nvCxnSpPr>
                    <p:cNvPr id="375" name="Rechte verbindingslijn 374">
                      <a:extLst>
                        <a:ext uri="{FF2B5EF4-FFF2-40B4-BE49-F238E27FC236}">
                          <a16:creationId xmlns:a16="http://schemas.microsoft.com/office/drawing/2014/main" id="{7DC15605-CE5F-459D-BD08-27B7FB25AF0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6" name="Rechte verbindingslijn 375">
                      <a:extLst>
                        <a:ext uri="{FF2B5EF4-FFF2-40B4-BE49-F238E27FC236}">
                          <a16:creationId xmlns:a16="http://schemas.microsoft.com/office/drawing/2014/main" id="{7C8740B3-9E9C-4B6C-8DF1-DD67073A08F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7" name="Rechte verbindingslijn 376">
                      <a:extLst>
                        <a:ext uri="{FF2B5EF4-FFF2-40B4-BE49-F238E27FC236}">
                          <a16:creationId xmlns:a16="http://schemas.microsoft.com/office/drawing/2014/main" id="{A19A4AED-8169-4324-968F-ECF7795A3A01}"/>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8" name="Rechte verbindingslijn 377">
                      <a:extLst>
                        <a:ext uri="{FF2B5EF4-FFF2-40B4-BE49-F238E27FC236}">
                          <a16:creationId xmlns:a16="http://schemas.microsoft.com/office/drawing/2014/main" id="{0A40B635-6B25-4F81-A0B0-979AF174335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9" name="Rechte verbindingslijn 378">
                      <a:extLst>
                        <a:ext uri="{FF2B5EF4-FFF2-40B4-BE49-F238E27FC236}">
                          <a16:creationId xmlns:a16="http://schemas.microsoft.com/office/drawing/2014/main" id="{26122291-D968-4EC1-9D23-AC7A9636B9D7}"/>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72" name="Groep 371">
                    <a:extLst>
                      <a:ext uri="{FF2B5EF4-FFF2-40B4-BE49-F238E27FC236}">
                        <a16:creationId xmlns:a16="http://schemas.microsoft.com/office/drawing/2014/main" id="{4A7336B3-DDE4-44B6-8602-7D753B9CB6E8}"/>
                      </a:ext>
                    </a:extLst>
                  </p:cNvPr>
                  <p:cNvGrpSpPr/>
                  <p:nvPr userDrawn="1"/>
                </p:nvGrpSpPr>
                <p:grpSpPr>
                  <a:xfrm>
                    <a:off x="-3634047" y="735854"/>
                    <a:ext cx="88801" cy="72568"/>
                    <a:chOff x="-2091059" y="1395403"/>
                    <a:chExt cx="157316" cy="128558"/>
                  </a:xfrm>
                </p:grpSpPr>
                <p:sp>
                  <p:nvSpPr>
                    <p:cNvPr id="373" name="Rechthoek 372">
                      <a:extLst>
                        <a:ext uri="{FF2B5EF4-FFF2-40B4-BE49-F238E27FC236}">
                          <a16:creationId xmlns:a16="http://schemas.microsoft.com/office/drawing/2014/main" id="{298D231A-9A59-4EDA-A6D0-8AEAA89ECE0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4" name="Pijl: punthaak 373">
                      <a:extLst>
                        <a:ext uri="{FF2B5EF4-FFF2-40B4-BE49-F238E27FC236}">
                          <a16:creationId xmlns:a16="http://schemas.microsoft.com/office/drawing/2014/main" id="{9EED97A4-DF11-4ECA-8820-D54F9252512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5" name="Groep 354">
                <a:extLst>
                  <a:ext uri="{FF2B5EF4-FFF2-40B4-BE49-F238E27FC236}">
                    <a16:creationId xmlns:a16="http://schemas.microsoft.com/office/drawing/2014/main" id="{A2E1157B-25E7-4D1A-97E9-37BD26CC30C2}"/>
                  </a:ext>
                </a:extLst>
              </p:cNvPr>
              <p:cNvGrpSpPr/>
              <p:nvPr userDrawn="1"/>
            </p:nvGrpSpPr>
            <p:grpSpPr>
              <a:xfrm>
                <a:off x="-2425037" y="781500"/>
                <a:ext cx="357690" cy="330595"/>
                <a:chOff x="-2721817" y="782525"/>
                <a:chExt cx="432805" cy="400021"/>
              </a:xfrm>
            </p:grpSpPr>
            <p:sp>
              <p:nvSpPr>
                <p:cNvPr id="358" name="Rechthoek 357">
                  <a:extLst>
                    <a:ext uri="{FF2B5EF4-FFF2-40B4-BE49-F238E27FC236}">
                      <a16:creationId xmlns:a16="http://schemas.microsoft.com/office/drawing/2014/main" id="{1A8A9248-E8DB-45B0-AD2D-70E310278E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9" name="Groep 358">
                  <a:extLst>
                    <a:ext uri="{FF2B5EF4-FFF2-40B4-BE49-F238E27FC236}">
                      <a16:creationId xmlns:a16="http://schemas.microsoft.com/office/drawing/2014/main" id="{2F0967AE-4F80-4156-BF4A-33A8A3611ACE}"/>
                    </a:ext>
                  </a:extLst>
                </p:cNvPr>
                <p:cNvGrpSpPr/>
                <p:nvPr userDrawn="1"/>
              </p:nvGrpSpPr>
              <p:grpSpPr>
                <a:xfrm>
                  <a:off x="-2652453" y="866772"/>
                  <a:ext cx="294076" cy="231526"/>
                  <a:chOff x="-3310843" y="700986"/>
                  <a:chExt cx="182598" cy="143759"/>
                </a:xfrm>
              </p:grpSpPr>
              <p:grpSp>
                <p:nvGrpSpPr>
                  <p:cNvPr id="360" name="Groep 359">
                    <a:extLst>
                      <a:ext uri="{FF2B5EF4-FFF2-40B4-BE49-F238E27FC236}">
                        <a16:creationId xmlns:a16="http://schemas.microsoft.com/office/drawing/2014/main" id="{77B3F645-1FF3-43EC-B339-499CDC0C080E}"/>
                      </a:ext>
                    </a:extLst>
                  </p:cNvPr>
                  <p:cNvGrpSpPr/>
                  <p:nvPr userDrawn="1"/>
                </p:nvGrpSpPr>
                <p:grpSpPr>
                  <a:xfrm>
                    <a:off x="-3310843" y="700986"/>
                    <a:ext cx="182598" cy="143759"/>
                    <a:chOff x="-3310843" y="700986"/>
                    <a:chExt cx="182598" cy="143759"/>
                  </a:xfrm>
                </p:grpSpPr>
                <p:cxnSp>
                  <p:nvCxnSpPr>
                    <p:cNvPr id="364" name="Rechte verbindingslijn 363">
                      <a:extLst>
                        <a:ext uri="{FF2B5EF4-FFF2-40B4-BE49-F238E27FC236}">
                          <a16:creationId xmlns:a16="http://schemas.microsoft.com/office/drawing/2014/main" id="{24157FE2-E6A8-4611-977A-09D5FFDCE99C}"/>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5" name="Rechte verbindingslijn 364">
                      <a:extLst>
                        <a:ext uri="{FF2B5EF4-FFF2-40B4-BE49-F238E27FC236}">
                          <a16:creationId xmlns:a16="http://schemas.microsoft.com/office/drawing/2014/main" id="{91CABBAA-A157-4D1C-B33A-72EA0257511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6" name="Rechte verbindingslijn 365">
                      <a:extLst>
                        <a:ext uri="{FF2B5EF4-FFF2-40B4-BE49-F238E27FC236}">
                          <a16:creationId xmlns:a16="http://schemas.microsoft.com/office/drawing/2014/main" id="{4E45C82A-36BE-4B1C-8F8F-60E578C97D94}"/>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7" name="Rechte verbindingslijn 366">
                      <a:extLst>
                        <a:ext uri="{FF2B5EF4-FFF2-40B4-BE49-F238E27FC236}">
                          <a16:creationId xmlns:a16="http://schemas.microsoft.com/office/drawing/2014/main" id="{3DB7E9A3-41F2-4082-A763-B52B1286313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8" name="Rechte verbindingslijn 367">
                      <a:extLst>
                        <a:ext uri="{FF2B5EF4-FFF2-40B4-BE49-F238E27FC236}">
                          <a16:creationId xmlns:a16="http://schemas.microsoft.com/office/drawing/2014/main" id="{B89FFBB0-D09F-4B7F-BC77-E5050F4D054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61" name="Groep 360">
                    <a:extLst>
                      <a:ext uri="{FF2B5EF4-FFF2-40B4-BE49-F238E27FC236}">
                        <a16:creationId xmlns:a16="http://schemas.microsoft.com/office/drawing/2014/main" id="{7FE5F342-B893-4E55-BA20-F0BFD29E2F43}"/>
                      </a:ext>
                    </a:extLst>
                  </p:cNvPr>
                  <p:cNvGrpSpPr/>
                  <p:nvPr userDrawn="1"/>
                </p:nvGrpSpPr>
                <p:grpSpPr>
                  <a:xfrm flipH="1">
                    <a:off x="-3310774" y="735854"/>
                    <a:ext cx="88801" cy="72568"/>
                    <a:chOff x="-2091059" y="1395403"/>
                    <a:chExt cx="157316" cy="128558"/>
                  </a:xfrm>
                </p:grpSpPr>
                <p:sp>
                  <p:nvSpPr>
                    <p:cNvPr id="362" name="Rechthoek 361">
                      <a:extLst>
                        <a:ext uri="{FF2B5EF4-FFF2-40B4-BE49-F238E27FC236}">
                          <a16:creationId xmlns:a16="http://schemas.microsoft.com/office/drawing/2014/main" id="{E62FED07-2B91-4ACF-A9CE-5271B7FACD6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3" name="Pijl: punthaak 362">
                      <a:extLst>
                        <a:ext uri="{FF2B5EF4-FFF2-40B4-BE49-F238E27FC236}">
                          <a16:creationId xmlns:a16="http://schemas.microsoft.com/office/drawing/2014/main" id="{06081880-6BEB-4A66-AA21-85043D66EB5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6" name="Rechthoek 355">
                <a:extLst>
                  <a:ext uri="{FF2B5EF4-FFF2-40B4-BE49-F238E27FC236}">
                    <a16:creationId xmlns:a16="http://schemas.microsoft.com/office/drawing/2014/main" id="{66752CC0-F146-4E09-B309-8FC5D3662EE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7" name="Rechthoek 356">
                <a:extLst>
                  <a:ext uri="{FF2B5EF4-FFF2-40B4-BE49-F238E27FC236}">
                    <a16:creationId xmlns:a16="http://schemas.microsoft.com/office/drawing/2014/main" id="{38D3580D-5AEB-4D3B-9267-A09A202E694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30" name="Rechte verbindingslijn 329">
              <a:extLst>
                <a:ext uri="{FF2B5EF4-FFF2-40B4-BE49-F238E27FC236}">
                  <a16:creationId xmlns:a16="http://schemas.microsoft.com/office/drawing/2014/main" id="{040A39BF-6E15-4E74-871A-337236124809}"/>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31" name="Rechthoek 330">
              <a:extLst>
                <a:ext uri="{FF2B5EF4-FFF2-40B4-BE49-F238E27FC236}">
                  <a16:creationId xmlns:a16="http://schemas.microsoft.com/office/drawing/2014/main" id="{1E3C7959-F670-4873-80A3-3821F627E86D}"/>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2" name="Ovaal 331">
              <a:extLst>
                <a:ext uri="{FF2B5EF4-FFF2-40B4-BE49-F238E27FC236}">
                  <a16:creationId xmlns:a16="http://schemas.microsoft.com/office/drawing/2014/main" id="{2C49A7E4-FA33-4FDF-9BCB-3FAF63482C0C}"/>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33" name="Rechthoek 332">
              <a:extLst>
                <a:ext uri="{FF2B5EF4-FFF2-40B4-BE49-F238E27FC236}">
                  <a16:creationId xmlns:a16="http://schemas.microsoft.com/office/drawing/2014/main" id="{47E7C30E-FC61-42D8-BD56-F3B5246397D5}"/>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34" name="Ovaal 333">
              <a:extLst>
                <a:ext uri="{FF2B5EF4-FFF2-40B4-BE49-F238E27FC236}">
                  <a16:creationId xmlns:a16="http://schemas.microsoft.com/office/drawing/2014/main" id="{89F64F9C-7462-4EA5-B45E-6519245C1068}"/>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5" name="Rechthoek 334">
              <a:extLst>
                <a:ext uri="{FF2B5EF4-FFF2-40B4-BE49-F238E27FC236}">
                  <a16:creationId xmlns:a16="http://schemas.microsoft.com/office/drawing/2014/main" id="{C557BD62-33D3-4F32-80C6-486DF41E1FF7}"/>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6" name="Ovaal 335">
              <a:extLst>
                <a:ext uri="{FF2B5EF4-FFF2-40B4-BE49-F238E27FC236}">
                  <a16:creationId xmlns:a16="http://schemas.microsoft.com/office/drawing/2014/main" id="{48AE62D7-F720-45C9-A625-B464A78C723B}"/>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7" name="Rechthoek 336">
              <a:extLst>
                <a:ext uri="{FF2B5EF4-FFF2-40B4-BE49-F238E27FC236}">
                  <a16:creationId xmlns:a16="http://schemas.microsoft.com/office/drawing/2014/main" id="{4FF97FFA-BC1F-4342-B8DA-CA02F53674C3}"/>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8" name="Ovaal 337">
              <a:extLst>
                <a:ext uri="{FF2B5EF4-FFF2-40B4-BE49-F238E27FC236}">
                  <a16:creationId xmlns:a16="http://schemas.microsoft.com/office/drawing/2014/main" id="{7E051CC2-1F33-4705-BB88-59EC687832D7}"/>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9" name="Rechthoek 338">
              <a:extLst>
                <a:ext uri="{FF2B5EF4-FFF2-40B4-BE49-F238E27FC236}">
                  <a16:creationId xmlns:a16="http://schemas.microsoft.com/office/drawing/2014/main" id="{921306E3-3DCF-407B-A8D7-126F3CAFEC42}"/>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40" name="Rechthoek 339">
              <a:extLst>
                <a:ext uri="{FF2B5EF4-FFF2-40B4-BE49-F238E27FC236}">
                  <a16:creationId xmlns:a16="http://schemas.microsoft.com/office/drawing/2014/main" id="{99507576-D01B-44BF-9FFF-361F906437EC}"/>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41" name="Rechte verbindingslijn 340">
              <a:extLst>
                <a:ext uri="{FF2B5EF4-FFF2-40B4-BE49-F238E27FC236}">
                  <a16:creationId xmlns:a16="http://schemas.microsoft.com/office/drawing/2014/main" id="{2FA3C41D-5C86-437D-987F-B8D8D7614D8F}"/>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42" name="Ovaal 341">
              <a:extLst>
                <a:ext uri="{FF2B5EF4-FFF2-40B4-BE49-F238E27FC236}">
                  <a16:creationId xmlns:a16="http://schemas.microsoft.com/office/drawing/2014/main" id="{095E1608-AD9E-40F0-B62B-09AA75C0C395}"/>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43" name="Rechthoek 342">
              <a:extLst>
                <a:ext uri="{FF2B5EF4-FFF2-40B4-BE49-F238E27FC236}">
                  <a16:creationId xmlns:a16="http://schemas.microsoft.com/office/drawing/2014/main" id="{2DBA4166-5E02-4EC6-AA88-351D73F682A0}"/>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44" name="Ovaal 343">
              <a:extLst>
                <a:ext uri="{FF2B5EF4-FFF2-40B4-BE49-F238E27FC236}">
                  <a16:creationId xmlns:a16="http://schemas.microsoft.com/office/drawing/2014/main" id="{78C34700-B609-4D1B-9FC0-A172ED69AC80}"/>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5" name="Rechthoek 344">
              <a:extLst>
                <a:ext uri="{FF2B5EF4-FFF2-40B4-BE49-F238E27FC236}">
                  <a16:creationId xmlns:a16="http://schemas.microsoft.com/office/drawing/2014/main" id="{865C8E08-DFFB-4DBE-B03B-A4F0396A4CAC}"/>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31924498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KST / GRAFIEK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A8A94C4-611F-4E04-95A1-8C82CF6BFC5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GRAFIEK 2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7" y="1459111"/>
            <a:ext cx="5015239" cy="1878840"/>
          </a:xfrm>
          <a:solidFill>
            <a:schemeClr val="bg1">
              <a:lumMod val="95000"/>
            </a:schemeClr>
          </a:solidFill>
        </p:spPr>
        <p:txBody>
          <a:bodyPr tIns="504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95CDFAA9-BDB5-4D8F-938D-9F60774CE5B7}"/>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D7E82FEE-89D5-4142-8839-67BDEF20414F}"/>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6636507" y="3698999"/>
            <a:ext cx="5015239" cy="1878840"/>
          </a:xfrm>
          <a:solidFill>
            <a:schemeClr val="bg1">
              <a:lumMod val="95000"/>
            </a:schemeClr>
          </a:solidFill>
        </p:spPr>
        <p:txBody>
          <a:bodyPr tIns="504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331" name="Instructie">
            <a:extLst>
              <a:ext uri="{FF2B5EF4-FFF2-40B4-BE49-F238E27FC236}">
                <a16:creationId xmlns:a16="http://schemas.microsoft.com/office/drawing/2014/main" id="{6D7E66DE-6C48-42A6-9F81-DC67C808EC69}"/>
              </a:ext>
            </a:extLst>
          </p:cNvPr>
          <p:cNvGrpSpPr/>
          <p:nvPr userDrawn="1"/>
        </p:nvGrpSpPr>
        <p:grpSpPr>
          <a:xfrm>
            <a:off x="-3437547" y="1434"/>
            <a:ext cx="3201327" cy="6041867"/>
            <a:chOff x="-3437547" y="1434"/>
            <a:chExt cx="3201327" cy="6041867"/>
          </a:xfrm>
        </p:grpSpPr>
        <p:cxnSp>
          <p:nvCxnSpPr>
            <p:cNvPr id="332" name="Rechte verbindingslijn 331">
              <a:extLst>
                <a:ext uri="{FF2B5EF4-FFF2-40B4-BE49-F238E27FC236}">
                  <a16:creationId xmlns:a16="http://schemas.microsoft.com/office/drawing/2014/main" id="{3DA2682F-3D0F-4CA4-920D-2ADF99C906DE}"/>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33" name="Ovaal 332">
              <a:extLst>
                <a:ext uri="{FF2B5EF4-FFF2-40B4-BE49-F238E27FC236}">
                  <a16:creationId xmlns:a16="http://schemas.microsoft.com/office/drawing/2014/main" id="{6A564E50-1B5E-4A41-9520-647B0E1C378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34" name="Rechthoek 333">
              <a:extLst>
                <a:ext uri="{FF2B5EF4-FFF2-40B4-BE49-F238E27FC236}">
                  <a16:creationId xmlns:a16="http://schemas.microsoft.com/office/drawing/2014/main" id="{5D6145B1-0044-4007-90AE-4F84F6F9483C}"/>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5" name="Ovaal 334">
              <a:extLst>
                <a:ext uri="{FF2B5EF4-FFF2-40B4-BE49-F238E27FC236}">
                  <a16:creationId xmlns:a16="http://schemas.microsoft.com/office/drawing/2014/main" id="{1EFD867F-E8FC-461A-8D98-1B9B280F2F9E}"/>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36" name="Rechthoek 335">
              <a:extLst>
                <a:ext uri="{FF2B5EF4-FFF2-40B4-BE49-F238E27FC236}">
                  <a16:creationId xmlns:a16="http://schemas.microsoft.com/office/drawing/2014/main" id="{BD376027-23AE-4850-9031-6FB44EF1A92F}"/>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7" name="Ovaal 336">
              <a:extLst>
                <a:ext uri="{FF2B5EF4-FFF2-40B4-BE49-F238E27FC236}">
                  <a16:creationId xmlns:a16="http://schemas.microsoft.com/office/drawing/2014/main" id="{329F773E-6568-4D98-8C94-4D76225239FE}"/>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38" name="Rechthoek 337">
              <a:extLst>
                <a:ext uri="{FF2B5EF4-FFF2-40B4-BE49-F238E27FC236}">
                  <a16:creationId xmlns:a16="http://schemas.microsoft.com/office/drawing/2014/main" id="{2806D305-F3D4-4EE5-8189-F615B63ADA05}"/>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39" name="Ovaal 338">
              <a:extLst>
                <a:ext uri="{FF2B5EF4-FFF2-40B4-BE49-F238E27FC236}">
                  <a16:creationId xmlns:a16="http://schemas.microsoft.com/office/drawing/2014/main" id="{35DBE988-EBDA-4753-BE5A-0E0472189A54}"/>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40" name="Rechthoek 339">
              <a:extLst>
                <a:ext uri="{FF2B5EF4-FFF2-40B4-BE49-F238E27FC236}">
                  <a16:creationId xmlns:a16="http://schemas.microsoft.com/office/drawing/2014/main" id="{8D745FA2-1431-45BB-9FF4-D1A83CF7AD24}"/>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41" name="Rechthoek 340">
              <a:extLst>
                <a:ext uri="{FF2B5EF4-FFF2-40B4-BE49-F238E27FC236}">
                  <a16:creationId xmlns:a16="http://schemas.microsoft.com/office/drawing/2014/main" id="{FD430301-FC57-415E-B18B-C8224E72FCC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42" name="Ovaal 341">
              <a:extLst>
                <a:ext uri="{FF2B5EF4-FFF2-40B4-BE49-F238E27FC236}">
                  <a16:creationId xmlns:a16="http://schemas.microsoft.com/office/drawing/2014/main" id="{F368EAF6-EE48-47DE-A004-0CA4F1417457}"/>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43" name="Rechte verbindingslijn 342">
              <a:extLst>
                <a:ext uri="{FF2B5EF4-FFF2-40B4-BE49-F238E27FC236}">
                  <a16:creationId xmlns:a16="http://schemas.microsoft.com/office/drawing/2014/main" id="{D64337B1-F754-415E-82D2-D1316466BD74}"/>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44" name="Groep 343">
              <a:extLst>
                <a:ext uri="{FF2B5EF4-FFF2-40B4-BE49-F238E27FC236}">
                  <a16:creationId xmlns:a16="http://schemas.microsoft.com/office/drawing/2014/main" id="{C7B1CA79-54CC-4A65-BAE2-A2BE520B4F2C}"/>
                </a:ext>
              </a:extLst>
            </p:cNvPr>
            <p:cNvGrpSpPr/>
            <p:nvPr userDrawn="1"/>
          </p:nvGrpSpPr>
          <p:grpSpPr>
            <a:xfrm>
              <a:off x="-3437547" y="1295337"/>
              <a:ext cx="2933825" cy="558875"/>
              <a:chOff x="-3419346" y="368233"/>
              <a:chExt cx="3904920" cy="743862"/>
            </a:xfrm>
          </p:grpSpPr>
          <p:sp>
            <p:nvSpPr>
              <p:cNvPr id="361" name="Rechthoek 360">
                <a:extLst>
                  <a:ext uri="{FF2B5EF4-FFF2-40B4-BE49-F238E27FC236}">
                    <a16:creationId xmlns:a16="http://schemas.microsoft.com/office/drawing/2014/main" id="{A69353A9-BFF5-41CA-8D7F-48790027126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62" name="Rechte verbindingslijn 361">
                <a:extLst>
                  <a:ext uri="{FF2B5EF4-FFF2-40B4-BE49-F238E27FC236}">
                    <a16:creationId xmlns:a16="http://schemas.microsoft.com/office/drawing/2014/main" id="{EA5C9AE6-B2F2-4268-8D34-0325D7A431A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3" name="Rechte verbindingslijn 362">
                <a:extLst>
                  <a:ext uri="{FF2B5EF4-FFF2-40B4-BE49-F238E27FC236}">
                    <a16:creationId xmlns:a16="http://schemas.microsoft.com/office/drawing/2014/main" id="{9BCC3302-F95D-43E9-9929-C3FA92B8E2AC}"/>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4" name="Rechthoek 363">
                <a:extLst>
                  <a:ext uri="{FF2B5EF4-FFF2-40B4-BE49-F238E27FC236}">
                    <a16:creationId xmlns:a16="http://schemas.microsoft.com/office/drawing/2014/main" id="{AFDC76A0-4AD7-4A08-88A9-6EE5D2E53D3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65" name="Groep 364">
                <a:extLst>
                  <a:ext uri="{FF2B5EF4-FFF2-40B4-BE49-F238E27FC236}">
                    <a16:creationId xmlns:a16="http://schemas.microsoft.com/office/drawing/2014/main" id="{24A03ABC-0329-4010-8825-F68A3167D026}"/>
                  </a:ext>
                </a:extLst>
              </p:cNvPr>
              <p:cNvGrpSpPr/>
              <p:nvPr userDrawn="1"/>
            </p:nvGrpSpPr>
            <p:grpSpPr>
              <a:xfrm>
                <a:off x="-3002834" y="720303"/>
                <a:ext cx="182598" cy="143759"/>
                <a:chOff x="-3310843" y="700986"/>
                <a:chExt cx="182598" cy="143759"/>
              </a:xfrm>
            </p:grpSpPr>
            <p:grpSp>
              <p:nvGrpSpPr>
                <p:cNvPr id="404" name="Groep 403">
                  <a:extLst>
                    <a:ext uri="{FF2B5EF4-FFF2-40B4-BE49-F238E27FC236}">
                      <a16:creationId xmlns:a16="http://schemas.microsoft.com/office/drawing/2014/main" id="{594B09C5-DC81-4E5B-B151-396EDD16CF7E}"/>
                    </a:ext>
                  </a:extLst>
                </p:cNvPr>
                <p:cNvGrpSpPr/>
                <p:nvPr userDrawn="1"/>
              </p:nvGrpSpPr>
              <p:grpSpPr>
                <a:xfrm>
                  <a:off x="-3310843" y="700986"/>
                  <a:ext cx="182598" cy="143759"/>
                  <a:chOff x="-3310843" y="700986"/>
                  <a:chExt cx="182598" cy="143759"/>
                </a:xfrm>
              </p:grpSpPr>
              <p:cxnSp>
                <p:nvCxnSpPr>
                  <p:cNvPr id="408" name="Rechte verbindingslijn 407">
                    <a:extLst>
                      <a:ext uri="{FF2B5EF4-FFF2-40B4-BE49-F238E27FC236}">
                        <a16:creationId xmlns:a16="http://schemas.microsoft.com/office/drawing/2014/main" id="{04D9AEE6-BA20-4EE4-8B04-2FA8A4EF9DF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09" name="Rechte verbindingslijn 408">
                    <a:extLst>
                      <a:ext uri="{FF2B5EF4-FFF2-40B4-BE49-F238E27FC236}">
                        <a16:creationId xmlns:a16="http://schemas.microsoft.com/office/drawing/2014/main" id="{A49F7EBA-2DB3-463D-A487-253081DB285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10" name="Rechte verbindingslijn 409">
                    <a:extLst>
                      <a:ext uri="{FF2B5EF4-FFF2-40B4-BE49-F238E27FC236}">
                        <a16:creationId xmlns:a16="http://schemas.microsoft.com/office/drawing/2014/main" id="{11C8C5CB-94FF-4FEE-9ED0-B4DBA2F6454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E60EA423-5D0F-4104-A638-ECF8E4EAB90F}"/>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308C5293-003B-4BC8-860A-5D812AA50E3D}"/>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05" name="Groep 404">
                  <a:extLst>
                    <a:ext uri="{FF2B5EF4-FFF2-40B4-BE49-F238E27FC236}">
                      <a16:creationId xmlns:a16="http://schemas.microsoft.com/office/drawing/2014/main" id="{0D67E565-900A-4C16-B33F-8E5C85270E3A}"/>
                    </a:ext>
                  </a:extLst>
                </p:cNvPr>
                <p:cNvGrpSpPr/>
                <p:nvPr userDrawn="1"/>
              </p:nvGrpSpPr>
              <p:grpSpPr>
                <a:xfrm flipH="1">
                  <a:off x="-3310774" y="735854"/>
                  <a:ext cx="88801" cy="72568"/>
                  <a:chOff x="-2091059" y="1395403"/>
                  <a:chExt cx="157316" cy="128558"/>
                </a:xfrm>
              </p:grpSpPr>
              <p:sp>
                <p:nvSpPr>
                  <p:cNvPr id="406" name="Rechthoek 405">
                    <a:extLst>
                      <a:ext uri="{FF2B5EF4-FFF2-40B4-BE49-F238E27FC236}">
                        <a16:creationId xmlns:a16="http://schemas.microsoft.com/office/drawing/2014/main" id="{A85AD5A3-66BF-44E0-8839-1E0991429C8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07" name="Pijl: punthaak 406">
                    <a:extLst>
                      <a:ext uri="{FF2B5EF4-FFF2-40B4-BE49-F238E27FC236}">
                        <a16:creationId xmlns:a16="http://schemas.microsoft.com/office/drawing/2014/main" id="{EBFC023F-EDAA-4643-91EA-6D161E4C5ED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66" name="Groep 365">
                <a:extLst>
                  <a:ext uri="{FF2B5EF4-FFF2-40B4-BE49-F238E27FC236}">
                    <a16:creationId xmlns:a16="http://schemas.microsoft.com/office/drawing/2014/main" id="{114BE9DD-D7C3-40EA-8B18-ACB1DCC43728}"/>
                  </a:ext>
                </a:extLst>
              </p:cNvPr>
              <p:cNvGrpSpPr/>
              <p:nvPr userDrawn="1"/>
            </p:nvGrpSpPr>
            <p:grpSpPr>
              <a:xfrm>
                <a:off x="-3326107" y="720303"/>
                <a:ext cx="182598" cy="143759"/>
                <a:chOff x="-3634116" y="700986"/>
                <a:chExt cx="182598" cy="143759"/>
              </a:xfrm>
            </p:grpSpPr>
            <p:grpSp>
              <p:nvGrpSpPr>
                <p:cNvPr id="395" name="Groep 394">
                  <a:extLst>
                    <a:ext uri="{FF2B5EF4-FFF2-40B4-BE49-F238E27FC236}">
                      <a16:creationId xmlns:a16="http://schemas.microsoft.com/office/drawing/2014/main" id="{399CF803-AD5A-491A-91E2-6367AEEF0C26}"/>
                    </a:ext>
                  </a:extLst>
                </p:cNvPr>
                <p:cNvGrpSpPr/>
                <p:nvPr userDrawn="1"/>
              </p:nvGrpSpPr>
              <p:grpSpPr>
                <a:xfrm>
                  <a:off x="-3634116" y="700986"/>
                  <a:ext cx="182598" cy="143759"/>
                  <a:chOff x="-3634116" y="700986"/>
                  <a:chExt cx="182598" cy="143759"/>
                </a:xfrm>
              </p:grpSpPr>
              <p:cxnSp>
                <p:nvCxnSpPr>
                  <p:cNvPr id="399" name="Rechte verbindingslijn 398">
                    <a:extLst>
                      <a:ext uri="{FF2B5EF4-FFF2-40B4-BE49-F238E27FC236}">
                        <a16:creationId xmlns:a16="http://schemas.microsoft.com/office/drawing/2014/main" id="{147A4464-1D78-4F16-A881-B18ABB27FF1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00" name="Rechte verbindingslijn 399">
                    <a:extLst>
                      <a:ext uri="{FF2B5EF4-FFF2-40B4-BE49-F238E27FC236}">
                        <a16:creationId xmlns:a16="http://schemas.microsoft.com/office/drawing/2014/main" id="{17494F5A-CEA4-4099-BA65-64F44AE3005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01" name="Rechte verbindingslijn 400">
                    <a:extLst>
                      <a:ext uri="{FF2B5EF4-FFF2-40B4-BE49-F238E27FC236}">
                        <a16:creationId xmlns:a16="http://schemas.microsoft.com/office/drawing/2014/main" id="{A3AE517A-6433-4A45-B2FF-9069D1FFDACC}"/>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C097D53E-5FC8-420A-8DE3-5AF2714B3AC1}"/>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A99F0992-22F1-4C4E-A12A-1199CBC3AD7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96" name="Groep 395">
                  <a:extLst>
                    <a:ext uri="{FF2B5EF4-FFF2-40B4-BE49-F238E27FC236}">
                      <a16:creationId xmlns:a16="http://schemas.microsoft.com/office/drawing/2014/main" id="{E94CB91C-62E0-4A75-91B0-B0AD272BC28F}"/>
                    </a:ext>
                  </a:extLst>
                </p:cNvPr>
                <p:cNvGrpSpPr/>
                <p:nvPr userDrawn="1"/>
              </p:nvGrpSpPr>
              <p:grpSpPr>
                <a:xfrm>
                  <a:off x="-3634047" y="735854"/>
                  <a:ext cx="88801" cy="72568"/>
                  <a:chOff x="-2091059" y="1395403"/>
                  <a:chExt cx="157316" cy="128558"/>
                </a:xfrm>
              </p:grpSpPr>
              <p:sp>
                <p:nvSpPr>
                  <p:cNvPr id="397" name="Rechthoek 396">
                    <a:extLst>
                      <a:ext uri="{FF2B5EF4-FFF2-40B4-BE49-F238E27FC236}">
                        <a16:creationId xmlns:a16="http://schemas.microsoft.com/office/drawing/2014/main" id="{F6DB2883-9078-45A1-BAD3-5BD2AAEAE19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8" name="Pijl: punthaak 397">
                    <a:extLst>
                      <a:ext uri="{FF2B5EF4-FFF2-40B4-BE49-F238E27FC236}">
                        <a16:creationId xmlns:a16="http://schemas.microsoft.com/office/drawing/2014/main" id="{F489C05C-4E45-40FF-A1DB-27699543D1A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67" name="Rechte verbindingslijn 366">
                <a:extLst>
                  <a:ext uri="{FF2B5EF4-FFF2-40B4-BE49-F238E27FC236}">
                    <a16:creationId xmlns:a16="http://schemas.microsoft.com/office/drawing/2014/main" id="{AE02A648-384D-41CB-85F2-89B75AF1606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68" name="Rechte verbindingslijn 367">
                <a:extLst>
                  <a:ext uri="{FF2B5EF4-FFF2-40B4-BE49-F238E27FC236}">
                    <a16:creationId xmlns:a16="http://schemas.microsoft.com/office/drawing/2014/main" id="{2B37A1E0-1C52-40F8-BF00-85DE675AAA48}"/>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69" name="Groep 368">
                <a:extLst>
                  <a:ext uri="{FF2B5EF4-FFF2-40B4-BE49-F238E27FC236}">
                    <a16:creationId xmlns:a16="http://schemas.microsoft.com/office/drawing/2014/main" id="{938BCC0C-B982-4493-83D8-E49A3CDE9401}"/>
                  </a:ext>
                </a:extLst>
              </p:cNvPr>
              <p:cNvGrpSpPr/>
              <p:nvPr userDrawn="1"/>
            </p:nvGrpSpPr>
            <p:grpSpPr>
              <a:xfrm>
                <a:off x="-2425037" y="370226"/>
                <a:ext cx="357690" cy="330595"/>
                <a:chOff x="-2721817" y="347336"/>
                <a:chExt cx="432805" cy="400021"/>
              </a:xfrm>
            </p:grpSpPr>
            <p:sp>
              <p:nvSpPr>
                <p:cNvPr id="384" name="Rechthoek 383">
                  <a:extLst>
                    <a:ext uri="{FF2B5EF4-FFF2-40B4-BE49-F238E27FC236}">
                      <a16:creationId xmlns:a16="http://schemas.microsoft.com/office/drawing/2014/main" id="{50286AA2-D58F-4DB1-BA52-9FAED882F1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C22AD013-AAFE-4449-8267-8ADEC138D737}"/>
                    </a:ext>
                  </a:extLst>
                </p:cNvPr>
                <p:cNvGrpSpPr/>
                <p:nvPr userDrawn="1"/>
              </p:nvGrpSpPr>
              <p:grpSpPr>
                <a:xfrm>
                  <a:off x="-2652453" y="431583"/>
                  <a:ext cx="294076" cy="231526"/>
                  <a:chOff x="-3634116" y="700986"/>
                  <a:chExt cx="182598" cy="143759"/>
                </a:xfrm>
              </p:grpSpPr>
              <p:grpSp>
                <p:nvGrpSpPr>
                  <p:cNvPr id="386" name="Groep 385">
                    <a:extLst>
                      <a:ext uri="{FF2B5EF4-FFF2-40B4-BE49-F238E27FC236}">
                        <a16:creationId xmlns:a16="http://schemas.microsoft.com/office/drawing/2014/main" id="{5C70B9C8-ECBA-4990-BC43-EB6E030B9ADE}"/>
                      </a:ext>
                    </a:extLst>
                  </p:cNvPr>
                  <p:cNvGrpSpPr/>
                  <p:nvPr userDrawn="1"/>
                </p:nvGrpSpPr>
                <p:grpSpPr>
                  <a:xfrm>
                    <a:off x="-3634116" y="700986"/>
                    <a:ext cx="182598" cy="143759"/>
                    <a:chOff x="-3634116" y="700986"/>
                    <a:chExt cx="182598" cy="143759"/>
                  </a:xfrm>
                </p:grpSpPr>
                <p:cxnSp>
                  <p:nvCxnSpPr>
                    <p:cNvPr id="390" name="Rechte verbindingslijn 389">
                      <a:extLst>
                        <a:ext uri="{FF2B5EF4-FFF2-40B4-BE49-F238E27FC236}">
                          <a16:creationId xmlns:a16="http://schemas.microsoft.com/office/drawing/2014/main" id="{0B9882EB-99D8-4C51-B60C-108A5CB3C4F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72DE5483-5FF7-4BEE-A776-D7D83AF3D72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87D79D47-8FBB-4D02-A552-1B1CA91CD0D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2E11CA1A-A034-4D30-867D-BDEE9D4202FA}"/>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7AE4E7F0-AA77-44EC-A129-D85F0F920B2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EE25E1AF-32F1-4513-BE51-6345166B48DB}"/>
                      </a:ext>
                    </a:extLst>
                  </p:cNvPr>
                  <p:cNvGrpSpPr/>
                  <p:nvPr userDrawn="1"/>
                </p:nvGrpSpPr>
                <p:grpSpPr>
                  <a:xfrm>
                    <a:off x="-3634047" y="735854"/>
                    <a:ext cx="88801" cy="72568"/>
                    <a:chOff x="-2091059" y="1395403"/>
                    <a:chExt cx="157316" cy="128558"/>
                  </a:xfrm>
                </p:grpSpPr>
                <p:sp>
                  <p:nvSpPr>
                    <p:cNvPr id="388" name="Rechthoek 387">
                      <a:extLst>
                        <a:ext uri="{FF2B5EF4-FFF2-40B4-BE49-F238E27FC236}">
                          <a16:creationId xmlns:a16="http://schemas.microsoft.com/office/drawing/2014/main" id="{C172B22E-A7CA-42EE-9644-2A9A503BCED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9" name="Pijl: punthaak 388">
                      <a:extLst>
                        <a:ext uri="{FF2B5EF4-FFF2-40B4-BE49-F238E27FC236}">
                          <a16:creationId xmlns:a16="http://schemas.microsoft.com/office/drawing/2014/main" id="{DA25C5E6-379D-4D16-9CF9-1EE52DF098A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70" name="Groep 369">
                <a:extLst>
                  <a:ext uri="{FF2B5EF4-FFF2-40B4-BE49-F238E27FC236}">
                    <a16:creationId xmlns:a16="http://schemas.microsoft.com/office/drawing/2014/main" id="{99AA79A3-9437-4975-952E-F5126CC98BE1}"/>
                  </a:ext>
                </a:extLst>
              </p:cNvPr>
              <p:cNvGrpSpPr/>
              <p:nvPr userDrawn="1"/>
            </p:nvGrpSpPr>
            <p:grpSpPr>
              <a:xfrm>
                <a:off x="-2425037" y="781500"/>
                <a:ext cx="357690" cy="330595"/>
                <a:chOff x="-2721817" y="782525"/>
                <a:chExt cx="432805" cy="400021"/>
              </a:xfrm>
            </p:grpSpPr>
            <p:sp>
              <p:nvSpPr>
                <p:cNvPr id="373" name="Rechthoek 372">
                  <a:extLst>
                    <a:ext uri="{FF2B5EF4-FFF2-40B4-BE49-F238E27FC236}">
                      <a16:creationId xmlns:a16="http://schemas.microsoft.com/office/drawing/2014/main" id="{375ED682-3AB6-4F06-BFCB-4AB63E7A67E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4" name="Groep 373">
                  <a:extLst>
                    <a:ext uri="{FF2B5EF4-FFF2-40B4-BE49-F238E27FC236}">
                      <a16:creationId xmlns:a16="http://schemas.microsoft.com/office/drawing/2014/main" id="{B7B5D0CA-3824-4104-B349-2BCD4AFA3CBB}"/>
                    </a:ext>
                  </a:extLst>
                </p:cNvPr>
                <p:cNvGrpSpPr/>
                <p:nvPr userDrawn="1"/>
              </p:nvGrpSpPr>
              <p:grpSpPr>
                <a:xfrm>
                  <a:off x="-2652453" y="866772"/>
                  <a:ext cx="294076" cy="231526"/>
                  <a:chOff x="-3310843" y="700986"/>
                  <a:chExt cx="182598" cy="143759"/>
                </a:xfrm>
              </p:grpSpPr>
              <p:grpSp>
                <p:nvGrpSpPr>
                  <p:cNvPr id="375" name="Groep 374">
                    <a:extLst>
                      <a:ext uri="{FF2B5EF4-FFF2-40B4-BE49-F238E27FC236}">
                        <a16:creationId xmlns:a16="http://schemas.microsoft.com/office/drawing/2014/main" id="{E58111B9-490F-4219-8D4A-82973DD0A7F7}"/>
                      </a:ext>
                    </a:extLst>
                  </p:cNvPr>
                  <p:cNvGrpSpPr/>
                  <p:nvPr userDrawn="1"/>
                </p:nvGrpSpPr>
                <p:grpSpPr>
                  <a:xfrm>
                    <a:off x="-3310843" y="700986"/>
                    <a:ext cx="182598" cy="143759"/>
                    <a:chOff x="-3310843" y="700986"/>
                    <a:chExt cx="182598" cy="143759"/>
                  </a:xfrm>
                </p:grpSpPr>
                <p:cxnSp>
                  <p:nvCxnSpPr>
                    <p:cNvPr id="379" name="Rechte verbindingslijn 378">
                      <a:extLst>
                        <a:ext uri="{FF2B5EF4-FFF2-40B4-BE49-F238E27FC236}">
                          <a16:creationId xmlns:a16="http://schemas.microsoft.com/office/drawing/2014/main" id="{EABC8F82-3487-4AA8-B97C-843C1BB9E51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3D727D3A-7AFD-4AF0-9943-C9E3FE49BB5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81" name="Rechte verbindingslijn 380">
                      <a:extLst>
                        <a:ext uri="{FF2B5EF4-FFF2-40B4-BE49-F238E27FC236}">
                          <a16:creationId xmlns:a16="http://schemas.microsoft.com/office/drawing/2014/main" id="{2F7C8B33-C34E-4D7F-A02D-C46DDEA5DD3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4D84F2EA-2DC9-4163-838C-325FA0D561DD}"/>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D0ADC9CD-10C2-41A9-8A76-B7FAAA53839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76" name="Groep 375">
                    <a:extLst>
                      <a:ext uri="{FF2B5EF4-FFF2-40B4-BE49-F238E27FC236}">
                        <a16:creationId xmlns:a16="http://schemas.microsoft.com/office/drawing/2014/main" id="{0CB051DD-8A8F-433A-AD79-D23958A923C5}"/>
                      </a:ext>
                    </a:extLst>
                  </p:cNvPr>
                  <p:cNvGrpSpPr/>
                  <p:nvPr userDrawn="1"/>
                </p:nvGrpSpPr>
                <p:grpSpPr>
                  <a:xfrm flipH="1">
                    <a:off x="-3310774" y="735854"/>
                    <a:ext cx="88801" cy="72568"/>
                    <a:chOff x="-2091059" y="1395403"/>
                    <a:chExt cx="157316" cy="128558"/>
                  </a:xfrm>
                </p:grpSpPr>
                <p:sp>
                  <p:nvSpPr>
                    <p:cNvPr id="377" name="Rechthoek 376">
                      <a:extLst>
                        <a:ext uri="{FF2B5EF4-FFF2-40B4-BE49-F238E27FC236}">
                          <a16:creationId xmlns:a16="http://schemas.microsoft.com/office/drawing/2014/main" id="{039330E6-3B69-47BE-84F6-0F49906595D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8" name="Pijl: punthaak 377">
                      <a:extLst>
                        <a:ext uri="{FF2B5EF4-FFF2-40B4-BE49-F238E27FC236}">
                          <a16:creationId xmlns:a16="http://schemas.microsoft.com/office/drawing/2014/main" id="{826F44D2-E9D9-49A2-ACEA-158624A808C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71" name="Rechthoek 370">
                <a:extLst>
                  <a:ext uri="{FF2B5EF4-FFF2-40B4-BE49-F238E27FC236}">
                    <a16:creationId xmlns:a16="http://schemas.microsoft.com/office/drawing/2014/main" id="{B03FB0AC-FA25-4C0C-BE72-AB949516548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72" name="Rechthoek 371">
                <a:extLst>
                  <a:ext uri="{FF2B5EF4-FFF2-40B4-BE49-F238E27FC236}">
                    <a16:creationId xmlns:a16="http://schemas.microsoft.com/office/drawing/2014/main" id="{DD2CD3EC-A962-4BB2-8359-8E561DCA248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45" name="Rechte verbindingslijn 344">
              <a:extLst>
                <a:ext uri="{FF2B5EF4-FFF2-40B4-BE49-F238E27FC236}">
                  <a16:creationId xmlns:a16="http://schemas.microsoft.com/office/drawing/2014/main" id="{2DB0390E-6BD5-4FCB-A11A-5208B0D380B4}"/>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46" name="Rechthoek 345">
              <a:extLst>
                <a:ext uri="{FF2B5EF4-FFF2-40B4-BE49-F238E27FC236}">
                  <a16:creationId xmlns:a16="http://schemas.microsoft.com/office/drawing/2014/main" id="{8401E599-6629-418F-9269-7B6287B1F7D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7" name="Ovaal 346">
              <a:extLst>
                <a:ext uri="{FF2B5EF4-FFF2-40B4-BE49-F238E27FC236}">
                  <a16:creationId xmlns:a16="http://schemas.microsoft.com/office/drawing/2014/main" id="{8F49A5C1-F7AF-45DA-B859-B5C708FDA72F}"/>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8" name="Rechthoek 347">
              <a:extLst>
                <a:ext uri="{FF2B5EF4-FFF2-40B4-BE49-F238E27FC236}">
                  <a16:creationId xmlns:a16="http://schemas.microsoft.com/office/drawing/2014/main" id="{E3CAE000-752F-4A28-AF2E-46E8DDB222D0}"/>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49" name="Ovaal 348">
              <a:extLst>
                <a:ext uri="{FF2B5EF4-FFF2-40B4-BE49-F238E27FC236}">
                  <a16:creationId xmlns:a16="http://schemas.microsoft.com/office/drawing/2014/main" id="{6851E319-3ADF-4ED9-A4D2-77EDBB17E481}"/>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0" name="Rechthoek 349">
              <a:extLst>
                <a:ext uri="{FF2B5EF4-FFF2-40B4-BE49-F238E27FC236}">
                  <a16:creationId xmlns:a16="http://schemas.microsoft.com/office/drawing/2014/main" id="{0C345076-C272-4D4D-B945-BEA0925B4C04}"/>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51" name="Ovaal 350">
              <a:extLst>
                <a:ext uri="{FF2B5EF4-FFF2-40B4-BE49-F238E27FC236}">
                  <a16:creationId xmlns:a16="http://schemas.microsoft.com/office/drawing/2014/main" id="{24504875-F52E-4618-A326-DDAC6C0A5DC4}"/>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52" name="Rechthoek 351">
              <a:extLst>
                <a:ext uri="{FF2B5EF4-FFF2-40B4-BE49-F238E27FC236}">
                  <a16:creationId xmlns:a16="http://schemas.microsoft.com/office/drawing/2014/main" id="{6CFE81D4-C761-4915-9791-F8291A412683}"/>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53" name="Ovaal 352">
              <a:extLst>
                <a:ext uri="{FF2B5EF4-FFF2-40B4-BE49-F238E27FC236}">
                  <a16:creationId xmlns:a16="http://schemas.microsoft.com/office/drawing/2014/main" id="{FB6DED21-2D45-4BA7-A6C1-2D6FE74E4926}"/>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54" name="Rechthoek 353">
              <a:extLst>
                <a:ext uri="{FF2B5EF4-FFF2-40B4-BE49-F238E27FC236}">
                  <a16:creationId xmlns:a16="http://schemas.microsoft.com/office/drawing/2014/main" id="{B1BC0082-DCCA-4B07-B5E9-7303F0021207}"/>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55" name="Rechthoek 354">
              <a:extLst>
                <a:ext uri="{FF2B5EF4-FFF2-40B4-BE49-F238E27FC236}">
                  <a16:creationId xmlns:a16="http://schemas.microsoft.com/office/drawing/2014/main" id="{F8D85C51-A58C-4B2F-80EB-A5437561EE44}"/>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56" name="Rechte verbindingslijn 355">
              <a:extLst>
                <a:ext uri="{FF2B5EF4-FFF2-40B4-BE49-F238E27FC236}">
                  <a16:creationId xmlns:a16="http://schemas.microsoft.com/office/drawing/2014/main" id="{CB0D861B-B0C9-4540-A210-34CBF16CE4F5}"/>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57" name="Ovaal 356">
              <a:extLst>
                <a:ext uri="{FF2B5EF4-FFF2-40B4-BE49-F238E27FC236}">
                  <a16:creationId xmlns:a16="http://schemas.microsoft.com/office/drawing/2014/main" id="{01B3C5E0-5C0F-4F83-9280-525139D247DA}"/>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58" name="Rechthoek 357">
              <a:extLst>
                <a:ext uri="{FF2B5EF4-FFF2-40B4-BE49-F238E27FC236}">
                  <a16:creationId xmlns:a16="http://schemas.microsoft.com/office/drawing/2014/main" id="{22E73C43-B746-48D5-9B33-4960EDB78AD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59" name="Ovaal 358">
              <a:extLst>
                <a:ext uri="{FF2B5EF4-FFF2-40B4-BE49-F238E27FC236}">
                  <a16:creationId xmlns:a16="http://schemas.microsoft.com/office/drawing/2014/main" id="{2FA829D8-F2AD-4FDC-BB9D-5ABA7E6CDFBD}"/>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0" name="Rechthoek 359">
              <a:extLst>
                <a:ext uri="{FF2B5EF4-FFF2-40B4-BE49-F238E27FC236}">
                  <a16:creationId xmlns:a16="http://schemas.microsoft.com/office/drawing/2014/main" id="{3AC63470-DE9E-40FA-9CE0-85990C6A71B0}"/>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413" name="Instructie">
            <a:extLst>
              <a:ext uri="{FF2B5EF4-FFF2-40B4-BE49-F238E27FC236}">
                <a16:creationId xmlns:a16="http://schemas.microsoft.com/office/drawing/2014/main" id="{9B4D08FE-3B9F-4C54-96C9-209DD32C9829}"/>
              </a:ext>
            </a:extLst>
          </p:cNvPr>
          <p:cNvGrpSpPr/>
          <p:nvPr userDrawn="1"/>
        </p:nvGrpSpPr>
        <p:grpSpPr>
          <a:xfrm>
            <a:off x="12389714" y="5221435"/>
            <a:ext cx="3183677" cy="1636565"/>
            <a:chOff x="12389714" y="4327164"/>
            <a:chExt cx="3183677" cy="1636565"/>
          </a:xfrm>
        </p:grpSpPr>
        <p:cxnSp>
          <p:nvCxnSpPr>
            <p:cNvPr id="414" name="Rechte verbindingslijn 413">
              <a:extLst>
                <a:ext uri="{FF2B5EF4-FFF2-40B4-BE49-F238E27FC236}">
                  <a16:creationId xmlns:a16="http://schemas.microsoft.com/office/drawing/2014/main" id="{4B921F6F-0358-4DCA-91E0-E7FC99BE1911}"/>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415" name="Rechthoek 414">
              <a:extLst>
                <a:ext uri="{FF2B5EF4-FFF2-40B4-BE49-F238E27FC236}">
                  <a16:creationId xmlns:a16="http://schemas.microsoft.com/office/drawing/2014/main" id="{C366EED5-E9A5-4836-9C27-2BB486471B58}"/>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416" name="Ovaal 415">
              <a:extLst>
                <a:ext uri="{FF2B5EF4-FFF2-40B4-BE49-F238E27FC236}">
                  <a16:creationId xmlns:a16="http://schemas.microsoft.com/office/drawing/2014/main" id="{2972B8C8-846C-4BF6-835F-A3CD25E8D086}"/>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17" name="Rechte verbindingslijn 416">
              <a:extLst>
                <a:ext uri="{FF2B5EF4-FFF2-40B4-BE49-F238E27FC236}">
                  <a16:creationId xmlns:a16="http://schemas.microsoft.com/office/drawing/2014/main" id="{774CA5D0-74DF-4019-8720-B6E41473200B}"/>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418" name="Rechthoek 417">
              <a:extLst>
                <a:ext uri="{FF2B5EF4-FFF2-40B4-BE49-F238E27FC236}">
                  <a16:creationId xmlns:a16="http://schemas.microsoft.com/office/drawing/2014/main" id="{735A1CF7-89A2-476A-BC09-163E08C0262C}"/>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419" name="Groep 418">
              <a:extLst>
                <a:ext uri="{FF2B5EF4-FFF2-40B4-BE49-F238E27FC236}">
                  <a16:creationId xmlns:a16="http://schemas.microsoft.com/office/drawing/2014/main" id="{B56ECA9B-E982-4D44-AC96-7C265F850E3A}"/>
                </a:ext>
              </a:extLst>
            </p:cNvPr>
            <p:cNvGrpSpPr/>
            <p:nvPr userDrawn="1"/>
          </p:nvGrpSpPr>
          <p:grpSpPr>
            <a:xfrm>
              <a:off x="12755394" y="5222855"/>
              <a:ext cx="1714530" cy="639425"/>
              <a:chOff x="12757283" y="4365594"/>
              <a:chExt cx="1714530" cy="639425"/>
            </a:xfrm>
          </p:grpSpPr>
          <p:sp>
            <p:nvSpPr>
              <p:cNvPr id="420" name="Rechthoek 419">
                <a:extLst>
                  <a:ext uri="{FF2B5EF4-FFF2-40B4-BE49-F238E27FC236}">
                    <a16:creationId xmlns:a16="http://schemas.microsoft.com/office/drawing/2014/main" id="{CB809EF6-9787-44BE-ADD0-AAC346E18A6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421" name="Rechthoek 420">
                <a:extLst>
                  <a:ext uri="{FF2B5EF4-FFF2-40B4-BE49-F238E27FC236}">
                    <a16:creationId xmlns:a16="http://schemas.microsoft.com/office/drawing/2014/main" id="{B6393077-16EB-4782-9C77-3EE691B8044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22" name="Tekstvak 421">
                <a:extLst>
                  <a:ext uri="{FF2B5EF4-FFF2-40B4-BE49-F238E27FC236}">
                    <a16:creationId xmlns:a16="http://schemas.microsoft.com/office/drawing/2014/main" id="{9A999F29-BC59-441E-984E-221C496DF413}"/>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423" name="Tekstvak 422">
                <a:extLst>
                  <a:ext uri="{FF2B5EF4-FFF2-40B4-BE49-F238E27FC236}">
                    <a16:creationId xmlns:a16="http://schemas.microsoft.com/office/drawing/2014/main" id="{EA26D55F-4BB1-40D6-AB23-FC9F53287C3F}"/>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424" name="Picture 3">
                <a:extLst>
                  <a:ext uri="{FF2B5EF4-FFF2-40B4-BE49-F238E27FC236}">
                    <a16:creationId xmlns:a16="http://schemas.microsoft.com/office/drawing/2014/main" id="{0C2AE933-31D8-46F1-886A-47D3D14699F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25" name="Groep 424">
                <a:extLst>
                  <a:ext uri="{FF2B5EF4-FFF2-40B4-BE49-F238E27FC236}">
                    <a16:creationId xmlns:a16="http://schemas.microsoft.com/office/drawing/2014/main" id="{1EE2066A-8F45-4F01-AA61-2EBBA8A7DC41}"/>
                  </a:ext>
                </a:extLst>
              </p:cNvPr>
              <p:cNvGrpSpPr/>
              <p:nvPr userDrawn="1"/>
            </p:nvGrpSpPr>
            <p:grpSpPr>
              <a:xfrm>
                <a:off x="12831198" y="4432250"/>
                <a:ext cx="139861" cy="152244"/>
                <a:chOff x="12574450" y="6053892"/>
                <a:chExt cx="169232" cy="184215"/>
              </a:xfrm>
            </p:grpSpPr>
            <p:sp>
              <p:nvSpPr>
                <p:cNvPr id="448" name="Rechthoek 447">
                  <a:extLst>
                    <a:ext uri="{FF2B5EF4-FFF2-40B4-BE49-F238E27FC236}">
                      <a16:creationId xmlns:a16="http://schemas.microsoft.com/office/drawing/2014/main" id="{EA8BA761-85BA-436C-A059-31152614421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449" name="Rechthoek 448">
                  <a:extLst>
                    <a:ext uri="{FF2B5EF4-FFF2-40B4-BE49-F238E27FC236}">
                      <a16:creationId xmlns:a16="http://schemas.microsoft.com/office/drawing/2014/main" id="{BD4DAAD5-6760-404D-AAFF-798B35A98849}"/>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450" name="Rechthoek 449">
                  <a:extLst>
                    <a:ext uri="{FF2B5EF4-FFF2-40B4-BE49-F238E27FC236}">
                      <a16:creationId xmlns:a16="http://schemas.microsoft.com/office/drawing/2014/main" id="{E2F9CBF8-C926-4B40-A968-A9D2111544E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426" name="Groep 425">
                <a:extLst>
                  <a:ext uri="{FF2B5EF4-FFF2-40B4-BE49-F238E27FC236}">
                    <a16:creationId xmlns:a16="http://schemas.microsoft.com/office/drawing/2014/main" id="{CAC672DC-93C6-42AC-913B-1D7F7D3B043F}"/>
                  </a:ext>
                </a:extLst>
              </p:cNvPr>
              <p:cNvGrpSpPr/>
              <p:nvPr userDrawn="1"/>
            </p:nvGrpSpPr>
            <p:grpSpPr>
              <a:xfrm>
                <a:off x="12831198" y="4748585"/>
                <a:ext cx="184916" cy="120210"/>
                <a:chOff x="8815516" y="1076284"/>
                <a:chExt cx="503174" cy="327105"/>
              </a:xfrm>
            </p:grpSpPr>
            <p:sp>
              <p:nvSpPr>
                <p:cNvPr id="427" name="Rechthoek 426">
                  <a:extLst>
                    <a:ext uri="{FF2B5EF4-FFF2-40B4-BE49-F238E27FC236}">
                      <a16:creationId xmlns:a16="http://schemas.microsoft.com/office/drawing/2014/main" id="{4CEED166-EC7D-463D-A510-577AA161DF3B}"/>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428" name="Groep 427">
                  <a:extLst>
                    <a:ext uri="{FF2B5EF4-FFF2-40B4-BE49-F238E27FC236}">
                      <a16:creationId xmlns:a16="http://schemas.microsoft.com/office/drawing/2014/main" id="{38641603-4295-4417-BD35-F2DB26F24122}"/>
                    </a:ext>
                  </a:extLst>
                </p:cNvPr>
                <p:cNvGrpSpPr/>
                <p:nvPr userDrawn="1"/>
              </p:nvGrpSpPr>
              <p:grpSpPr>
                <a:xfrm>
                  <a:off x="8815517" y="1076284"/>
                  <a:ext cx="503173" cy="327105"/>
                  <a:chOff x="1351248" y="-683635"/>
                  <a:chExt cx="503173" cy="327105"/>
                </a:xfrm>
              </p:grpSpPr>
              <p:grpSp>
                <p:nvGrpSpPr>
                  <p:cNvPr id="429" name="Groep 428">
                    <a:extLst>
                      <a:ext uri="{FF2B5EF4-FFF2-40B4-BE49-F238E27FC236}">
                        <a16:creationId xmlns:a16="http://schemas.microsoft.com/office/drawing/2014/main" id="{F7A85E49-C1D0-4E0C-9F04-353441206484}"/>
                      </a:ext>
                    </a:extLst>
                  </p:cNvPr>
                  <p:cNvGrpSpPr/>
                  <p:nvPr userDrawn="1"/>
                </p:nvGrpSpPr>
                <p:grpSpPr>
                  <a:xfrm>
                    <a:off x="1351248" y="-683635"/>
                    <a:ext cx="375186" cy="293652"/>
                    <a:chOff x="1094874" y="-884923"/>
                    <a:chExt cx="884668" cy="692417"/>
                  </a:xfrm>
                </p:grpSpPr>
                <p:sp>
                  <p:nvSpPr>
                    <p:cNvPr id="434" name="Rechthoek 433">
                      <a:extLst>
                        <a:ext uri="{FF2B5EF4-FFF2-40B4-BE49-F238E27FC236}">
                          <a16:creationId xmlns:a16="http://schemas.microsoft.com/office/drawing/2014/main" id="{7130CC2E-7A9A-4602-91A5-2AB217E4D04C}"/>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435" name="Groep 434">
                      <a:extLst>
                        <a:ext uri="{FF2B5EF4-FFF2-40B4-BE49-F238E27FC236}">
                          <a16:creationId xmlns:a16="http://schemas.microsoft.com/office/drawing/2014/main" id="{985962D7-B463-4F68-8BD1-FC80BA855DEE}"/>
                        </a:ext>
                      </a:extLst>
                    </p:cNvPr>
                    <p:cNvGrpSpPr/>
                    <p:nvPr userDrawn="1"/>
                  </p:nvGrpSpPr>
                  <p:grpSpPr>
                    <a:xfrm>
                      <a:off x="1094874" y="-878306"/>
                      <a:ext cx="867364" cy="685800"/>
                      <a:chOff x="1094874" y="-878306"/>
                      <a:chExt cx="867364" cy="613611"/>
                    </a:xfrm>
                  </p:grpSpPr>
                  <p:cxnSp>
                    <p:nvCxnSpPr>
                      <p:cNvPr id="441" name="Rechte verbindingslijn 440">
                        <a:extLst>
                          <a:ext uri="{FF2B5EF4-FFF2-40B4-BE49-F238E27FC236}">
                            <a16:creationId xmlns:a16="http://schemas.microsoft.com/office/drawing/2014/main" id="{1564854A-018B-4AE9-9E12-67AC8A9ADAF7}"/>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2" name="Rechte verbindingslijn 441">
                        <a:extLst>
                          <a:ext uri="{FF2B5EF4-FFF2-40B4-BE49-F238E27FC236}">
                            <a16:creationId xmlns:a16="http://schemas.microsoft.com/office/drawing/2014/main" id="{CBF4BBCD-DF4F-4CA2-BF9B-FC24B69CF1F8}"/>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3" name="Groep 442">
                        <a:extLst>
                          <a:ext uri="{FF2B5EF4-FFF2-40B4-BE49-F238E27FC236}">
                            <a16:creationId xmlns:a16="http://schemas.microsoft.com/office/drawing/2014/main" id="{3F37742E-B114-4E60-9F40-407545347395}"/>
                          </a:ext>
                        </a:extLst>
                      </p:cNvPr>
                      <p:cNvGrpSpPr/>
                      <p:nvPr userDrawn="1"/>
                    </p:nvGrpSpPr>
                    <p:grpSpPr>
                      <a:xfrm>
                        <a:off x="1270535" y="-878306"/>
                        <a:ext cx="526983" cy="613611"/>
                        <a:chOff x="1270535" y="-745959"/>
                        <a:chExt cx="526983" cy="481264"/>
                      </a:xfrm>
                    </p:grpSpPr>
                    <p:cxnSp>
                      <p:nvCxnSpPr>
                        <p:cNvPr id="444" name="Rechte verbindingslijn 443">
                          <a:extLst>
                            <a:ext uri="{FF2B5EF4-FFF2-40B4-BE49-F238E27FC236}">
                              <a16:creationId xmlns:a16="http://schemas.microsoft.com/office/drawing/2014/main" id="{D0C0EB10-A86C-4EE2-B317-66A93552DCE6}"/>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5" name="Rechte verbindingslijn 444">
                          <a:extLst>
                            <a:ext uri="{FF2B5EF4-FFF2-40B4-BE49-F238E27FC236}">
                              <a16:creationId xmlns:a16="http://schemas.microsoft.com/office/drawing/2014/main" id="{7ABD2918-2533-47CA-8231-4850611F30DD}"/>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6" name="Rechte verbindingslijn 445">
                          <a:extLst>
                            <a:ext uri="{FF2B5EF4-FFF2-40B4-BE49-F238E27FC236}">
                              <a16:creationId xmlns:a16="http://schemas.microsoft.com/office/drawing/2014/main" id="{E19760F4-2802-44D5-87A1-7131593D069E}"/>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7" name="Rechte verbindingslijn 446">
                          <a:extLst>
                            <a:ext uri="{FF2B5EF4-FFF2-40B4-BE49-F238E27FC236}">
                              <a16:creationId xmlns:a16="http://schemas.microsoft.com/office/drawing/2014/main" id="{8F88EA5B-7A8A-47F6-A09F-D50AB33CA16F}"/>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36" name="Rechte verbindingslijn 435">
                      <a:extLst>
                        <a:ext uri="{FF2B5EF4-FFF2-40B4-BE49-F238E27FC236}">
                          <a16:creationId xmlns:a16="http://schemas.microsoft.com/office/drawing/2014/main" id="{B4254931-C035-4023-9155-3F0D34E8A87A}"/>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37" name="Groep 436">
                      <a:extLst>
                        <a:ext uri="{FF2B5EF4-FFF2-40B4-BE49-F238E27FC236}">
                          <a16:creationId xmlns:a16="http://schemas.microsoft.com/office/drawing/2014/main" id="{C2C6F39E-9DAD-49CA-AB4D-904D46EB2CA2}"/>
                        </a:ext>
                      </a:extLst>
                    </p:cNvPr>
                    <p:cNvGrpSpPr/>
                    <p:nvPr userDrawn="1"/>
                  </p:nvGrpSpPr>
                  <p:grpSpPr>
                    <a:xfrm>
                      <a:off x="1094874" y="-607596"/>
                      <a:ext cx="878306" cy="276726"/>
                      <a:chOff x="1106905" y="-607596"/>
                      <a:chExt cx="878307" cy="276726"/>
                    </a:xfrm>
                  </p:grpSpPr>
                  <p:cxnSp>
                    <p:nvCxnSpPr>
                      <p:cNvPr id="438" name="Rechte verbindingslijn 437">
                        <a:extLst>
                          <a:ext uri="{FF2B5EF4-FFF2-40B4-BE49-F238E27FC236}">
                            <a16:creationId xmlns:a16="http://schemas.microsoft.com/office/drawing/2014/main" id="{597988A4-698D-48B4-9B35-D811D0995B42}"/>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39" name="Rechte verbindingslijn 438">
                        <a:extLst>
                          <a:ext uri="{FF2B5EF4-FFF2-40B4-BE49-F238E27FC236}">
                            <a16:creationId xmlns:a16="http://schemas.microsoft.com/office/drawing/2014/main" id="{1257D7DA-D52D-42AB-AD3C-E815373ECD8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0" name="Rechte verbindingslijn 439">
                        <a:extLst>
                          <a:ext uri="{FF2B5EF4-FFF2-40B4-BE49-F238E27FC236}">
                            <a16:creationId xmlns:a16="http://schemas.microsoft.com/office/drawing/2014/main" id="{6127D13F-5741-4431-9709-86BAC0CD1DA8}"/>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30" name="Groep 429">
                    <a:extLst>
                      <a:ext uri="{FF2B5EF4-FFF2-40B4-BE49-F238E27FC236}">
                        <a16:creationId xmlns:a16="http://schemas.microsoft.com/office/drawing/2014/main" id="{876B69FB-0CDA-4086-8C45-CB19F5286262}"/>
                      </a:ext>
                    </a:extLst>
                  </p:cNvPr>
                  <p:cNvGrpSpPr/>
                  <p:nvPr userDrawn="1"/>
                </p:nvGrpSpPr>
                <p:grpSpPr>
                  <a:xfrm rot="2700000">
                    <a:off x="1605871" y="-605080"/>
                    <a:ext cx="90079" cy="407021"/>
                    <a:chOff x="3130062" y="-817193"/>
                    <a:chExt cx="131884" cy="595920"/>
                  </a:xfrm>
                  <a:solidFill>
                    <a:srgbClr val="3399FF"/>
                  </a:solidFill>
                </p:grpSpPr>
                <p:sp>
                  <p:nvSpPr>
                    <p:cNvPr id="431" name="Rechthoek 430">
                      <a:extLst>
                        <a:ext uri="{FF2B5EF4-FFF2-40B4-BE49-F238E27FC236}">
                          <a16:creationId xmlns:a16="http://schemas.microsoft.com/office/drawing/2014/main" id="{F9E8C5B3-1D8C-48F7-B42B-02B479558124}"/>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32" name="Rechthoek: afgeronde bovenhoeken 431">
                      <a:extLst>
                        <a:ext uri="{FF2B5EF4-FFF2-40B4-BE49-F238E27FC236}">
                          <a16:creationId xmlns:a16="http://schemas.microsoft.com/office/drawing/2014/main" id="{B4C2AD3F-AED4-488F-A248-1C8D646F8BE0}"/>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33" name="Gelijkbenige driehoek 432">
                      <a:extLst>
                        <a:ext uri="{FF2B5EF4-FFF2-40B4-BE49-F238E27FC236}">
                          <a16:creationId xmlns:a16="http://schemas.microsoft.com/office/drawing/2014/main" id="{E77F4152-4F2E-40E6-AD49-D1C169ABE1F6}"/>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451" name="Instructie">
            <a:extLst>
              <a:ext uri="{FF2B5EF4-FFF2-40B4-BE49-F238E27FC236}">
                <a16:creationId xmlns:a16="http://schemas.microsoft.com/office/drawing/2014/main" id="{BC046C7C-31B8-4FEE-A41E-023753FA2270}"/>
              </a:ext>
            </a:extLst>
          </p:cNvPr>
          <p:cNvGrpSpPr/>
          <p:nvPr userDrawn="1"/>
        </p:nvGrpSpPr>
        <p:grpSpPr>
          <a:xfrm>
            <a:off x="12391601" y="0"/>
            <a:ext cx="3183677" cy="2499789"/>
            <a:chOff x="12391601" y="0"/>
            <a:chExt cx="3183677" cy="2499789"/>
          </a:xfrm>
        </p:grpSpPr>
        <p:sp>
          <p:nvSpPr>
            <p:cNvPr id="452" name="Rechthoek 451">
              <a:extLst>
                <a:ext uri="{FF2B5EF4-FFF2-40B4-BE49-F238E27FC236}">
                  <a16:creationId xmlns:a16="http://schemas.microsoft.com/office/drawing/2014/main" id="{88A8DADE-A810-4550-93AF-36D79BC56B2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453" name="Ovaal 452">
              <a:extLst>
                <a:ext uri="{FF2B5EF4-FFF2-40B4-BE49-F238E27FC236}">
                  <a16:creationId xmlns:a16="http://schemas.microsoft.com/office/drawing/2014/main" id="{B27BE511-1FB7-4C24-8DE6-4914260A3427}"/>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54" name="Rechte verbindingslijn 453">
              <a:extLst>
                <a:ext uri="{FF2B5EF4-FFF2-40B4-BE49-F238E27FC236}">
                  <a16:creationId xmlns:a16="http://schemas.microsoft.com/office/drawing/2014/main" id="{3F0F176E-B8B4-4D57-89EE-A3AB7AFC41C9}"/>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55" name="Rechte verbindingslijn 454">
              <a:extLst>
                <a:ext uri="{FF2B5EF4-FFF2-40B4-BE49-F238E27FC236}">
                  <a16:creationId xmlns:a16="http://schemas.microsoft.com/office/drawing/2014/main" id="{191079B8-F2A5-4A42-ACF1-A58D43A9F95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56" name="Rechthoek 455">
              <a:extLst>
                <a:ext uri="{FF2B5EF4-FFF2-40B4-BE49-F238E27FC236}">
                  <a16:creationId xmlns:a16="http://schemas.microsoft.com/office/drawing/2014/main" id="{81EF7655-386B-4303-BB38-B453138B714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57" name="Ovaal 456">
              <a:extLst>
                <a:ext uri="{FF2B5EF4-FFF2-40B4-BE49-F238E27FC236}">
                  <a16:creationId xmlns:a16="http://schemas.microsoft.com/office/drawing/2014/main" id="{ABCBA678-FEA7-4A43-A4AF-065E86B90E3F}"/>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58" name="Rechthoek 457">
              <a:extLst>
                <a:ext uri="{FF2B5EF4-FFF2-40B4-BE49-F238E27FC236}">
                  <a16:creationId xmlns:a16="http://schemas.microsoft.com/office/drawing/2014/main" id="{D32C15D3-3993-45E3-B75E-6250AB0CFC4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59" name="Groep 458">
              <a:extLst>
                <a:ext uri="{FF2B5EF4-FFF2-40B4-BE49-F238E27FC236}">
                  <a16:creationId xmlns:a16="http://schemas.microsoft.com/office/drawing/2014/main" id="{314A65FB-B8B4-451D-BDF6-0C96844627AF}"/>
                </a:ext>
              </a:extLst>
            </p:cNvPr>
            <p:cNvGrpSpPr/>
            <p:nvPr userDrawn="1"/>
          </p:nvGrpSpPr>
          <p:grpSpPr>
            <a:xfrm>
              <a:off x="12757282" y="2184550"/>
              <a:ext cx="825500" cy="209550"/>
              <a:chOff x="13504624" y="2482850"/>
              <a:chExt cx="825500" cy="209550"/>
            </a:xfrm>
          </p:grpSpPr>
          <p:sp>
            <p:nvSpPr>
              <p:cNvPr id="465" name="Rechthoek 464">
                <a:extLst>
                  <a:ext uri="{FF2B5EF4-FFF2-40B4-BE49-F238E27FC236}">
                    <a16:creationId xmlns:a16="http://schemas.microsoft.com/office/drawing/2014/main" id="{15FEBF33-08AB-46E8-A8D0-DB42B9B9D65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466" name="Rechte verbindingslijn 465">
                <a:extLst>
                  <a:ext uri="{FF2B5EF4-FFF2-40B4-BE49-F238E27FC236}">
                    <a16:creationId xmlns:a16="http://schemas.microsoft.com/office/drawing/2014/main" id="{46989E4A-34C5-4761-8A15-C29103EA52C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67" name="Gelijkbenige driehoek 466">
                <a:extLst>
                  <a:ext uri="{FF2B5EF4-FFF2-40B4-BE49-F238E27FC236}">
                    <a16:creationId xmlns:a16="http://schemas.microsoft.com/office/drawing/2014/main" id="{29FA1127-EED4-4CBE-AB6D-7D480680ADE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460" name="Rechte verbindingslijn 459">
              <a:extLst>
                <a:ext uri="{FF2B5EF4-FFF2-40B4-BE49-F238E27FC236}">
                  <a16:creationId xmlns:a16="http://schemas.microsoft.com/office/drawing/2014/main" id="{173879B3-3666-4C72-B73F-020661EAC019}"/>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461" name="Groep 460">
              <a:extLst>
                <a:ext uri="{FF2B5EF4-FFF2-40B4-BE49-F238E27FC236}">
                  <a16:creationId xmlns:a16="http://schemas.microsoft.com/office/drawing/2014/main" id="{8A7A1436-7957-402D-ACAE-0604B5DBE950}"/>
                </a:ext>
              </a:extLst>
            </p:cNvPr>
            <p:cNvGrpSpPr/>
            <p:nvPr userDrawn="1"/>
          </p:nvGrpSpPr>
          <p:grpSpPr>
            <a:xfrm>
              <a:off x="12751697" y="1147804"/>
              <a:ext cx="289372" cy="314992"/>
              <a:chOff x="7322769" y="-310267"/>
              <a:chExt cx="289372" cy="314992"/>
            </a:xfrm>
          </p:grpSpPr>
          <p:sp>
            <p:nvSpPr>
              <p:cNvPr id="462" name="Rechthoek 461">
                <a:extLst>
                  <a:ext uri="{FF2B5EF4-FFF2-40B4-BE49-F238E27FC236}">
                    <a16:creationId xmlns:a16="http://schemas.microsoft.com/office/drawing/2014/main" id="{774F00CE-9B97-4939-BBDC-BAEDEED5ED74}"/>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63" name="Rechthoek 462">
                <a:extLst>
                  <a:ext uri="{FF2B5EF4-FFF2-40B4-BE49-F238E27FC236}">
                    <a16:creationId xmlns:a16="http://schemas.microsoft.com/office/drawing/2014/main" id="{BA671A83-F98F-4E30-B11C-E763BC6BD9DD}"/>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64" name="Rechthoek 463">
                <a:extLst>
                  <a:ext uri="{FF2B5EF4-FFF2-40B4-BE49-F238E27FC236}">
                    <a16:creationId xmlns:a16="http://schemas.microsoft.com/office/drawing/2014/main" id="{0AB2CF06-AA30-459B-A75A-39CDFC167E78}"/>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8339708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en Object - paars">
    <p:spTree>
      <p:nvGrpSpPr>
        <p:cNvPr id="1" name=""/>
        <p:cNvGrpSpPr/>
        <p:nvPr/>
      </p:nvGrpSpPr>
      <p:grpSpPr>
        <a:xfrm>
          <a:off x="0" y="0"/>
          <a:ext cx="0" cy="0"/>
          <a:chOff x="0" y="0"/>
          <a:chExt cx="0" cy="0"/>
        </a:xfrm>
      </p:grpSpPr>
      <p:sp>
        <p:nvSpPr>
          <p:cNvPr id="2" name="Title 1"/>
          <p:cNvSpPr>
            <a:spLocks noGrp="1"/>
          </p:cNvSpPr>
          <p:nvPr>
            <p:ph type="title"/>
          </p:nvPr>
        </p:nvSpPr>
        <p:spPr>
          <a:xfrm>
            <a:off x="502652" y="533569"/>
            <a:ext cx="11133221" cy="584775"/>
          </a:xfrm>
        </p:spPr>
        <p:txBody>
          <a:bodyPr>
            <a:spAutoFit/>
          </a:bodyPr>
          <a:lstStyle>
            <a:lvl1pPr>
              <a:defRPr>
                <a:solidFill>
                  <a:schemeClr val="accent5"/>
                </a:solidFill>
              </a:defRPr>
            </a:lvl1pPr>
          </a:lstStyle>
          <a:p>
            <a:r>
              <a:rPr lang="nl-NL" noProof="0"/>
              <a:t>Klik om de stijl te bewerken</a:t>
            </a:r>
          </a:p>
        </p:txBody>
      </p:sp>
      <p:sp>
        <p:nvSpPr>
          <p:cNvPr id="8" name="Tekstvak 7"/>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Titel en Object - Paars</a:t>
            </a:r>
          </a:p>
        </p:txBody>
      </p:sp>
      <p:sp>
        <p:nvSpPr>
          <p:cNvPr id="41"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77" name="Content Placeholder 2"/>
          <p:cNvSpPr>
            <a:spLocks noGrp="1"/>
          </p:cNvSpPr>
          <p:nvPr>
            <p:ph sz="half" idx="1"/>
          </p:nvPr>
        </p:nvSpPr>
        <p:spPr>
          <a:xfrm>
            <a:off x="502654" y="1708486"/>
            <a:ext cx="11133220" cy="333065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78" name="Content Placeholder 2"/>
          <p:cNvSpPr>
            <a:spLocks noGrp="1"/>
          </p:cNvSpPr>
          <p:nvPr>
            <p:ph sz="half" idx="14"/>
          </p:nvPr>
        </p:nvSpPr>
        <p:spPr>
          <a:xfrm>
            <a:off x="502654" y="5172796"/>
            <a:ext cx="11133220" cy="276999"/>
          </a:xfrm>
        </p:spPr>
        <p:txBody>
          <a:bodyPr>
            <a:sp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Klik om de modelstijlen te bewerken</a:t>
            </a:r>
          </a:p>
        </p:txBody>
      </p:sp>
      <p:grpSp>
        <p:nvGrpSpPr>
          <p:cNvPr id="100" name="Groep 99"/>
          <p:cNvGrpSpPr/>
          <p:nvPr userDrawn="1"/>
        </p:nvGrpSpPr>
        <p:grpSpPr>
          <a:xfrm>
            <a:off x="-3279573" y="5020705"/>
            <a:ext cx="3086613" cy="1841358"/>
            <a:chOff x="8427776" y="4654945"/>
            <a:chExt cx="2314960" cy="1841358"/>
          </a:xfrm>
        </p:grpSpPr>
        <p:grpSp>
          <p:nvGrpSpPr>
            <p:cNvPr id="101" name="Groep 100"/>
            <p:cNvGrpSpPr/>
            <p:nvPr userDrawn="1"/>
          </p:nvGrpSpPr>
          <p:grpSpPr>
            <a:xfrm>
              <a:off x="8432864" y="4781014"/>
              <a:ext cx="2309872" cy="1592662"/>
              <a:chOff x="-3092517" y="-83840"/>
              <a:chExt cx="3136706" cy="2509126"/>
            </a:xfrm>
          </p:grpSpPr>
          <p:sp>
            <p:nvSpPr>
              <p:cNvPr id="10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5" name="Ovaal 10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106" name="Ovaal 10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107" name="Ovaal 10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10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0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11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111" name="Ovaal 11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112" name="Ovaal 11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11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102" name="Rechte verbindingslijn 10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45"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46" name="Groep 45"/>
          <p:cNvGrpSpPr/>
          <p:nvPr userDrawn="1"/>
        </p:nvGrpSpPr>
        <p:grpSpPr>
          <a:xfrm>
            <a:off x="-3471145" y="-46322"/>
            <a:ext cx="3471145" cy="3781320"/>
            <a:chOff x="-2603359" y="-46322"/>
            <a:chExt cx="2603359" cy="3781320"/>
          </a:xfrm>
        </p:grpSpPr>
        <p:sp>
          <p:nvSpPr>
            <p:cNvPr id="47" name="Afgeronde rechthoek 46"/>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48"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49"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50"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51"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52" name="Afgeronde rechthoek 51"/>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53" name="Rechthoek 52"/>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54" name="Rechte verbindingslijn 53"/>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56"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57"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58"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59"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60"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61" name="Afgeronde rechthoek 60"/>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62"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63"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64"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65"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66"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39747447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KST / GRAFIEK 4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3934476"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8A8F5FD9-59EB-4403-AF16-DFDD0A0EB519}"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GRAFIEK 4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8783618" y="1459111"/>
            <a:ext cx="2868127"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5015238"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8783618" y="3698999"/>
            <a:ext cx="2868128"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6" name="Tijdelijke aanduiding voor grafiek 17">
            <a:extLst>
              <a:ext uri="{FF2B5EF4-FFF2-40B4-BE49-F238E27FC236}">
                <a16:creationId xmlns:a16="http://schemas.microsoft.com/office/drawing/2014/main" id="{6424E38A-BE64-4611-8EA6-56DEDA6F1288}"/>
              </a:ext>
            </a:extLst>
          </p:cNvPr>
          <p:cNvSpPr>
            <a:spLocks noGrp="1"/>
          </p:cNvSpPr>
          <p:nvPr>
            <p:ph type="chart" sz="quarter" idx="18" hasCustomPrompt="1"/>
          </p:nvPr>
        </p:nvSpPr>
        <p:spPr>
          <a:xfrm>
            <a:off x="5555364" y="1459111"/>
            <a:ext cx="2868127"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7" name="Tijdelijke aanduiding voor grafiek 17">
            <a:extLst>
              <a:ext uri="{FF2B5EF4-FFF2-40B4-BE49-F238E27FC236}">
                <a16:creationId xmlns:a16="http://schemas.microsoft.com/office/drawing/2014/main" id="{B1695F49-FFC5-4D3F-8068-C37855441895}"/>
              </a:ext>
            </a:extLst>
          </p:cNvPr>
          <p:cNvSpPr>
            <a:spLocks noGrp="1"/>
          </p:cNvSpPr>
          <p:nvPr>
            <p:ph type="chart" sz="quarter" idx="19" hasCustomPrompt="1"/>
          </p:nvPr>
        </p:nvSpPr>
        <p:spPr>
          <a:xfrm>
            <a:off x="5555364" y="3698999"/>
            <a:ext cx="2868128"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336" name="Instructie">
            <a:extLst>
              <a:ext uri="{FF2B5EF4-FFF2-40B4-BE49-F238E27FC236}">
                <a16:creationId xmlns:a16="http://schemas.microsoft.com/office/drawing/2014/main" id="{16A96383-DC68-4172-9156-75D946CEAE01}"/>
              </a:ext>
            </a:extLst>
          </p:cNvPr>
          <p:cNvGrpSpPr/>
          <p:nvPr userDrawn="1"/>
        </p:nvGrpSpPr>
        <p:grpSpPr>
          <a:xfrm>
            <a:off x="-3437547" y="1434"/>
            <a:ext cx="3201327" cy="6041867"/>
            <a:chOff x="-3437547" y="1434"/>
            <a:chExt cx="3201327" cy="6041867"/>
          </a:xfrm>
        </p:grpSpPr>
        <p:cxnSp>
          <p:nvCxnSpPr>
            <p:cNvPr id="337" name="Rechte verbindingslijn 336">
              <a:extLst>
                <a:ext uri="{FF2B5EF4-FFF2-40B4-BE49-F238E27FC236}">
                  <a16:creationId xmlns:a16="http://schemas.microsoft.com/office/drawing/2014/main" id="{D914C368-F0B0-49EA-81E0-5AA28D2CE78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38" name="Ovaal 337">
              <a:extLst>
                <a:ext uri="{FF2B5EF4-FFF2-40B4-BE49-F238E27FC236}">
                  <a16:creationId xmlns:a16="http://schemas.microsoft.com/office/drawing/2014/main" id="{294A51A8-FCB9-4D58-AFD9-4C60B20A4712}"/>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39" name="Rechthoek 338">
              <a:extLst>
                <a:ext uri="{FF2B5EF4-FFF2-40B4-BE49-F238E27FC236}">
                  <a16:creationId xmlns:a16="http://schemas.microsoft.com/office/drawing/2014/main" id="{61DCC149-1401-40E4-B933-907473D83C54}"/>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0" name="Ovaal 339">
              <a:extLst>
                <a:ext uri="{FF2B5EF4-FFF2-40B4-BE49-F238E27FC236}">
                  <a16:creationId xmlns:a16="http://schemas.microsoft.com/office/drawing/2014/main" id="{A1670098-663D-48C6-AE64-003CAFD78911}"/>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41" name="Rechthoek 340">
              <a:extLst>
                <a:ext uri="{FF2B5EF4-FFF2-40B4-BE49-F238E27FC236}">
                  <a16:creationId xmlns:a16="http://schemas.microsoft.com/office/drawing/2014/main" id="{BF6ADE96-9F31-43E4-9AD2-F373286DFAC7}"/>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2" name="Ovaal 341">
              <a:extLst>
                <a:ext uri="{FF2B5EF4-FFF2-40B4-BE49-F238E27FC236}">
                  <a16:creationId xmlns:a16="http://schemas.microsoft.com/office/drawing/2014/main" id="{25D66413-085D-4437-94C7-4BE0A49A1700}"/>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43" name="Rechthoek 342">
              <a:extLst>
                <a:ext uri="{FF2B5EF4-FFF2-40B4-BE49-F238E27FC236}">
                  <a16:creationId xmlns:a16="http://schemas.microsoft.com/office/drawing/2014/main" id="{65ECA6F3-2D3E-41B6-8DF0-729F1C6458C2}"/>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44" name="Ovaal 343">
              <a:extLst>
                <a:ext uri="{FF2B5EF4-FFF2-40B4-BE49-F238E27FC236}">
                  <a16:creationId xmlns:a16="http://schemas.microsoft.com/office/drawing/2014/main" id="{216592D6-E297-4E18-A84E-C7ED2FCB7EA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45" name="Rechthoek 344">
              <a:extLst>
                <a:ext uri="{FF2B5EF4-FFF2-40B4-BE49-F238E27FC236}">
                  <a16:creationId xmlns:a16="http://schemas.microsoft.com/office/drawing/2014/main" id="{D4B41125-8E97-48C4-80E3-C23173CF5151}"/>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46" name="Rechthoek 345">
              <a:extLst>
                <a:ext uri="{FF2B5EF4-FFF2-40B4-BE49-F238E27FC236}">
                  <a16:creationId xmlns:a16="http://schemas.microsoft.com/office/drawing/2014/main" id="{6BD4A618-3B69-49E5-935B-C7349FB3D80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47" name="Ovaal 346">
              <a:extLst>
                <a:ext uri="{FF2B5EF4-FFF2-40B4-BE49-F238E27FC236}">
                  <a16:creationId xmlns:a16="http://schemas.microsoft.com/office/drawing/2014/main" id="{5582D676-081C-4126-B7BA-EE2245E3F696}"/>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48" name="Rechte verbindingslijn 347">
              <a:extLst>
                <a:ext uri="{FF2B5EF4-FFF2-40B4-BE49-F238E27FC236}">
                  <a16:creationId xmlns:a16="http://schemas.microsoft.com/office/drawing/2014/main" id="{FC0F5ABF-7F2C-434B-B409-E0114E3F604F}"/>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49" name="Groep 348">
              <a:extLst>
                <a:ext uri="{FF2B5EF4-FFF2-40B4-BE49-F238E27FC236}">
                  <a16:creationId xmlns:a16="http://schemas.microsoft.com/office/drawing/2014/main" id="{E9BCC753-7402-406F-B3DE-D10BFD5CD9CF}"/>
                </a:ext>
              </a:extLst>
            </p:cNvPr>
            <p:cNvGrpSpPr/>
            <p:nvPr userDrawn="1"/>
          </p:nvGrpSpPr>
          <p:grpSpPr>
            <a:xfrm>
              <a:off x="-3437547" y="1295337"/>
              <a:ext cx="2933825" cy="558875"/>
              <a:chOff x="-3419346" y="368233"/>
              <a:chExt cx="3904920" cy="743862"/>
            </a:xfrm>
          </p:grpSpPr>
          <p:sp>
            <p:nvSpPr>
              <p:cNvPr id="366" name="Rechthoek 365">
                <a:extLst>
                  <a:ext uri="{FF2B5EF4-FFF2-40B4-BE49-F238E27FC236}">
                    <a16:creationId xmlns:a16="http://schemas.microsoft.com/office/drawing/2014/main" id="{0E7539B0-375A-44FA-B2A1-4821444D41F5}"/>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67" name="Rechte verbindingslijn 366">
                <a:extLst>
                  <a:ext uri="{FF2B5EF4-FFF2-40B4-BE49-F238E27FC236}">
                    <a16:creationId xmlns:a16="http://schemas.microsoft.com/office/drawing/2014/main" id="{DA071609-D1C9-4EA6-8F8D-6768826CABE1}"/>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8" name="Rechte verbindingslijn 367">
                <a:extLst>
                  <a:ext uri="{FF2B5EF4-FFF2-40B4-BE49-F238E27FC236}">
                    <a16:creationId xmlns:a16="http://schemas.microsoft.com/office/drawing/2014/main" id="{573BD12E-8C37-4E5C-AAF3-86C31347180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9" name="Rechthoek 368">
                <a:extLst>
                  <a:ext uri="{FF2B5EF4-FFF2-40B4-BE49-F238E27FC236}">
                    <a16:creationId xmlns:a16="http://schemas.microsoft.com/office/drawing/2014/main" id="{D6F2DEF3-3969-4318-9D83-A66B76E30D07}"/>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70" name="Groep 369">
                <a:extLst>
                  <a:ext uri="{FF2B5EF4-FFF2-40B4-BE49-F238E27FC236}">
                    <a16:creationId xmlns:a16="http://schemas.microsoft.com/office/drawing/2014/main" id="{34A7A97E-60AB-4446-8EF2-9BB9D66CF672}"/>
                  </a:ext>
                </a:extLst>
              </p:cNvPr>
              <p:cNvGrpSpPr/>
              <p:nvPr userDrawn="1"/>
            </p:nvGrpSpPr>
            <p:grpSpPr>
              <a:xfrm>
                <a:off x="-3002834" y="720303"/>
                <a:ext cx="182598" cy="143759"/>
                <a:chOff x="-3310843" y="700986"/>
                <a:chExt cx="182598" cy="143759"/>
              </a:xfrm>
            </p:grpSpPr>
            <p:grpSp>
              <p:nvGrpSpPr>
                <p:cNvPr id="409" name="Groep 408">
                  <a:extLst>
                    <a:ext uri="{FF2B5EF4-FFF2-40B4-BE49-F238E27FC236}">
                      <a16:creationId xmlns:a16="http://schemas.microsoft.com/office/drawing/2014/main" id="{B7A53B7D-9488-4BAA-9456-41377E8BAFC2}"/>
                    </a:ext>
                  </a:extLst>
                </p:cNvPr>
                <p:cNvGrpSpPr/>
                <p:nvPr userDrawn="1"/>
              </p:nvGrpSpPr>
              <p:grpSpPr>
                <a:xfrm>
                  <a:off x="-3310843" y="700986"/>
                  <a:ext cx="182598" cy="143759"/>
                  <a:chOff x="-3310843" y="700986"/>
                  <a:chExt cx="182598" cy="143759"/>
                </a:xfrm>
              </p:grpSpPr>
              <p:cxnSp>
                <p:nvCxnSpPr>
                  <p:cNvPr id="413" name="Rechte verbindingslijn 412">
                    <a:extLst>
                      <a:ext uri="{FF2B5EF4-FFF2-40B4-BE49-F238E27FC236}">
                        <a16:creationId xmlns:a16="http://schemas.microsoft.com/office/drawing/2014/main" id="{B68F2C77-09A6-4AF5-8EE3-4F28AF2288D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79854795-8185-440B-BED5-3380455F8C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15" name="Rechte verbindingslijn 414">
                    <a:extLst>
                      <a:ext uri="{FF2B5EF4-FFF2-40B4-BE49-F238E27FC236}">
                        <a16:creationId xmlns:a16="http://schemas.microsoft.com/office/drawing/2014/main" id="{E16B3AD6-B7E1-4B5A-81E9-56AD4FF7B630}"/>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16" name="Rechte verbindingslijn 415">
                    <a:extLst>
                      <a:ext uri="{FF2B5EF4-FFF2-40B4-BE49-F238E27FC236}">
                        <a16:creationId xmlns:a16="http://schemas.microsoft.com/office/drawing/2014/main" id="{80068488-20BF-4588-BEC6-12EABA70AA9A}"/>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17" name="Rechte verbindingslijn 416">
                    <a:extLst>
                      <a:ext uri="{FF2B5EF4-FFF2-40B4-BE49-F238E27FC236}">
                        <a16:creationId xmlns:a16="http://schemas.microsoft.com/office/drawing/2014/main" id="{A8833265-ADD9-4123-9712-6B5EB8CAC490}"/>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0" name="Groep 409">
                  <a:extLst>
                    <a:ext uri="{FF2B5EF4-FFF2-40B4-BE49-F238E27FC236}">
                      <a16:creationId xmlns:a16="http://schemas.microsoft.com/office/drawing/2014/main" id="{D51E6BEB-00B5-4905-A761-18BAE36B6D5B}"/>
                    </a:ext>
                  </a:extLst>
                </p:cNvPr>
                <p:cNvGrpSpPr/>
                <p:nvPr userDrawn="1"/>
              </p:nvGrpSpPr>
              <p:grpSpPr>
                <a:xfrm flipH="1">
                  <a:off x="-3310774" y="735854"/>
                  <a:ext cx="88801" cy="72568"/>
                  <a:chOff x="-2091059" y="1395403"/>
                  <a:chExt cx="157316" cy="128558"/>
                </a:xfrm>
              </p:grpSpPr>
              <p:sp>
                <p:nvSpPr>
                  <p:cNvPr id="411" name="Rechthoek 410">
                    <a:extLst>
                      <a:ext uri="{FF2B5EF4-FFF2-40B4-BE49-F238E27FC236}">
                        <a16:creationId xmlns:a16="http://schemas.microsoft.com/office/drawing/2014/main" id="{58E164DE-6302-4AA5-BE32-B3C742F4E98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12" name="Pijl: punthaak 411">
                    <a:extLst>
                      <a:ext uri="{FF2B5EF4-FFF2-40B4-BE49-F238E27FC236}">
                        <a16:creationId xmlns:a16="http://schemas.microsoft.com/office/drawing/2014/main" id="{D20187E4-19F8-405A-8BCA-F5EF6B185A6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71" name="Groep 370">
                <a:extLst>
                  <a:ext uri="{FF2B5EF4-FFF2-40B4-BE49-F238E27FC236}">
                    <a16:creationId xmlns:a16="http://schemas.microsoft.com/office/drawing/2014/main" id="{B768B237-2F57-4956-BCC0-F0479EE0FF81}"/>
                  </a:ext>
                </a:extLst>
              </p:cNvPr>
              <p:cNvGrpSpPr/>
              <p:nvPr userDrawn="1"/>
            </p:nvGrpSpPr>
            <p:grpSpPr>
              <a:xfrm>
                <a:off x="-3326107" y="720303"/>
                <a:ext cx="182598" cy="143759"/>
                <a:chOff x="-3634116" y="700986"/>
                <a:chExt cx="182598" cy="143759"/>
              </a:xfrm>
            </p:grpSpPr>
            <p:grpSp>
              <p:nvGrpSpPr>
                <p:cNvPr id="400" name="Groep 399">
                  <a:extLst>
                    <a:ext uri="{FF2B5EF4-FFF2-40B4-BE49-F238E27FC236}">
                      <a16:creationId xmlns:a16="http://schemas.microsoft.com/office/drawing/2014/main" id="{1FFC6CCB-F049-4D83-9B18-5D03ADD486EA}"/>
                    </a:ext>
                  </a:extLst>
                </p:cNvPr>
                <p:cNvGrpSpPr/>
                <p:nvPr userDrawn="1"/>
              </p:nvGrpSpPr>
              <p:grpSpPr>
                <a:xfrm>
                  <a:off x="-3634116" y="700986"/>
                  <a:ext cx="182598" cy="143759"/>
                  <a:chOff x="-3634116" y="700986"/>
                  <a:chExt cx="182598" cy="143759"/>
                </a:xfrm>
              </p:grpSpPr>
              <p:cxnSp>
                <p:nvCxnSpPr>
                  <p:cNvPr id="404" name="Rechte verbindingslijn 403">
                    <a:extLst>
                      <a:ext uri="{FF2B5EF4-FFF2-40B4-BE49-F238E27FC236}">
                        <a16:creationId xmlns:a16="http://schemas.microsoft.com/office/drawing/2014/main" id="{7C56F563-1C9F-46BF-ACB0-0F066879D23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C2C94E0B-98F3-40B1-93EF-F71D4E467B7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06" name="Rechte verbindingslijn 405">
                    <a:extLst>
                      <a:ext uri="{FF2B5EF4-FFF2-40B4-BE49-F238E27FC236}">
                        <a16:creationId xmlns:a16="http://schemas.microsoft.com/office/drawing/2014/main" id="{F5C8262B-5764-49B0-BDCF-7F0E7B4C8FA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07" name="Rechte verbindingslijn 406">
                    <a:extLst>
                      <a:ext uri="{FF2B5EF4-FFF2-40B4-BE49-F238E27FC236}">
                        <a16:creationId xmlns:a16="http://schemas.microsoft.com/office/drawing/2014/main" id="{E2FC3CE4-E29E-4879-BF27-8503729D180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08" name="Rechte verbindingslijn 407">
                    <a:extLst>
                      <a:ext uri="{FF2B5EF4-FFF2-40B4-BE49-F238E27FC236}">
                        <a16:creationId xmlns:a16="http://schemas.microsoft.com/office/drawing/2014/main" id="{89EA9446-8832-4267-B56B-62603D2FD1B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1" name="Groep 400">
                  <a:extLst>
                    <a:ext uri="{FF2B5EF4-FFF2-40B4-BE49-F238E27FC236}">
                      <a16:creationId xmlns:a16="http://schemas.microsoft.com/office/drawing/2014/main" id="{0F64CAB7-DEA1-48BF-85D8-563D8F601F16}"/>
                    </a:ext>
                  </a:extLst>
                </p:cNvPr>
                <p:cNvGrpSpPr/>
                <p:nvPr userDrawn="1"/>
              </p:nvGrpSpPr>
              <p:grpSpPr>
                <a:xfrm>
                  <a:off x="-3634047" y="735854"/>
                  <a:ext cx="88801" cy="72568"/>
                  <a:chOff x="-2091059" y="1395403"/>
                  <a:chExt cx="157316" cy="128558"/>
                </a:xfrm>
              </p:grpSpPr>
              <p:sp>
                <p:nvSpPr>
                  <p:cNvPr id="402" name="Rechthoek 401">
                    <a:extLst>
                      <a:ext uri="{FF2B5EF4-FFF2-40B4-BE49-F238E27FC236}">
                        <a16:creationId xmlns:a16="http://schemas.microsoft.com/office/drawing/2014/main" id="{10D89501-6520-42D1-8F88-1706762C7A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03" name="Pijl: punthaak 402">
                    <a:extLst>
                      <a:ext uri="{FF2B5EF4-FFF2-40B4-BE49-F238E27FC236}">
                        <a16:creationId xmlns:a16="http://schemas.microsoft.com/office/drawing/2014/main" id="{900F6582-3643-4F45-9C8A-AA2328BE471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72" name="Rechte verbindingslijn 371">
                <a:extLst>
                  <a:ext uri="{FF2B5EF4-FFF2-40B4-BE49-F238E27FC236}">
                    <a16:creationId xmlns:a16="http://schemas.microsoft.com/office/drawing/2014/main" id="{0F7DF97A-D52C-4A51-B424-3D4A6CD0A53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73" name="Rechte verbindingslijn 372">
                <a:extLst>
                  <a:ext uri="{FF2B5EF4-FFF2-40B4-BE49-F238E27FC236}">
                    <a16:creationId xmlns:a16="http://schemas.microsoft.com/office/drawing/2014/main" id="{51555DE2-4F46-47C1-AA6C-D4E09AF40751}"/>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74" name="Groep 373">
                <a:extLst>
                  <a:ext uri="{FF2B5EF4-FFF2-40B4-BE49-F238E27FC236}">
                    <a16:creationId xmlns:a16="http://schemas.microsoft.com/office/drawing/2014/main" id="{A58094CB-7A76-4D73-AC4E-F788A15B3842}"/>
                  </a:ext>
                </a:extLst>
              </p:cNvPr>
              <p:cNvGrpSpPr/>
              <p:nvPr userDrawn="1"/>
            </p:nvGrpSpPr>
            <p:grpSpPr>
              <a:xfrm>
                <a:off x="-2425037" y="370226"/>
                <a:ext cx="357690" cy="330595"/>
                <a:chOff x="-2721817" y="347336"/>
                <a:chExt cx="432805" cy="400021"/>
              </a:xfrm>
            </p:grpSpPr>
            <p:sp>
              <p:nvSpPr>
                <p:cNvPr id="389" name="Rechthoek 388">
                  <a:extLst>
                    <a:ext uri="{FF2B5EF4-FFF2-40B4-BE49-F238E27FC236}">
                      <a16:creationId xmlns:a16="http://schemas.microsoft.com/office/drawing/2014/main" id="{E247AC15-AAF9-480C-82A4-3A0F23351F74}"/>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90" name="Groep 389">
                  <a:extLst>
                    <a:ext uri="{FF2B5EF4-FFF2-40B4-BE49-F238E27FC236}">
                      <a16:creationId xmlns:a16="http://schemas.microsoft.com/office/drawing/2014/main" id="{228EA585-F247-45FC-95A5-92E6A7FA561C}"/>
                    </a:ext>
                  </a:extLst>
                </p:cNvPr>
                <p:cNvGrpSpPr/>
                <p:nvPr userDrawn="1"/>
              </p:nvGrpSpPr>
              <p:grpSpPr>
                <a:xfrm>
                  <a:off x="-2652453" y="431583"/>
                  <a:ext cx="294076" cy="231526"/>
                  <a:chOff x="-3634116" y="700986"/>
                  <a:chExt cx="182598" cy="143759"/>
                </a:xfrm>
              </p:grpSpPr>
              <p:grpSp>
                <p:nvGrpSpPr>
                  <p:cNvPr id="391" name="Groep 390">
                    <a:extLst>
                      <a:ext uri="{FF2B5EF4-FFF2-40B4-BE49-F238E27FC236}">
                        <a16:creationId xmlns:a16="http://schemas.microsoft.com/office/drawing/2014/main" id="{4E705065-FAB4-4AB7-8BFA-77B69E988CE4}"/>
                      </a:ext>
                    </a:extLst>
                  </p:cNvPr>
                  <p:cNvGrpSpPr/>
                  <p:nvPr userDrawn="1"/>
                </p:nvGrpSpPr>
                <p:grpSpPr>
                  <a:xfrm>
                    <a:off x="-3634116" y="700986"/>
                    <a:ext cx="182598" cy="143759"/>
                    <a:chOff x="-3634116" y="700986"/>
                    <a:chExt cx="182598" cy="143759"/>
                  </a:xfrm>
                </p:grpSpPr>
                <p:cxnSp>
                  <p:nvCxnSpPr>
                    <p:cNvPr id="395" name="Rechte verbindingslijn 394">
                      <a:extLst>
                        <a:ext uri="{FF2B5EF4-FFF2-40B4-BE49-F238E27FC236}">
                          <a16:creationId xmlns:a16="http://schemas.microsoft.com/office/drawing/2014/main" id="{428098CF-F1FB-4BDF-9455-FCA151B43DC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96" name="Rechte verbindingslijn 395">
                      <a:extLst>
                        <a:ext uri="{FF2B5EF4-FFF2-40B4-BE49-F238E27FC236}">
                          <a16:creationId xmlns:a16="http://schemas.microsoft.com/office/drawing/2014/main" id="{998A8B9E-2DCB-4D76-BB71-F3468B63B73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97" name="Rechte verbindingslijn 396">
                      <a:extLst>
                        <a:ext uri="{FF2B5EF4-FFF2-40B4-BE49-F238E27FC236}">
                          <a16:creationId xmlns:a16="http://schemas.microsoft.com/office/drawing/2014/main" id="{BCEA6EAB-FAFC-45E7-9102-E62B95EC440E}"/>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98" name="Rechte verbindingslijn 397">
                      <a:extLst>
                        <a:ext uri="{FF2B5EF4-FFF2-40B4-BE49-F238E27FC236}">
                          <a16:creationId xmlns:a16="http://schemas.microsoft.com/office/drawing/2014/main" id="{22B1DC6D-F887-4A73-AFAE-B434A3C8F0C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99" name="Rechte verbindingslijn 398">
                      <a:extLst>
                        <a:ext uri="{FF2B5EF4-FFF2-40B4-BE49-F238E27FC236}">
                          <a16:creationId xmlns:a16="http://schemas.microsoft.com/office/drawing/2014/main" id="{5B7CFCCA-649C-4DEC-B648-3EFC12E40D0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2" name="Groep 391">
                    <a:extLst>
                      <a:ext uri="{FF2B5EF4-FFF2-40B4-BE49-F238E27FC236}">
                        <a16:creationId xmlns:a16="http://schemas.microsoft.com/office/drawing/2014/main" id="{2BD86F3A-3B2C-47A4-BBD6-C315D7217A8A}"/>
                      </a:ext>
                    </a:extLst>
                  </p:cNvPr>
                  <p:cNvGrpSpPr/>
                  <p:nvPr userDrawn="1"/>
                </p:nvGrpSpPr>
                <p:grpSpPr>
                  <a:xfrm>
                    <a:off x="-3634047" y="735854"/>
                    <a:ext cx="88801" cy="72568"/>
                    <a:chOff x="-2091059" y="1395403"/>
                    <a:chExt cx="157316" cy="128558"/>
                  </a:xfrm>
                </p:grpSpPr>
                <p:sp>
                  <p:nvSpPr>
                    <p:cNvPr id="393" name="Rechthoek 392">
                      <a:extLst>
                        <a:ext uri="{FF2B5EF4-FFF2-40B4-BE49-F238E27FC236}">
                          <a16:creationId xmlns:a16="http://schemas.microsoft.com/office/drawing/2014/main" id="{C85640E6-1A89-41BE-89D1-34CDD6568D9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4" name="Pijl: punthaak 393">
                      <a:extLst>
                        <a:ext uri="{FF2B5EF4-FFF2-40B4-BE49-F238E27FC236}">
                          <a16:creationId xmlns:a16="http://schemas.microsoft.com/office/drawing/2014/main" id="{E5853564-B4F6-47C5-B1A9-7FBC9D0D143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75" name="Groep 374">
                <a:extLst>
                  <a:ext uri="{FF2B5EF4-FFF2-40B4-BE49-F238E27FC236}">
                    <a16:creationId xmlns:a16="http://schemas.microsoft.com/office/drawing/2014/main" id="{4CC3B4B2-AFF3-4E6B-B491-D66CDE22BCCE}"/>
                  </a:ext>
                </a:extLst>
              </p:cNvPr>
              <p:cNvGrpSpPr/>
              <p:nvPr userDrawn="1"/>
            </p:nvGrpSpPr>
            <p:grpSpPr>
              <a:xfrm>
                <a:off x="-2425037" y="781500"/>
                <a:ext cx="357690" cy="330595"/>
                <a:chOff x="-2721817" y="782525"/>
                <a:chExt cx="432805" cy="400021"/>
              </a:xfrm>
            </p:grpSpPr>
            <p:sp>
              <p:nvSpPr>
                <p:cNvPr id="378" name="Rechthoek 377">
                  <a:extLst>
                    <a:ext uri="{FF2B5EF4-FFF2-40B4-BE49-F238E27FC236}">
                      <a16:creationId xmlns:a16="http://schemas.microsoft.com/office/drawing/2014/main" id="{E6009A5E-4EF8-492E-99A0-6D374798883D}"/>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9" name="Groep 378">
                  <a:extLst>
                    <a:ext uri="{FF2B5EF4-FFF2-40B4-BE49-F238E27FC236}">
                      <a16:creationId xmlns:a16="http://schemas.microsoft.com/office/drawing/2014/main" id="{94B1FEA9-84B9-47A5-BC46-7695EA4CA597}"/>
                    </a:ext>
                  </a:extLst>
                </p:cNvPr>
                <p:cNvGrpSpPr/>
                <p:nvPr userDrawn="1"/>
              </p:nvGrpSpPr>
              <p:grpSpPr>
                <a:xfrm>
                  <a:off x="-2652453" y="866772"/>
                  <a:ext cx="294076" cy="231526"/>
                  <a:chOff x="-3310843" y="700986"/>
                  <a:chExt cx="182598" cy="143759"/>
                </a:xfrm>
              </p:grpSpPr>
              <p:grpSp>
                <p:nvGrpSpPr>
                  <p:cNvPr id="380" name="Groep 379">
                    <a:extLst>
                      <a:ext uri="{FF2B5EF4-FFF2-40B4-BE49-F238E27FC236}">
                        <a16:creationId xmlns:a16="http://schemas.microsoft.com/office/drawing/2014/main" id="{1700946E-1ADE-47A1-BF3C-FECC159B97D9}"/>
                      </a:ext>
                    </a:extLst>
                  </p:cNvPr>
                  <p:cNvGrpSpPr/>
                  <p:nvPr userDrawn="1"/>
                </p:nvGrpSpPr>
                <p:grpSpPr>
                  <a:xfrm>
                    <a:off x="-3310843" y="700986"/>
                    <a:ext cx="182598" cy="143759"/>
                    <a:chOff x="-3310843" y="700986"/>
                    <a:chExt cx="182598" cy="143759"/>
                  </a:xfrm>
                </p:grpSpPr>
                <p:cxnSp>
                  <p:nvCxnSpPr>
                    <p:cNvPr id="384" name="Rechte verbindingslijn 383">
                      <a:extLst>
                        <a:ext uri="{FF2B5EF4-FFF2-40B4-BE49-F238E27FC236}">
                          <a16:creationId xmlns:a16="http://schemas.microsoft.com/office/drawing/2014/main" id="{5A926A82-776A-4792-B4E4-47E61FEFA0F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91CFD1B5-FD3A-49B7-A6FC-BB60512A59B4}"/>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86" name="Rechte verbindingslijn 385">
                      <a:extLst>
                        <a:ext uri="{FF2B5EF4-FFF2-40B4-BE49-F238E27FC236}">
                          <a16:creationId xmlns:a16="http://schemas.microsoft.com/office/drawing/2014/main" id="{40B90EED-E3BF-43CE-A4EE-F0807E7A88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87" name="Rechte verbindingslijn 386">
                      <a:extLst>
                        <a:ext uri="{FF2B5EF4-FFF2-40B4-BE49-F238E27FC236}">
                          <a16:creationId xmlns:a16="http://schemas.microsoft.com/office/drawing/2014/main" id="{FB63F635-4B3D-4B18-95DB-4B04F7660D71}"/>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88" name="Rechte verbindingslijn 387">
                      <a:extLst>
                        <a:ext uri="{FF2B5EF4-FFF2-40B4-BE49-F238E27FC236}">
                          <a16:creationId xmlns:a16="http://schemas.microsoft.com/office/drawing/2014/main" id="{894CCA3C-F622-449E-8F0F-FE43F172A925}"/>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1" name="Groep 380">
                    <a:extLst>
                      <a:ext uri="{FF2B5EF4-FFF2-40B4-BE49-F238E27FC236}">
                        <a16:creationId xmlns:a16="http://schemas.microsoft.com/office/drawing/2014/main" id="{F3F9344C-08F6-4264-B5F4-98D6A6618188}"/>
                      </a:ext>
                    </a:extLst>
                  </p:cNvPr>
                  <p:cNvGrpSpPr/>
                  <p:nvPr userDrawn="1"/>
                </p:nvGrpSpPr>
                <p:grpSpPr>
                  <a:xfrm flipH="1">
                    <a:off x="-3310774" y="735854"/>
                    <a:ext cx="88801" cy="72568"/>
                    <a:chOff x="-2091059" y="1395403"/>
                    <a:chExt cx="157316" cy="128558"/>
                  </a:xfrm>
                </p:grpSpPr>
                <p:sp>
                  <p:nvSpPr>
                    <p:cNvPr id="382" name="Rechthoek 381">
                      <a:extLst>
                        <a:ext uri="{FF2B5EF4-FFF2-40B4-BE49-F238E27FC236}">
                          <a16:creationId xmlns:a16="http://schemas.microsoft.com/office/drawing/2014/main" id="{3A9ABC65-99E3-4FB2-B60F-31491F1F848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3" name="Pijl: punthaak 382">
                      <a:extLst>
                        <a:ext uri="{FF2B5EF4-FFF2-40B4-BE49-F238E27FC236}">
                          <a16:creationId xmlns:a16="http://schemas.microsoft.com/office/drawing/2014/main" id="{23763DD8-0474-41CD-8840-26BDC7BEC28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76" name="Rechthoek 375">
                <a:extLst>
                  <a:ext uri="{FF2B5EF4-FFF2-40B4-BE49-F238E27FC236}">
                    <a16:creationId xmlns:a16="http://schemas.microsoft.com/office/drawing/2014/main" id="{ED4D8E48-222D-48AC-A857-C919C514F40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77" name="Rechthoek 376">
                <a:extLst>
                  <a:ext uri="{FF2B5EF4-FFF2-40B4-BE49-F238E27FC236}">
                    <a16:creationId xmlns:a16="http://schemas.microsoft.com/office/drawing/2014/main" id="{65FA8342-ABE9-4BFF-A5ED-98714AEA485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50" name="Rechte verbindingslijn 349">
              <a:extLst>
                <a:ext uri="{FF2B5EF4-FFF2-40B4-BE49-F238E27FC236}">
                  <a16:creationId xmlns:a16="http://schemas.microsoft.com/office/drawing/2014/main" id="{0494C068-BFC1-485C-95A0-F6CD67F80184}"/>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51" name="Rechthoek 350">
              <a:extLst>
                <a:ext uri="{FF2B5EF4-FFF2-40B4-BE49-F238E27FC236}">
                  <a16:creationId xmlns:a16="http://schemas.microsoft.com/office/drawing/2014/main" id="{DE2A93DF-55BB-46DB-98DC-A34F6E9F9DAF}"/>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52" name="Ovaal 351">
              <a:extLst>
                <a:ext uri="{FF2B5EF4-FFF2-40B4-BE49-F238E27FC236}">
                  <a16:creationId xmlns:a16="http://schemas.microsoft.com/office/drawing/2014/main" id="{E45EC9A1-44AF-4B03-8304-420060E80451}"/>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3" name="Rechthoek 352">
              <a:extLst>
                <a:ext uri="{FF2B5EF4-FFF2-40B4-BE49-F238E27FC236}">
                  <a16:creationId xmlns:a16="http://schemas.microsoft.com/office/drawing/2014/main" id="{C73F0B30-DAA6-45D3-8149-8E78F0CB4DF0}"/>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54" name="Ovaal 353">
              <a:extLst>
                <a:ext uri="{FF2B5EF4-FFF2-40B4-BE49-F238E27FC236}">
                  <a16:creationId xmlns:a16="http://schemas.microsoft.com/office/drawing/2014/main" id="{16EB5B03-3D3D-4908-B59C-CC646FB5EF80}"/>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5" name="Rechthoek 354">
              <a:extLst>
                <a:ext uri="{FF2B5EF4-FFF2-40B4-BE49-F238E27FC236}">
                  <a16:creationId xmlns:a16="http://schemas.microsoft.com/office/drawing/2014/main" id="{81F7F0CB-E0BA-42A7-9446-C03D84566978}"/>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56" name="Ovaal 355">
              <a:extLst>
                <a:ext uri="{FF2B5EF4-FFF2-40B4-BE49-F238E27FC236}">
                  <a16:creationId xmlns:a16="http://schemas.microsoft.com/office/drawing/2014/main" id="{0D915088-137B-4DD2-AE0A-7BEC96E1DFFE}"/>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57" name="Rechthoek 356">
              <a:extLst>
                <a:ext uri="{FF2B5EF4-FFF2-40B4-BE49-F238E27FC236}">
                  <a16:creationId xmlns:a16="http://schemas.microsoft.com/office/drawing/2014/main" id="{7CE63F90-C9B7-42ED-A82F-A765488AE441}"/>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58" name="Ovaal 357">
              <a:extLst>
                <a:ext uri="{FF2B5EF4-FFF2-40B4-BE49-F238E27FC236}">
                  <a16:creationId xmlns:a16="http://schemas.microsoft.com/office/drawing/2014/main" id="{2E79C13D-ADAE-4928-9BFA-846B11078C06}"/>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59" name="Rechthoek 358">
              <a:extLst>
                <a:ext uri="{FF2B5EF4-FFF2-40B4-BE49-F238E27FC236}">
                  <a16:creationId xmlns:a16="http://schemas.microsoft.com/office/drawing/2014/main" id="{DE7D0D9F-9A05-426E-AF5C-F464F427E0CC}"/>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60" name="Rechthoek 359">
              <a:extLst>
                <a:ext uri="{FF2B5EF4-FFF2-40B4-BE49-F238E27FC236}">
                  <a16:creationId xmlns:a16="http://schemas.microsoft.com/office/drawing/2014/main" id="{395C42CF-B96D-4E41-80D5-36A2C39B4BBA}"/>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61" name="Rechte verbindingslijn 360">
              <a:extLst>
                <a:ext uri="{FF2B5EF4-FFF2-40B4-BE49-F238E27FC236}">
                  <a16:creationId xmlns:a16="http://schemas.microsoft.com/office/drawing/2014/main" id="{FE85859E-1BF0-4A2E-B9FE-9532FAC555AA}"/>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62" name="Ovaal 361">
              <a:extLst>
                <a:ext uri="{FF2B5EF4-FFF2-40B4-BE49-F238E27FC236}">
                  <a16:creationId xmlns:a16="http://schemas.microsoft.com/office/drawing/2014/main" id="{58B11E63-7C46-46E5-AF4E-0626BF19A6F3}"/>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63" name="Rechthoek 362">
              <a:extLst>
                <a:ext uri="{FF2B5EF4-FFF2-40B4-BE49-F238E27FC236}">
                  <a16:creationId xmlns:a16="http://schemas.microsoft.com/office/drawing/2014/main" id="{03BD9A4D-7017-4698-A01F-6019A002B899}"/>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64" name="Ovaal 363">
              <a:extLst>
                <a:ext uri="{FF2B5EF4-FFF2-40B4-BE49-F238E27FC236}">
                  <a16:creationId xmlns:a16="http://schemas.microsoft.com/office/drawing/2014/main" id="{0B21735C-96C8-4112-A687-A866CAAC6CA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5" name="Rechthoek 364">
              <a:extLst>
                <a:ext uri="{FF2B5EF4-FFF2-40B4-BE49-F238E27FC236}">
                  <a16:creationId xmlns:a16="http://schemas.microsoft.com/office/drawing/2014/main" id="{8EBF4C1B-9C19-40BA-AAD8-307DAB5F67B3}"/>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418" name="Instructie">
            <a:extLst>
              <a:ext uri="{FF2B5EF4-FFF2-40B4-BE49-F238E27FC236}">
                <a16:creationId xmlns:a16="http://schemas.microsoft.com/office/drawing/2014/main" id="{A8B8F7EF-3A13-48A2-95FA-AA9A10F3EB22}"/>
              </a:ext>
            </a:extLst>
          </p:cNvPr>
          <p:cNvGrpSpPr/>
          <p:nvPr userDrawn="1"/>
        </p:nvGrpSpPr>
        <p:grpSpPr>
          <a:xfrm>
            <a:off x="12389714" y="5221435"/>
            <a:ext cx="3183677" cy="1636565"/>
            <a:chOff x="12389714" y="4327164"/>
            <a:chExt cx="3183677" cy="1636565"/>
          </a:xfrm>
        </p:grpSpPr>
        <p:cxnSp>
          <p:nvCxnSpPr>
            <p:cNvPr id="419" name="Rechte verbindingslijn 418">
              <a:extLst>
                <a:ext uri="{FF2B5EF4-FFF2-40B4-BE49-F238E27FC236}">
                  <a16:creationId xmlns:a16="http://schemas.microsoft.com/office/drawing/2014/main" id="{998D5AE6-00E6-422E-A152-7A648EA4B8A5}"/>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420" name="Rechthoek 419">
              <a:extLst>
                <a:ext uri="{FF2B5EF4-FFF2-40B4-BE49-F238E27FC236}">
                  <a16:creationId xmlns:a16="http://schemas.microsoft.com/office/drawing/2014/main" id="{87339964-7A76-4979-8B96-386DB681251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421" name="Ovaal 420">
              <a:extLst>
                <a:ext uri="{FF2B5EF4-FFF2-40B4-BE49-F238E27FC236}">
                  <a16:creationId xmlns:a16="http://schemas.microsoft.com/office/drawing/2014/main" id="{1F065359-48A9-493C-BD7C-79FFC4490732}"/>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22" name="Rechte verbindingslijn 421">
              <a:extLst>
                <a:ext uri="{FF2B5EF4-FFF2-40B4-BE49-F238E27FC236}">
                  <a16:creationId xmlns:a16="http://schemas.microsoft.com/office/drawing/2014/main" id="{6036E041-104F-46E6-997B-2DF47F1F2ED8}"/>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423" name="Rechthoek 422">
              <a:extLst>
                <a:ext uri="{FF2B5EF4-FFF2-40B4-BE49-F238E27FC236}">
                  <a16:creationId xmlns:a16="http://schemas.microsoft.com/office/drawing/2014/main" id="{6D396B29-18EF-41AE-86F4-94591D967DEF}"/>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424" name="Groep 423">
              <a:extLst>
                <a:ext uri="{FF2B5EF4-FFF2-40B4-BE49-F238E27FC236}">
                  <a16:creationId xmlns:a16="http://schemas.microsoft.com/office/drawing/2014/main" id="{6B324597-DA5C-4C55-BD3D-4EF780D1865D}"/>
                </a:ext>
              </a:extLst>
            </p:cNvPr>
            <p:cNvGrpSpPr/>
            <p:nvPr userDrawn="1"/>
          </p:nvGrpSpPr>
          <p:grpSpPr>
            <a:xfrm>
              <a:off x="12755394" y="5222855"/>
              <a:ext cx="1714530" cy="639425"/>
              <a:chOff x="12757283" y="4365594"/>
              <a:chExt cx="1714530" cy="639425"/>
            </a:xfrm>
          </p:grpSpPr>
          <p:sp>
            <p:nvSpPr>
              <p:cNvPr id="425" name="Rechthoek 424">
                <a:extLst>
                  <a:ext uri="{FF2B5EF4-FFF2-40B4-BE49-F238E27FC236}">
                    <a16:creationId xmlns:a16="http://schemas.microsoft.com/office/drawing/2014/main" id="{6980CF4C-67A1-414E-B37E-2499F4A711E3}"/>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426" name="Rechthoek 425">
                <a:extLst>
                  <a:ext uri="{FF2B5EF4-FFF2-40B4-BE49-F238E27FC236}">
                    <a16:creationId xmlns:a16="http://schemas.microsoft.com/office/drawing/2014/main" id="{22A7E34C-3A28-4878-9B2D-95B7DA5D526F}"/>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27" name="Tekstvak 426">
                <a:extLst>
                  <a:ext uri="{FF2B5EF4-FFF2-40B4-BE49-F238E27FC236}">
                    <a16:creationId xmlns:a16="http://schemas.microsoft.com/office/drawing/2014/main" id="{6E3CFEC3-CABC-404E-BAA3-389B3892DE68}"/>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428" name="Tekstvak 427">
                <a:extLst>
                  <a:ext uri="{FF2B5EF4-FFF2-40B4-BE49-F238E27FC236}">
                    <a16:creationId xmlns:a16="http://schemas.microsoft.com/office/drawing/2014/main" id="{78C9B979-4DBC-45E0-9F32-8F6DD473DC03}"/>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429" name="Picture 3">
                <a:extLst>
                  <a:ext uri="{FF2B5EF4-FFF2-40B4-BE49-F238E27FC236}">
                    <a16:creationId xmlns:a16="http://schemas.microsoft.com/office/drawing/2014/main" id="{9CB52205-8507-430A-A801-AEA31C0E781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30" name="Groep 429">
                <a:extLst>
                  <a:ext uri="{FF2B5EF4-FFF2-40B4-BE49-F238E27FC236}">
                    <a16:creationId xmlns:a16="http://schemas.microsoft.com/office/drawing/2014/main" id="{0A16ECF3-609F-4BBD-8A3E-A8D6B8A37936}"/>
                  </a:ext>
                </a:extLst>
              </p:cNvPr>
              <p:cNvGrpSpPr/>
              <p:nvPr userDrawn="1"/>
            </p:nvGrpSpPr>
            <p:grpSpPr>
              <a:xfrm>
                <a:off x="12831198" y="4432250"/>
                <a:ext cx="139861" cy="152244"/>
                <a:chOff x="12574450" y="6053892"/>
                <a:chExt cx="169232" cy="184215"/>
              </a:xfrm>
            </p:grpSpPr>
            <p:sp>
              <p:nvSpPr>
                <p:cNvPr id="453" name="Rechthoek 452">
                  <a:extLst>
                    <a:ext uri="{FF2B5EF4-FFF2-40B4-BE49-F238E27FC236}">
                      <a16:creationId xmlns:a16="http://schemas.microsoft.com/office/drawing/2014/main" id="{5B5FEE48-1258-49D5-A854-30CD06F7A6CE}"/>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454" name="Rechthoek 453">
                  <a:extLst>
                    <a:ext uri="{FF2B5EF4-FFF2-40B4-BE49-F238E27FC236}">
                      <a16:creationId xmlns:a16="http://schemas.microsoft.com/office/drawing/2014/main" id="{8AE17A5C-B8FD-4A4F-AD02-DC572E182CA7}"/>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455" name="Rechthoek 454">
                  <a:extLst>
                    <a:ext uri="{FF2B5EF4-FFF2-40B4-BE49-F238E27FC236}">
                      <a16:creationId xmlns:a16="http://schemas.microsoft.com/office/drawing/2014/main" id="{83D84286-E9E9-4F59-BDFD-AD4646D64DF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431" name="Groep 430">
                <a:extLst>
                  <a:ext uri="{FF2B5EF4-FFF2-40B4-BE49-F238E27FC236}">
                    <a16:creationId xmlns:a16="http://schemas.microsoft.com/office/drawing/2014/main" id="{E1C2B487-6CE0-484C-B95E-029BB5AE4517}"/>
                  </a:ext>
                </a:extLst>
              </p:cNvPr>
              <p:cNvGrpSpPr/>
              <p:nvPr userDrawn="1"/>
            </p:nvGrpSpPr>
            <p:grpSpPr>
              <a:xfrm>
                <a:off x="12831198" y="4748585"/>
                <a:ext cx="184916" cy="120210"/>
                <a:chOff x="8815516" y="1076284"/>
                <a:chExt cx="503174" cy="327105"/>
              </a:xfrm>
            </p:grpSpPr>
            <p:sp>
              <p:nvSpPr>
                <p:cNvPr id="432" name="Rechthoek 431">
                  <a:extLst>
                    <a:ext uri="{FF2B5EF4-FFF2-40B4-BE49-F238E27FC236}">
                      <a16:creationId xmlns:a16="http://schemas.microsoft.com/office/drawing/2014/main" id="{6592CF00-E248-47C9-80AF-33868D82572E}"/>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433" name="Groep 432">
                  <a:extLst>
                    <a:ext uri="{FF2B5EF4-FFF2-40B4-BE49-F238E27FC236}">
                      <a16:creationId xmlns:a16="http://schemas.microsoft.com/office/drawing/2014/main" id="{CADD19E5-32B8-4157-B5C9-C26C4C346FAC}"/>
                    </a:ext>
                  </a:extLst>
                </p:cNvPr>
                <p:cNvGrpSpPr/>
                <p:nvPr userDrawn="1"/>
              </p:nvGrpSpPr>
              <p:grpSpPr>
                <a:xfrm>
                  <a:off x="8815517" y="1076284"/>
                  <a:ext cx="503173" cy="327105"/>
                  <a:chOff x="1351248" y="-683635"/>
                  <a:chExt cx="503173" cy="327105"/>
                </a:xfrm>
              </p:grpSpPr>
              <p:grpSp>
                <p:nvGrpSpPr>
                  <p:cNvPr id="434" name="Groep 433">
                    <a:extLst>
                      <a:ext uri="{FF2B5EF4-FFF2-40B4-BE49-F238E27FC236}">
                        <a16:creationId xmlns:a16="http://schemas.microsoft.com/office/drawing/2014/main" id="{5E284D45-2D6C-403E-B11A-E93FC40E44EB}"/>
                      </a:ext>
                    </a:extLst>
                  </p:cNvPr>
                  <p:cNvGrpSpPr/>
                  <p:nvPr userDrawn="1"/>
                </p:nvGrpSpPr>
                <p:grpSpPr>
                  <a:xfrm>
                    <a:off x="1351248" y="-683635"/>
                    <a:ext cx="375186" cy="293652"/>
                    <a:chOff x="1094874" y="-884923"/>
                    <a:chExt cx="884668" cy="692417"/>
                  </a:xfrm>
                </p:grpSpPr>
                <p:sp>
                  <p:nvSpPr>
                    <p:cNvPr id="439" name="Rechthoek 438">
                      <a:extLst>
                        <a:ext uri="{FF2B5EF4-FFF2-40B4-BE49-F238E27FC236}">
                          <a16:creationId xmlns:a16="http://schemas.microsoft.com/office/drawing/2014/main" id="{6FE17986-A80C-4F86-8C7A-F5385729E1A4}"/>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440" name="Groep 439">
                      <a:extLst>
                        <a:ext uri="{FF2B5EF4-FFF2-40B4-BE49-F238E27FC236}">
                          <a16:creationId xmlns:a16="http://schemas.microsoft.com/office/drawing/2014/main" id="{A8DA3BEE-250E-4CB2-8750-343DC724539E}"/>
                        </a:ext>
                      </a:extLst>
                    </p:cNvPr>
                    <p:cNvGrpSpPr/>
                    <p:nvPr userDrawn="1"/>
                  </p:nvGrpSpPr>
                  <p:grpSpPr>
                    <a:xfrm>
                      <a:off x="1094874" y="-878306"/>
                      <a:ext cx="867364" cy="685800"/>
                      <a:chOff x="1094874" y="-878306"/>
                      <a:chExt cx="867364" cy="613611"/>
                    </a:xfrm>
                  </p:grpSpPr>
                  <p:cxnSp>
                    <p:nvCxnSpPr>
                      <p:cNvPr id="446" name="Rechte verbindingslijn 445">
                        <a:extLst>
                          <a:ext uri="{FF2B5EF4-FFF2-40B4-BE49-F238E27FC236}">
                            <a16:creationId xmlns:a16="http://schemas.microsoft.com/office/drawing/2014/main" id="{5C2D2CF5-3DD4-41F4-ADB0-5EFDBC4CD12A}"/>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7" name="Rechte verbindingslijn 446">
                        <a:extLst>
                          <a:ext uri="{FF2B5EF4-FFF2-40B4-BE49-F238E27FC236}">
                            <a16:creationId xmlns:a16="http://schemas.microsoft.com/office/drawing/2014/main" id="{804B345D-0B52-46CB-A2A2-B4ACE9DAA760}"/>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8" name="Groep 447">
                        <a:extLst>
                          <a:ext uri="{FF2B5EF4-FFF2-40B4-BE49-F238E27FC236}">
                            <a16:creationId xmlns:a16="http://schemas.microsoft.com/office/drawing/2014/main" id="{95127E70-86E8-40FD-A3F3-D565D1E080A4}"/>
                          </a:ext>
                        </a:extLst>
                      </p:cNvPr>
                      <p:cNvGrpSpPr/>
                      <p:nvPr userDrawn="1"/>
                    </p:nvGrpSpPr>
                    <p:grpSpPr>
                      <a:xfrm>
                        <a:off x="1270535" y="-878306"/>
                        <a:ext cx="526983" cy="613611"/>
                        <a:chOff x="1270535" y="-745959"/>
                        <a:chExt cx="526983" cy="481264"/>
                      </a:xfrm>
                    </p:grpSpPr>
                    <p:cxnSp>
                      <p:nvCxnSpPr>
                        <p:cNvPr id="449" name="Rechte verbindingslijn 448">
                          <a:extLst>
                            <a:ext uri="{FF2B5EF4-FFF2-40B4-BE49-F238E27FC236}">
                              <a16:creationId xmlns:a16="http://schemas.microsoft.com/office/drawing/2014/main" id="{93D799BB-F258-406A-B51C-5B5EAD98C02C}"/>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0" name="Rechte verbindingslijn 449">
                          <a:extLst>
                            <a:ext uri="{FF2B5EF4-FFF2-40B4-BE49-F238E27FC236}">
                              <a16:creationId xmlns:a16="http://schemas.microsoft.com/office/drawing/2014/main" id="{C3A29D67-3920-4A1C-B8D7-11FF932C7A86}"/>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1" name="Rechte verbindingslijn 450">
                          <a:extLst>
                            <a:ext uri="{FF2B5EF4-FFF2-40B4-BE49-F238E27FC236}">
                              <a16:creationId xmlns:a16="http://schemas.microsoft.com/office/drawing/2014/main" id="{603DB51F-36E6-4F6A-B82F-BC07976CCB80}"/>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2" name="Rechte verbindingslijn 451">
                          <a:extLst>
                            <a:ext uri="{FF2B5EF4-FFF2-40B4-BE49-F238E27FC236}">
                              <a16:creationId xmlns:a16="http://schemas.microsoft.com/office/drawing/2014/main" id="{BBFE95C4-F734-4644-B24D-12CFBE3EC8D4}"/>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41" name="Rechte verbindingslijn 440">
                      <a:extLst>
                        <a:ext uri="{FF2B5EF4-FFF2-40B4-BE49-F238E27FC236}">
                          <a16:creationId xmlns:a16="http://schemas.microsoft.com/office/drawing/2014/main" id="{83A9B342-479F-47EA-810A-AC7A7C29CC24}"/>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2" name="Groep 441">
                      <a:extLst>
                        <a:ext uri="{FF2B5EF4-FFF2-40B4-BE49-F238E27FC236}">
                          <a16:creationId xmlns:a16="http://schemas.microsoft.com/office/drawing/2014/main" id="{213FFAD0-E8E9-4FD3-AAAF-2B9F01577A5E}"/>
                        </a:ext>
                      </a:extLst>
                    </p:cNvPr>
                    <p:cNvGrpSpPr/>
                    <p:nvPr userDrawn="1"/>
                  </p:nvGrpSpPr>
                  <p:grpSpPr>
                    <a:xfrm>
                      <a:off x="1094874" y="-607596"/>
                      <a:ext cx="878306" cy="276726"/>
                      <a:chOff x="1106905" y="-607596"/>
                      <a:chExt cx="878307" cy="276726"/>
                    </a:xfrm>
                  </p:grpSpPr>
                  <p:cxnSp>
                    <p:nvCxnSpPr>
                      <p:cNvPr id="443" name="Rechte verbindingslijn 442">
                        <a:extLst>
                          <a:ext uri="{FF2B5EF4-FFF2-40B4-BE49-F238E27FC236}">
                            <a16:creationId xmlns:a16="http://schemas.microsoft.com/office/drawing/2014/main" id="{3AC0A952-0D4A-4E53-87FD-05AD621F662F}"/>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4" name="Rechte verbindingslijn 443">
                        <a:extLst>
                          <a:ext uri="{FF2B5EF4-FFF2-40B4-BE49-F238E27FC236}">
                            <a16:creationId xmlns:a16="http://schemas.microsoft.com/office/drawing/2014/main" id="{EACB3642-4915-4896-82E3-CC2F2819772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5" name="Rechte verbindingslijn 444">
                        <a:extLst>
                          <a:ext uri="{FF2B5EF4-FFF2-40B4-BE49-F238E27FC236}">
                            <a16:creationId xmlns:a16="http://schemas.microsoft.com/office/drawing/2014/main" id="{1B65515D-9070-4B74-8C7F-0254218B156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35" name="Groep 434">
                    <a:extLst>
                      <a:ext uri="{FF2B5EF4-FFF2-40B4-BE49-F238E27FC236}">
                        <a16:creationId xmlns:a16="http://schemas.microsoft.com/office/drawing/2014/main" id="{BAAB26B8-8259-438C-A6A9-C33DC5B7AD0E}"/>
                      </a:ext>
                    </a:extLst>
                  </p:cNvPr>
                  <p:cNvGrpSpPr/>
                  <p:nvPr userDrawn="1"/>
                </p:nvGrpSpPr>
                <p:grpSpPr>
                  <a:xfrm rot="2700000">
                    <a:off x="1605871" y="-605080"/>
                    <a:ext cx="90079" cy="407021"/>
                    <a:chOff x="3130062" y="-817193"/>
                    <a:chExt cx="131884" cy="595920"/>
                  </a:xfrm>
                  <a:solidFill>
                    <a:srgbClr val="3399FF"/>
                  </a:solidFill>
                </p:grpSpPr>
                <p:sp>
                  <p:nvSpPr>
                    <p:cNvPr id="436" name="Rechthoek 435">
                      <a:extLst>
                        <a:ext uri="{FF2B5EF4-FFF2-40B4-BE49-F238E27FC236}">
                          <a16:creationId xmlns:a16="http://schemas.microsoft.com/office/drawing/2014/main" id="{476ECDFF-482D-442D-ACDD-F4FA36DC31BB}"/>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37" name="Rechthoek: afgeronde bovenhoeken 436">
                      <a:extLst>
                        <a:ext uri="{FF2B5EF4-FFF2-40B4-BE49-F238E27FC236}">
                          <a16:creationId xmlns:a16="http://schemas.microsoft.com/office/drawing/2014/main" id="{F4888F59-2B86-42C3-B5E4-1CD46EF51BD7}"/>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38" name="Gelijkbenige driehoek 437">
                      <a:extLst>
                        <a:ext uri="{FF2B5EF4-FFF2-40B4-BE49-F238E27FC236}">
                          <a16:creationId xmlns:a16="http://schemas.microsoft.com/office/drawing/2014/main" id="{7417D659-B10F-4819-B2B7-1B56F8D2E8C9}"/>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456" name="Instructie">
            <a:extLst>
              <a:ext uri="{FF2B5EF4-FFF2-40B4-BE49-F238E27FC236}">
                <a16:creationId xmlns:a16="http://schemas.microsoft.com/office/drawing/2014/main" id="{968350DB-B9DC-4E66-B3AA-7EAC93762340}"/>
              </a:ext>
            </a:extLst>
          </p:cNvPr>
          <p:cNvGrpSpPr/>
          <p:nvPr userDrawn="1"/>
        </p:nvGrpSpPr>
        <p:grpSpPr>
          <a:xfrm>
            <a:off x="12391601" y="0"/>
            <a:ext cx="3183677" cy="2499789"/>
            <a:chOff x="12391601" y="0"/>
            <a:chExt cx="3183677" cy="2499789"/>
          </a:xfrm>
        </p:grpSpPr>
        <p:sp>
          <p:nvSpPr>
            <p:cNvPr id="457" name="Rechthoek 456">
              <a:extLst>
                <a:ext uri="{FF2B5EF4-FFF2-40B4-BE49-F238E27FC236}">
                  <a16:creationId xmlns:a16="http://schemas.microsoft.com/office/drawing/2014/main" id="{26559C5E-546C-4A70-A0EF-53EA3E2DE60A}"/>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458" name="Ovaal 457">
              <a:extLst>
                <a:ext uri="{FF2B5EF4-FFF2-40B4-BE49-F238E27FC236}">
                  <a16:creationId xmlns:a16="http://schemas.microsoft.com/office/drawing/2014/main" id="{CA50E38A-FAF8-4A0B-B892-BDA9F843CB6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59" name="Rechte verbindingslijn 458">
              <a:extLst>
                <a:ext uri="{FF2B5EF4-FFF2-40B4-BE49-F238E27FC236}">
                  <a16:creationId xmlns:a16="http://schemas.microsoft.com/office/drawing/2014/main" id="{8820A337-456D-49FD-BE24-31BA4D25A128}"/>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60" name="Rechte verbindingslijn 459">
              <a:extLst>
                <a:ext uri="{FF2B5EF4-FFF2-40B4-BE49-F238E27FC236}">
                  <a16:creationId xmlns:a16="http://schemas.microsoft.com/office/drawing/2014/main" id="{BA949DC0-146E-4049-9480-FAE51A94D667}"/>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61" name="Rechthoek 460">
              <a:extLst>
                <a:ext uri="{FF2B5EF4-FFF2-40B4-BE49-F238E27FC236}">
                  <a16:creationId xmlns:a16="http://schemas.microsoft.com/office/drawing/2014/main" id="{921C6BE8-3C08-4E13-A550-268A5BD1C6D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62" name="Ovaal 461">
              <a:extLst>
                <a:ext uri="{FF2B5EF4-FFF2-40B4-BE49-F238E27FC236}">
                  <a16:creationId xmlns:a16="http://schemas.microsoft.com/office/drawing/2014/main" id="{D821E7F7-E3E9-4A5D-9ABE-5AC8879B3E10}"/>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63" name="Rechthoek 462">
              <a:extLst>
                <a:ext uri="{FF2B5EF4-FFF2-40B4-BE49-F238E27FC236}">
                  <a16:creationId xmlns:a16="http://schemas.microsoft.com/office/drawing/2014/main" id="{E83EDA2E-B8ED-46C5-9D3B-C099AE2F6AC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64" name="Groep 463">
              <a:extLst>
                <a:ext uri="{FF2B5EF4-FFF2-40B4-BE49-F238E27FC236}">
                  <a16:creationId xmlns:a16="http://schemas.microsoft.com/office/drawing/2014/main" id="{0EB3197A-73D2-419D-A0D7-7264C585922D}"/>
                </a:ext>
              </a:extLst>
            </p:cNvPr>
            <p:cNvGrpSpPr/>
            <p:nvPr userDrawn="1"/>
          </p:nvGrpSpPr>
          <p:grpSpPr>
            <a:xfrm>
              <a:off x="12757282" y="2184550"/>
              <a:ext cx="825500" cy="209550"/>
              <a:chOff x="13504624" y="2482850"/>
              <a:chExt cx="825500" cy="209550"/>
            </a:xfrm>
          </p:grpSpPr>
          <p:sp>
            <p:nvSpPr>
              <p:cNvPr id="470" name="Rechthoek 469">
                <a:extLst>
                  <a:ext uri="{FF2B5EF4-FFF2-40B4-BE49-F238E27FC236}">
                    <a16:creationId xmlns:a16="http://schemas.microsoft.com/office/drawing/2014/main" id="{FDF5FBF6-34D9-4ED1-A544-9490EA133BD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471" name="Rechte verbindingslijn 470">
                <a:extLst>
                  <a:ext uri="{FF2B5EF4-FFF2-40B4-BE49-F238E27FC236}">
                    <a16:creationId xmlns:a16="http://schemas.microsoft.com/office/drawing/2014/main" id="{4CD4DE8C-9E07-458B-9F4B-F627D226B06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72" name="Gelijkbenige driehoek 471">
                <a:extLst>
                  <a:ext uri="{FF2B5EF4-FFF2-40B4-BE49-F238E27FC236}">
                    <a16:creationId xmlns:a16="http://schemas.microsoft.com/office/drawing/2014/main" id="{1D420B5D-59C1-4D25-96C0-7484780E9E1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465" name="Rechte verbindingslijn 464">
              <a:extLst>
                <a:ext uri="{FF2B5EF4-FFF2-40B4-BE49-F238E27FC236}">
                  <a16:creationId xmlns:a16="http://schemas.microsoft.com/office/drawing/2014/main" id="{15D12A78-A17D-460A-AB35-1C85A51E6996}"/>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466" name="Groep 465">
              <a:extLst>
                <a:ext uri="{FF2B5EF4-FFF2-40B4-BE49-F238E27FC236}">
                  <a16:creationId xmlns:a16="http://schemas.microsoft.com/office/drawing/2014/main" id="{E63DD2D8-B2A9-4AB9-B09A-B697C6C754C3}"/>
                </a:ext>
              </a:extLst>
            </p:cNvPr>
            <p:cNvGrpSpPr/>
            <p:nvPr userDrawn="1"/>
          </p:nvGrpSpPr>
          <p:grpSpPr>
            <a:xfrm>
              <a:off x="12751697" y="1147804"/>
              <a:ext cx="289372" cy="314992"/>
              <a:chOff x="7322769" y="-310267"/>
              <a:chExt cx="289372" cy="314992"/>
            </a:xfrm>
          </p:grpSpPr>
          <p:sp>
            <p:nvSpPr>
              <p:cNvPr id="467" name="Rechthoek 466">
                <a:extLst>
                  <a:ext uri="{FF2B5EF4-FFF2-40B4-BE49-F238E27FC236}">
                    <a16:creationId xmlns:a16="http://schemas.microsoft.com/office/drawing/2014/main" id="{9C0F72A6-9B01-4799-AECD-D7F742AB41E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68" name="Rechthoek 467">
                <a:extLst>
                  <a:ext uri="{FF2B5EF4-FFF2-40B4-BE49-F238E27FC236}">
                    <a16:creationId xmlns:a16="http://schemas.microsoft.com/office/drawing/2014/main" id="{D6C7C30A-F674-458A-8DD6-A266138E6DB6}"/>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69" name="Rechthoek 468">
                <a:extLst>
                  <a:ext uri="{FF2B5EF4-FFF2-40B4-BE49-F238E27FC236}">
                    <a16:creationId xmlns:a16="http://schemas.microsoft.com/office/drawing/2014/main" id="{05AD1692-59A4-4A18-95DE-485351CE77A8}"/>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20406112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65D88B5A-9448-457A-A534-04B90351D3ED}"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GRAFIEK</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539497" y="1459111"/>
            <a:ext cx="1111224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74" name="Instructie">
            <a:extLst>
              <a:ext uri="{FF2B5EF4-FFF2-40B4-BE49-F238E27FC236}">
                <a16:creationId xmlns:a16="http://schemas.microsoft.com/office/drawing/2014/main" id="{B972CF49-E143-4536-B73E-02151D4202F8}"/>
              </a:ext>
            </a:extLst>
          </p:cNvPr>
          <p:cNvGrpSpPr/>
          <p:nvPr userDrawn="1"/>
        </p:nvGrpSpPr>
        <p:grpSpPr>
          <a:xfrm>
            <a:off x="12389714" y="5221435"/>
            <a:ext cx="3183677" cy="1636565"/>
            <a:chOff x="12389714" y="4327164"/>
            <a:chExt cx="3183677" cy="1636565"/>
          </a:xfrm>
        </p:grpSpPr>
        <p:cxnSp>
          <p:nvCxnSpPr>
            <p:cNvPr id="75" name="Rechte verbindingslijn 74">
              <a:extLst>
                <a:ext uri="{FF2B5EF4-FFF2-40B4-BE49-F238E27FC236}">
                  <a16:creationId xmlns:a16="http://schemas.microsoft.com/office/drawing/2014/main" id="{8619AEFD-8A08-4117-9131-36A9F97CC5F5}"/>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76" name="Rechthoek 75">
              <a:extLst>
                <a:ext uri="{FF2B5EF4-FFF2-40B4-BE49-F238E27FC236}">
                  <a16:creationId xmlns:a16="http://schemas.microsoft.com/office/drawing/2014/main" id="{A6236CE0-E1AC-4BA7-8B28-53277866B859}"/>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77" name="Ovaal 76">
              <a:extLst>
                <a:ext uri="{FF2B5EF4-FFF2-40B4-BE49-F238E27FC236}">
                  <a16:creationId xmlns:a16="http://schemas.microsoft.com/office/drawing/2014/main" id="{A821C9E1-8337-4AB1-A151-207BFF0FEBB3}"/>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78" name="Rechte verbindingslijn 77">
              <a:extLst>
                <a:ext uri="{FF2B5EF4-FFF2-40B4-BE49-F238E27FC236}">
                  <a16:creationId xmlns:a16="http://schemas.microsoft.com/office/drawing/2014/main" id="{1DA1E750-3948-484A-B193-DA0A2A460AF7}"/>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79" name="Rechthoek 78">
              <a:extLst>
                <a:ext uri="{FF2B5EF4-FFF2-40B4-BE49-F238E27FC236}">
                  <a16:creationId xmlns:a16="http://schemas.microsoft.com/office/drawing/2014/main" id="{F1BC702D-8B8F-4BB9-975A-820866492DDB}"/>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80" name="Groep 79">
              <a:extLst>
                <a:ext uri="{FF2B5EF4-FFF2-40B4-BE49-F238E27FC236}">
                  <a16:creationId xmlns:a16="http://schemas.microsoft.com/office/drawing/2014/main" id="{19713D3E-95E2-4480-829B-C7E8C21517AE}"/>
                </a:ext>
              </a:extLst>
            </p:cNvPr>
            <p:cNvGrpSpPr/>
            <p:nvPr userDrawn="1"/>
          </p:nvGrpSpPr>
          <p:grpSpPr>
            <a:xfrm>
              <a:off x="12755394" y="5222855"/>
              <a:ext cx="1714530" cy="639425"/>
              <a:chOff x="12757283" y="4365594"/>
              <a:chExt cx="1714530" cy="639425"/>
            </a:xfrm>
          </p:grpSpPr>
          <p:sp>
            <p:nvSpPr>
              <p:cNvPr id="81" name="Rechthoek 80">
                <a:extLst>
                  <a:ext uri="{FF2B5EF4-FFF2-40B4-BE49-F238E27FC236}">
                    <a16:creationId xmlns:a16="http://schemas.microsoft.com/office/drawing/2014/main" id="{46AE71E4-1BC3-428B-ABD2-11B63625E01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2" name="Rechthoek 81">
                <a:extLst>
                  <a:ext uri="{FF2B5EF4-FFF2-40B4-BE49-F238E27FC236}">
                    <a16:creationId xmlns:a16="http://schemas.microsoft.com/office/drawing/2014/main" id="{6D18ED2B-9992-4D8A-A3F4-4720DCBB6F4F}"/>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3" name="Tekstvak 82">
                <a:extLst>
                  <a:ext uri="{FF2B5EF4-FFF2-40B4-BE49-F238E27FC236}">
                    <a16:creationId xmlns:a16="http://schemas.microsoft.com/office/drawing/2014/main" id="{6DD53454-7E76-4FEB-A6C5-3B31E555CBB0}"/>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84" name="Tekstvak 83">
                <a:extLst>
                  <a:ext uri="{FF2B5EF4-FFF2-40B4-BE49-F238E27FC236}">
                    <a16:creationId xmlns:a16="http://schemas.microsoft.com/office/drawing/2014/main" id="{98AA1ED3-7654-4AB1-8AF8-386D4E4E6CEF}"/>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85" name="Picture 3">
                <a:extLst>
                  <a:ext uri="{FF2B5EF4-FFF2-40B4-BE49-F238E27FC236}">
                    <a16:creationId xmlns:a16="http://schemas.microsoft.com/office/drawing/2014/main" id="{95FD1C77-383D-419B-B010-83F96383E8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6" name="Groep 85">
                <a:extLst>
                  <a:ext uri="{FF2B5EF4-FFF2-40B4-BE49-F238E27FC236}">
                    <a16:creationId xmlns:a16="http://schemas.microsoft.com/office/drawing/2014/main" id="{BC892A5F-71EC-4CD6-B2EC-948B628B4921}"/>
                  </a:ext>
                </a:extLst>
              </p:cNvPr>
              <p:cNvGrpSpPr/>
              <p:nvPr userDrawn="1"/>
            </p:nvGrpSpPr>
            <p:grpSpPr>
              <a:xfrm>
                <a:off x="12831198" y="4432250"/>
                <a:ext cx="139861" cy="152244"/>
                <a:chOff x="12574450" y="6053892"/>
                <a:chExt cx="169232" cy="184215"/>
              </a:xfrm>
            </p:grpSpPr>
            <p:sp>
              <p:nvSpPr>
                <p:cNvPr id="109" name="Rechthoek 108">
                  <a:extLst>
                    <a:ext uri="{FF2B5EF4-FFF2-40B4-BE49-F238E27FC236}">
                      <a16:creationId xmlns:a16="http://schemas.microsoft.com/office/drawing/2014/main" id="{20A88D06-7F47-4140-B630-F4ED20C4214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10" name="Rechthoek 109">
                  <a:extLst>
                    <a:ext uri="{FF2B5EF4-FFF2-40B4-BE49-F238E27FC236}">
                      <a16:creationId xmlns:a16="http://schemas.microsoft.com/office/drawing/2014/main" id="{98DE47D3-576B-4E82-BE49-0AD5CCB36880}"/>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11" name="Rechthoek 110">
                  <a:extLst>
                    <a:ext uri="{FF2B5EF4-FFF2-40B4-BE49-F238E27FC236}">
                      <a16:creationId xmlns:a16="http://schemas.microsoft.com/office/drawing/2014/main" id="{B6FF1A25-9824-47C0-B471-84E431239CD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87" name="Groep 86">
                <a:extLst>
                  <a:ext uri="{FF2B5EF4-FFF2-40B4-BE49-F238E27FC236}">
                    <a16:creationId xmlns:a16="http://schemas.microsoft.com/office/drawing/2014/main" id="{2509F33A-40E9-4679-BC0E-B493A23390CC}"/>
                  </a:ext>
                </a:extLst>
              </p:cNvPr>
              <p:cNvGrpSpPr/>
              <p:nvPr userDrawn="1"/>
            </p:nvGrpSpPr>
            <p:grpSpPr>
              <a:xfrm>
                <a:off x="12831198" y="4748585"/>
                <a:ext cx="184916" cy="120210"/>
                <a:chOff x="8815516" y="1076284"/>
                <a:chExt cx="503174" cy="327105"/>
              </a:xfrm>
            </p:grpSpPr>
            <p:sp>
              <p:nvSpPr>
                <p:cNvPr id="88" name="Rechthoek 87">
                  <a:extLst>
                    <a:ext uri="{FF2B5EF4-FFF2-40B4-BE49-F238E27FC236}">
                      <a16:creationId xmlns:a16="http://schemas.microsoft.com/office/drawing/2014/main" id="{56EE2C70-CEF5-4019-AD16-54893C917483}"/>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89" name="Groep 88">
                  <a:extLst>
                    <a:ext uri="{FF2B5EF4-FFF2-40B4-BE49-F238E27FC236}">
                      <a16:creationId xmlns:a16="http://schemas.microsoft.com/office/drawing/2014/main" id="{C8D244F3-BAF2-46D2-9BA4-4DF01689F6BB}"/>
                    </a:ext>
                  </a:extLst>
                </p:cNvPr>
                <p:cNvGrpSpPr/>
                <p:nvPr userDrawn="1"/>
              </p:nvGrpSpPr>
              <p:grpSpPr>
                <a:xfrm>
                  <a:off x="8815517" y="1076284"/>
                  <a:ext cx="503173" cy="327105"/>
                  <a:chOff x="1351248" y="-683635"/>
                  <a:chExt cx="503173" cy="327105"/>
                </a:xfrm>
              </p:grpSpPr>
              <p:grpSp>
                <p:nvGrpSpPr>
                  <p:cNvPr id="90" name="Groep 89">
                    <a:extLst>
                      <a:ext uri="{FF2B5EF4-FFF2-40B4-BE49-F238E27FC236}">
                        <a16:creationId xmlns:a16="http://schemas.microsoft.com/office/drawing/2014/main" id="{9359415B-A09B-4D47-9FCD-2E5769196783}"/>
                      </a:ext>
                    </a:extLst>
                  </p:cNvPr>
                  <p:cNvGrpSpPr/>
                  <p:nvPr userDrawn="1"/>
                </p:nvGrpSpPr>
                <p:grpSpPr>
                  <a:xfrm>
                    <a:off x="1351248" y="-683635"/>
                    <a:ext cx="375186" cy="293652"/>
                    <a:chOff x="1094874" y="-884923"/>
                    <a:chExt cx="884668" cy="692417"/>
                  </a:xfrm>
                </p:grpSpPr>
                <p:sp>
                  <p:nvSpPr>
                    <p:cNvPr id="95" name="Rechthoek 94">
                      <a:extLst>
                        <a:ext uri="{FF2B5EF4-FFF2-40B4-BE49-F238E27FC236}">
                          <a16:creationId xmlns:a16="http://schemas.microsoft.com/office/drawing/2014/main" id="{13C8B5C6-0E17-4FD1-85B0-5D522CF31E1F}"/>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96" name="Groep 95">
                      <a:extLst>
                        <a:ext uri="{FF2B5EF4-FFF2-40B4-BE49-F238E27FC236}">
                          <a16:creationId xmlns:a16="http://schemas.microsoft.com/office/drawing/2014/main" id="{FFF07B23-3892-43DB-B059-59D78582C1C4}"/>
                        </a:ext>
                      </a:extLst>
                    </p:cNvPr>
                    <p:cNvGrpSpPr/>
                    <p:nvPr userDrawn="1"/>
                  </p:nvGrpSpPr>
                  <p:grpSpPr>
                    <a:xfrm>
                      <a:off x="1094874" y="-878306"/>
                      <a:ext cx="867364" cy="685800"/>
                      <a:chOff x="1094874" y="-878306"/>
                      <a:chExt cx="867364" cy="613611"/>
                    </a:xfrm>
                  </p:grpSpPr>
                  <p:cxnSp>
                    <p:nvCxnSpPr>
                      <p:cNvPr id="102" name="Rechte verbindingslijn 101">
                        <a:extLst>
                          <a:ext uri="{FF2B5EF4-FFF2-40B4-BE49-F238E27FC236}">
                            <a16:creationId xmlns:a16="http://schemas.microsoft.com/office/drawing/2014/main" id="{8D326885-9E04-4C8C-A5C1-ADF060A21BDD}"/>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a:extLst>
                          <a:ext uri="{FF2B5EF4-FFF2-40B4-BE49-F238E27FC236}">
                            <a16:creationId xmlns:a16="http://schemas.microsoft.com/office/drawing/2014/main" id="{67708AEB-A08D-4668-9453-19DBE12B49F2}"/>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4" name="Groep 103">
                        <a:extLst>
                          <a:ext uri="{FF2B5EF4-FFF2-40B4-BE49-F238E27FC236}">
                            <a16:creationId xmlns:a16="http://schemas.microsoft.com/office/drawing/2014/main" id="{A2D35943-67CD-4101-8F1B-E63EB14AC4A7}"/>
                          </a:ext>
                        </a:extLst>
                      </p:cNvPr>
                      <p:cNvGrpSpPr/>
                      <p:nvPr userDrawn="1"/>
                    </p:nvGrpSpPr>
                    <p:grpSpPr>
                      <a:xfrm>
                        <a:off x="1270535" y="-878306"/>
                        <a:ext cx="526983" cy="613611"/>
                        <a:chOff x="1270535" y="-745959"/>
                        <a:chExt cx="526983" cy="481264"/>
                      </a:xfrm>
                    </p:grpSpPr>
                    <p:cxnSp>
                      <p:nvCxnSpPr>
                        <p:cNvPr id="105" name="Rechte verbindingslijn 104">
                          <a:extLst>
                            <a:ext uri="{FF2B5EF4-FFF2-40B4-BE49-F238E27FC236}">
                              <a16:creationId xmlns:a16="http://schemas.microsoft.com/office/drawing/2014/main" id="{2BF5283D-E0B5-4438-BF77-01D91FAE37C7}"/>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6" name="Rechte verbindingslijn 105">
                          <a:extLst>
                            <a:ext uri="{FF2B5EF4-FFF2-40B4-BE49-F238E27FC236}">
                              <a16:creationId xmlns:a16="http://schemas.microsoft.com/office/drawing/2014/main" id="{C387A47F-7F0F-498C-9C7A-0DAC50513F3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583B8D76-E296-466B-AB9A-207C4D239511}"/>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52EC5223-DD85-4EDB-8D96-ED9FCAE322AC}"/>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97" name="Rechte verbindingslijn 96">
                      <a:extLst>
                        <a:ext uri="{FF2B5EF4-FFF2-40B4-BE49-F238E27FC236}">
                          <a16:creationId xmlns:a16="http://schemas.microsoft.com/office/drawing/2014/main" id="{34216DA4-8816-4742-A4E7-441721CC9962}"/>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98" name="Groep 97">
                      <a:extLst>
                        <a:ext uri="{FF2B5EF4-FFF2-40B4-BE49-F238E27FC236}">
                          <a16:creationId xmlns:a16="http://schemas.microsoft.com/office/drawing/2014/main" id="{D3EDC5E9-3DCE-4232-8001-9089A793072F}"/>
                        </a:ext>
                      </a:extLst>
                    </p:cNvPr>
                    <p:cNvGrpSpPr/>
                    <p:nvPr userDrawn="1"/>
                  </p:nvGrpSpPr>
                  <p:grpSpPr>
                    <a:xfrm>
                      <a:off x="1094874" y="-607596"/>
                      <a:ext cx="878306" cy="276726"/>
                      <a:chOff x="1106905" y="-607596"/>
                      <a:chExt cx="878307" cy="276726"/>
                    </a:xfrm>
                  </p:grpSpPr>
                  <p:cxnSp>
                    <p:nvCxnSpPr>
                      <p:cNvPr id="99" name="Rechte verbindingslijn 98">
                        <a:extLst>
                          <a:ext uri="{FF2B5EF4-FFF2-40B4-BE49-F238E27FC236}">
                            <a16:creationId xmlns:a16="http://schemas.microsoft.com/office/drawing/2014/main" id="{F5257B78-A23C-4286-BB72-E7CC2359FB79}"/>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0" name="Rechte verbindingslijn 99">
                        <a:extLst>
                          <a:ext uri="{FF2B5EF4-FFF2-40B4-BE49-F238E27FC236}">
                            <a16:creationId xmlns:a16="http://schemas.microsoft.com/office/drawing/2014/main" id="{9B21A33D-5248-4792-87A0-2367DE8339DD}"/>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1" name="Rechte verbindingslijn 100">
                        <a:extLst>
                          <a:ext uri="{FF2B5EF4-FFF2-40B4-BE49-F238E27FC236}">
                            <a16:creationId xmlns:a16="http://schemas.microsoft.com/office/drawing/2014/main" id="{1292EA23-CAFC-4FAA-9703-EB32C8C778D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91" name="Groep 90">
                    <a:extLst>
                      <a:ext uri="{FF2B5EF4-FFF2-40B4-BE49-F238E27FC236}">
                        <a16:creationId xmlns:a16="http://schemas.microsoft.com/office/drawing/2014/main" id="{845F69D1-3951-4CA5-81D1-1921114D546B}"/>
                      </a:ext>
                    </a:extLst>
                  </p:cNvPr>
                  <p:cNvGrpSpPr/>
                  <p:nvPr userDrawn="1"/>
                </p:nvGrpSpPr>
                <p:grpSpPr>
                  <a:xfrm rot="2700000">
                    <a:off x="1605871" y="-605080"/>
                    <a:ext cx="90079" cy="407021"/>
                    <a:chOff x="3130062" y="-817193"/>
                    <a:chExt cx="131884" cy="595920"/>
                  </a:xfrm>
                  <a:solidFill>
                    <a:srgbClr val="3399FF"/>
                  </a:solidFill>
                </p:grpSpPr>
                <p:sp>
                  <p:nvSpPr>
                    <p:cNvPr id="92" name="Rechthoek 91">
                      <a:extLst>
                        <a:ext uri="{FF2B5EF4-FFF2-40B4-BE49-F238E27FC236}">
                          <a16:creationId xmlns:a16="http://schemas.microsoft.com/office/drawing/2014/main" id="{866D29B1-DCE2-447E-BA88-31697F9592D4}"/>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3" name="Rechthoek: afgeronde bovenhoeken 92">
                      <a:extLst>
                        <a:ext uri="{FF2B5EF4-FFF2-40B4-BE49-F238E27FC236}">
                          <a16:creationId xmlns:a16="http://schemas.microsoft.com/office/drawing/2014/main" id="{60BAF024-6722-42F1-ABCC-F7730797864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4" name="Gelijkbenige driehoek 93">
                      <a:extLst>
                        <a:ext uri="{FF2B5EF4-FFF2-40B4-BE49-F238E27FC236}">
                          <a16:creationId xmlns:a16="http://schemas.microsoft.com/office/drawing/2014/main" id="{1BE3730C-1B90-46FE-84EB-75166346538C}"/>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112" name="Instructie">
            <a:extLst>
              <a:ext uri="{FF2B5EF4-FFF2-40B4-BE49-F238E27FC236}">
                <a16:creationId xmlns:a16="http://schemas.microsoft.com/office/drawing/2014/main" id="{C49CC328-B599-43D4-A145-1CC5920BB79C}"/>
              </a:ext>
            </a:extLst>
          </p:cNvPr>
          <p:cNvGrpSpPr/>
          <p:nvPr userDrawn="1"/>
        </p:nvGrpSpPr>
        <p:grpSpPr>
          <a:xfrm>
            <a:off x="12391601" y="0"/>
            <a:ext cx="3183677" cy="2499789"/>
            <a:chOff x="12391601" y="0"/>
            <a:chExt cx="3183677" cy="2499789"/>
          </a:xfrm>
        </p:grpSpPr>
        <p:sp>
          <p:nvSpPr>
            <p:cNvPr id="113" name="Rechthoek 112">
              <a:extLst>
                <a:ext uri="{FF2B5EF4-FFF2-40B4-BE49-F238E27FC236}">
                  <a16:creationId xmlns:a16="http://schemas.microsoft.com/office/drawing/2014/main" id="{3DC127D4-C91D-434D-961C-51DD7C05B9CA}"/>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14" name="Ovaal 113">
              <a:extLst>
                <a:ext uri="{FF2B5EF4-FFF2-40B4-BE49-F238E27FC236}">
                  <a16:creationId xmlns:a16="http://schemas.microsoft.com/office/drawing/2014/main" id="{F369C675-B222-4E3C-9799-B9E9C826D6EA}"/>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5" name="Rechte verbindingslijn 114">
              <a:extLst>
                <a:ext uri="{FF2B5EF4-FFF2-40B4-BE49-F238E27FC236}">
                  <a16:creationId xmlns:a16="http://schemas.microsoft.com/office/drawing/2014/main" id="{AB74B0B9-D672-464B-8856-0FAB1769AC2D}"/>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16" name="Rechte verbindingslijn 115">
              <a:extLst>
                <a:ext uri="{FF2B5EF4-FFF2-40B4-BE49-F238E27FC236}">
                  <a16:creationId xmlns:a16="http://schemas.microsoft.com/office/drawing/2014/main" id="{C750B418-3B0A-4B5A-B30A-6497E416A60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17" name="Rechthoek 116">
              <a:extLst>
                <a:ext uri="{FF2B5EF4-FFF2-40B4-BE49-F238E27FC236}">
                  <a16:creationId xmlns:a16="http://schemas.microsoft.com/office/drawing/2014/main" id="{46F58321-87C8-4D68-8FFD-B81C6063B34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18" name="Ovaal 117">
              <a:extLst>
                <a:ext uri="{FF2B5EF4-FFF2-40B4-BE49-F238E27FC236}">
                  <a16:creationId xmlns:a16="http://schemas.microsoft.com/office/drawing/2014/main" id="{519109F1-9A8A-40EE-A628-C50A2EF8977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9" name="Rechthoek 118">
              <a:extLst>
                <a:ext uri="{FF2B5EF4-FFF2-40B4-BE49-F238E27FC236}">
                  <a16:creationId xmlns:a16="http://schemas.microsoft.com/office/drawing/2014/main" id="{1563674D-5735-4910-813E-D37A95FDB85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0" name="Groep 119">
              <a:extLst>
                <a:ext uri="{FF2B5EF4-FFF2-40B4-BE49-F238E27FC236}">
                  <a16:creationId xmlns:a16="http://schemas.microsoft.com/office/drawing/2014/main" id="{9DEB9494-BA1A-4798-90C6-F5DD28D2F969}"/>
                </a:ext>
              </a:extLst>
            </p:cNvPr>
            <p:cNvGrpSpPr/>
            <p:nvPr userDrawn="1"/>
          </p:nvGrpSpPr>
          <p:grpSpPr>
            <a:xfrm>
              <a:off x="12757282" y="2184550"/>
              <a:ext cx="825500" cy="209550"/>
              <a:chOff x="13504624" y="2482850"/>
              <a:chExt cx="825500" cy="209550"/>
            </a:xfrm>
          </p:grpSpPr>
          <p:sp>
            <p:nvSpPr>
              <p:cNvPr id="126" name="Rechthoek 125">
                <a:extLst>
                  <a:ext uri="{FF2B5EF4-FFF2-40B4-BE49-F238E27FC236}">
                    <a16:creationId xmlns:a16="http://schemas.microsoft.com/office/drawing/2014/main" id="{44B34948-9946-4C94-9AF7-02B9272901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27" name="Rechte verbindingslijn 126">
                <a:extLst>
                  <a:ext uri="{FF2B5EF4-FFF2-40B4-BE49-F238E27FC236}">
                    <a16:creationId xmlns:a16="http://schemas.microsoft.com/office/drawing/2014/main" id="{D8206913-A5AF-4738-8A45-6061E6F4211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8" name="Gelijkbenige driehoek 127">
                <a:extLst>
                  <a:ext uri="{FF2B5EF4-FFF2-40B4-BE49-F238E27FC236}">
                    <a16:creationId xmlns:a16="http://schemas.microsoft.com/office/drawing/2014/main" id="{05C8F3AB-BA74-478D-8577-E60182B41EA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21" name="Rechte verbindingslijn 120">
              <a:extLst>
                <a:ext uri="{FF2B5EF4-FFF2-40B4-BE49-F238E27FC236}">
                  <a16:creationId xmlns:a16="http://schemas.microsoft.com/office/drawing/2014/main" id="{0E748A4E-043C-4103-BD56-68121CACEBA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2" name="Groep 121">
              <a:extLst>
                <a:ext uri="{FF2B5EF4-FFF2-40B4-BE49-F238E27FC236}">
                  <a16:creationId xmlns:a16="http://schemas.microsoft.com/office/drawing/2014/main" id="{94470644-5423-4046-A427-8AFB057AD58F}"/>
                </a:ext>
              </a:extLst>
            </p:cNvPr>
            <p:cNvGrpSpPr/>
            <p:nvPr userDrawn="1"/>
          </p:nvGrpSpPr>
          <p:grpSpPr>
            <a:xfrm>
              <a:off x="12751697" y="1147804"/>
              <a:ext cx="289372" cy="314992"/>
              <a:chOff x="7322769" y="-310267"/>
              <a:chExt cx="289372" cy="314992"/>
            </a:xfrm>
          </p:grpSpPr>
          <p:sp>
            <p:nvSpPr>
              <p:cNvPr id="123" name="Rechthoek 122">
                <a:extLst>
                  <a:ext uri="{FF2B5EF4-FFF2-40B4-BE49-F238E27FC236}">
                    <a16:creationId xmlns:a16="http://schemas.microsoft.com/office/drawing/2014/main" id="{F8D5CEAB-BBBB-4E8C-9202-A606DD14A5B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4" name="Rechthoek 123">
                <a:extLst>
                  <a:ext uri="{FF2B5EF4-FFF2-40B4-BE49-F238E27FC236}">
                    <a16:creationId xmlns:a16="http://schemas.microsoft.com/office/drawing/2014/main" id="{32D9D0FD-361F-4F40-92EF-1F7AAEEFF0A4}"/>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5" name="Rechthoek 124">
                <a:extLst>
                  <a:ext uri="{FF2B5EF4-FFF2-40B4-BE49-F238E27FC236}">
                    <a16:creationId xmlns:a16="http://schemas.microsoft.com/office/drawing/2014/main" id="{67A1B84C-C62F-4037-AA1F-671F278912E2}"/>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41751988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FIEK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C13F2C53-FCED-41B5-986D-5390C12D8F71}"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GRAFIEK 2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7"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grafiek 17">
            <a:extLst>
              <a:ext uri="{FF2B5EF4-FFF2-40B4-BE49-F238E27FC236}">
                <a16:creationId xmlns:a16="http://schemas.microsoft.com/office/drawing/2014/main" id="{D6C0AB07-93B4-4F3A-87B2-5D34C4756313}"/>
              </a:ext>
            </a:extLst>
          </p:cNvPr>
          <p:cNvSpPr>
            <a:spLocks noGrp="1"/>
          </p:cNvSpPr>
          <p:nvPr>
            <p:ph type="chart" sz="quarter" idx="17" hasCustomPrompt="1"/>
          </p:nvPr>
        </p:nvSpPr>
        <p:spPr>
          <a:xfrm>
            <a:off x="539749"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78" name="Instructie">
            <a:extLst>
              <a:ext uri="{FF2B5EF4-FFF2-40B4-BE49-F238E27FC236}">
                <a16:creationId xmlns:a16="http://schemas.microsoft.com/office/drawing/2014/main" id="{F67437EB-2DAF-4056-A160-EEBE72F1EFCD}"/>
              </a:ext>
            </a:extLst>
          </p:cNvPr>
          <p:cNvGrpSpPr/>
          <p:nvPr userDrawn="1"/>
        </p:nvGrpSpPr>
        <p:grpSpPr>
          <a:xfrm>
            <a:off x="12389714" y="5221435"/>
            <a:ext cx="3183677" cy="1636565"/>
            <a:chOff x="12389714" y="4327164"/>
            <a:chExt cx="3183677" cy="1636565"/>
          </a:xfrm>
        </p:grpSpPr>
        <p:cxnSp>
          <p:nvCxnSpPr>
            <p:cNvPr id="79" name="Rechte verbindingslijn 78">
              <a:extLst>
                <a:ext uri="{FF2B5EF4-FFF2-40B4-BE49-F238E27FC236}">
                  <a16:creationId xmlns:a16="http://schemas.microsoft.com/office/drawing/2014/main" id="{2EDBAF60-EA64-49D9-94C0-A47816BEBE76}"/>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80" name="Rechthoek 79">
              <a:extLst>
                <a:ext uri="{FF2B5EF4-FFF2-40B4-BE49-F238E27FC236}">
                  <a16:creationId xmlns:a16="http://schemas.microsoft.com/office/drawing/2014/main" id="{768280BB-EAEC-4B3D-B183-0664D79E81F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81" name="Ovaal 80">
              <a:extLst>
                <a:ext uri="{FF2B5EF4-FFF2-40B4-BE49-F238E27FC236}">
                  <a16:creationId xmlns:a16="http://schemas.microsoft.com/office/drawing/2014/main" id="{E6F2D3B6-D198-463C-8E74-6ABBFD4C1355}"/>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2" name="Rechte verbindingslijn 81">
              <a:extLst>
                <a:ext uri="{FF2B5EF4-FFF2-40B4-BE49-F238E27FC236}">
                  <a16:creationId xmlns:a16="http://schemas.microsoft.com/office/drawing/2014/main" id="{763E7DD2-C917-4DB0-A3E0-BC4886EA7BD9}"/>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83" name="Rechthoek 82">
              <a:extLst>
                <a:ext uri="{FF2B5EF4-FFF2-40B4-BE49-F238E27FC236}">
                  <a16:creationId xmlns:a16="http://schemas.microsoft.com/office/drawing/2014/main" id="{D53D4FB0-0A20-44CE-9F4F-7630B2AC631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84" name="Groep 83">
              <a:extLst>
                <a:ext uri="{FF2B5EF4-FFF2-40B4-BE49-F238E27FC236}">
                  <a16:creationId xmlns:a16="http://schemas.microsoft.com/office/drawing/2014/main" id="{DD5D6438-7AAC-489C-9750-59FE5C621AF0}"/>
                </a:ext>
              </a:extLst>
            </p:cNvPr>
            <p:cNvGrpSpPr/>
            <p:nvPr userDrawn="1"/>
          </p:nvGrpSpPr>
          <p:grpSpPr>
            <a:xfrm>
              <a:off x="12755394" y="5222855"/>
              <a:ext cx="1714530" cy="639425"/>
              <a:chOff x="12757283" y="4365594"/>
              <a:chExt cx="1714530" cy="639425"/>
            </a:xfrm>
          </p:grpSpPr>
          <p:sp>
            <p:nvSpPr>
              <p:cNvPr id="85" name="Rechthoek 84">
                <a:extLst>
                  <a:ext uri="{FF2B5EF4-FFF2-40B4-BE49-F238E27FC236}">
                    <a16:creationId xmlns:a16="http://schemas.microsoft.com/office/drawing/2014/main" id="{68A5D004-ED1D-4092-ADE4-99B275C81ED2}"/>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5743182D-B50B-43DE-A494-AB7591D72297}"/>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7" name="Tekstvak 86">
                <a:extLst>
                  <a:ext uri="{FF2B5EF4-FFF2-40B4-BE49-F238E27FC236}">
                    <a16:creationId xmlns:a16="http://schemas.microsoft.com/office/drawing/2014/main" id="{A26C2928-6048-400A-AB38-A6D5F6B6446D}"/>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88" name="Tekstvak 87">
                <a:extLst>
                  <a:ext uri="{FF2B5EF4-FFF2-40B4-BE49-F238E27FC236}">
                    <a16:creationId xmlns:a16="http://schemas.microsoft.com/office/drawing/2014/main" id="{63C6E421-4B7E-42D3-8483-95E18C9E9392}"/>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89" name="Picture 3">
                <a:extLst>
                  <a:ext uri="{FF2B5EF4-FFF2-40B4-BE49-F238E27FC236}">
                    <a16:creationId xmlns:a16="http://schemas.microsoft.com/office/drawing/2014/main" id="{2C3C145B-7B4D-4792-9C83-E69DCB1556E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0" name="Groep 89">
                <a:extLst>
                  <a:ext uri="{FF2B5EF4-FFF2-40B4-BE49-F238E27FC236}">
                    <a16:creationId xmlns:a16="http://schemas.microsoft.com/office/drawing/2014/main" id="{A23F1B3E-F1B1-4914-9C25-8B4A517CC41A}"/>
                  </a:ext>
                </a:extLst>
              </p:cNvPr>
              <p:cNvGrpSpPr/>
              <p:nvPr userDrawn="1"/>
            </p:nvGrpSpPr>
            <p:grpSpPr>
              <a:xfrm>
                <a:off x="12831198" y="4432250"/>
                <a:ext cx="139861" cy="152244"/>
                <a:chOff x="12574450" y="6053892"/>
                <a:chExt cx="169232" cy="184215"/>
              </a:xfrm>
            </p:grpSpPr>
            <p:sp>
              <p:nvSpPr>
                <p:cNvPr id="113" name="Rechthoek 112">
                  <a:extLst>
                    <a:ext uri="{FF2B5EF4-FFF2-40B4-BE49-F238E27FC236}">
                      <a16:creationId xmlns:a16="http://schemas.microsoft.com/office/drawing/2014/main" id="{525BD392-BAAD-4498-8F5C-4FAAE98CE4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14" name="Rechthoek 113">
                  <a:extLst>
                    <a:ext uri="{FF2B5EF4-FFF2-40B4-BE49-F238E27FC236}">
                      <a16:creationId xmlns:a16="http://schemas.microsoft.com/office/drawing/2014/main" id="{EAD99029-5564-4A6B-8672-C10C25BDEE0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15" name="Rechthoek 114">
                  <a:extLst>
                    <a:ext uri="{FF2B5EF4-FFF2-40B4-BE49-F238E27FC236}">
                      <a16:creationId xmlns:a16="http://schemas.microsoft.com/office/drawing/2014/main" id="{358BAB46-1D52-41C4-9232-31E7511228E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91" name="Groep 90">
                <a:extLst>
                  <a:ext uri="{FF2B5EF4-FFF2-40B4-BE49-F238E27FC236}">
                    <a16:creationId xmlns:a16="http://schemas.microsoft.com/office/drawing/2014/main" id="{912ECEA6-9428-44D0-B001-2E81746A1475}"/>
                  </a:ext>
                </a:extLst>
              </p:cNvPr>
              <p:cNvGrpSpPr/>
              <p:nvPr userDrawn="1"/>
            </p:nvGrpSpPr>
            <p:grpSpPr>
              <a:xfrm>
                <a:off x="12831198" y="4748585"/>
                <a:ext cx="184916" cy="120210"/>
                <a:chOff x="8815516" y="1076284"/>
                <a:chExt cx="503174" cy="327105"/>
              </a:xfrm>
            </p:grpSpPr>
            <p:sp>
              <p:nvSpPr>
                <p:cNvPr id="92" name="Rechthoek 91">
                  <a:extLst>
                    <a:ext uri="{FF2B5EF4-FFF2-40B4-BE49-F238E27FC236}">
                      <a16:creationId xmlns:a16="http://schemas.microsoft.com/office/drawing/2014/main" id="{F3AEBE6E-AE0D-4023-8548-26C8A9CC493A}"/>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93" name="Groep 92">
                  <a:extLst>
                    <a:ext uri="{FF2B5EF4-FFF2-40B4-BE49-F238E27FC236}">
                      <a16:creationId xmlns:a16="http://schemas.microsoft.com/office/drawing/2014/main" id="{D1A9942D-C18B-4B7B-9266-5D54D4E27A00}"/>
                    </a:ext>
                  </a:extLst>
                </p:cNvPr>
                <p:cNvGrpSpPr/>
                <p:nvPr userDrawn="1"/>
              </p:nvGrpSpPr>
              <p:grpSpPr>
                <a:xfrm>
                  <a:off x="8815517" y="1076284"/>
                  <a:ext cx="503173" cy="327105"/>
                  <a:chOff x="1351248" y="-683635"/>
                  <a:chExt cx="503173" cy="327105"/>
                </a:xfrm>
              </p:grpSpPr>
              <p:grpSp>
                <p:nvGrpSpPr>
                  <p:cNvPr id="94" name="Groep 93">
                    <a:extLst>
                      <a:ext uri="{FF2B5EF4-FFF2-40B4-BE49-F238E27FC236}">
                        <a16:creationId xmlns:a16="http://schemas.microsoft.com/office/drawing/2014/main" id="{C4E41082-9233-48F4-B1A7-2DDF424D3E25}"/>
                      </a:ext>
                    </a:extLst>
                  </p:cNvPr>
                  <p:cNvGrpSpPr/>
                  <p:nvPr userDrawn="1"/>
                </p:nvGrpSpPr>
                <p:grpSpPr>
                  <a:xfrm>
                    <a:off x="1351248" y="-683635"/>
                    <a:ext cx="375186" cy="293652"/>
                    <a:chOff x="1094874" y="-884923"/>
                    <a:chExt cx="884668" cy="692417"/>
                  </a:xfrm>
                </p:grpSpPr>
                <p:sp>
                  <p:nvSpPr>
                    <p:cNvPr id="99" name="Rechthoek 98">
                      <a:extLst>
                        <a:ext uri="{FF2B5EF4-FFF2-40B4-BE49-F238E27FC236}">
                          <a16:creationId xmlns:a16="http://schemas.microsoft.com/office/drawing/2014/main" id="{D0A1C83E-C104-4D98-B8EC-5FF1FE041F43}"/>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00" name="Groep 99">
                      <a:extLst>
                        <a:ext uri="{FF2B5EF4-FFF2-40B4-BE49-F238E27FC236}">
                          <a16:creationId xmlns:a16="http://schemas.microsoft.com/office/drawing/2014/main" id="{E180BB26-8706-47BC-883E-C5AD3562461F}"/>
                        </a:ext>
                      </a:extLst>
                    </p:cNvPr>
                    <p:cNvGrpSpPr/>
                    <p:nvPr userDrawn="1"/>
                  </p:nvGrpSpPr>
                  <p:grpSpPr>
                    <a:xfrm>
                      <a:off x="1094874" y="-878306"/>
                      <a:ext cx="867364" cy="685800"/>
                      <a:chOff x="1094874" y="-878306"/>
                      <a:chExt cx="867364" cy="613611"/>
                    </a:xfrm>
                  </p:grpSpPr>
                  <p:cxnSp>
                    <p:nvCxnSpPr>
                      <p:cNvPr id="106" name="Rechte verbindingslijn 105">
                        <a:extLst>
                          <a:ext uri="{FF2B5EF4-FFF2-40B4-BE49-F238E27FC236}">
                            <a16:creationId xmlns:a16="http://schemas.microsoft.com/office/drawing/2014/main" id="{A63AAD2D-1317-4329-9949-242D546CF50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51ED230A-930C-46EF-8C3B-4073073E6D08}"/>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8" name="Groep 107">
                        <a:extLst>
                          <a:ext uri="{FF2B5EF4-FFF2-40B4-BE49-F238E27FC236}">
                            <a16:creationId xmlns:a16="http://schemas.microsoft.com/office/drawing/2014/main" id="{1E85A5DE-4774-4C02-AF2E-C58F87696177}"/>
                          </a:ext>
                        </a:extLst>
                      </p:cNvPr>
                      <p:cNvGrpSpPr/>
                      <p:nvPr userDrawn="1"/>
                    </p:nvGrpSpPr>
                    <p:grpSpPr>
                      <a:xfrm>
                        <a:off x="1270535" y="-878306"/>
                        <a:ext cx="526983" cy="613611"/>
                        <a:chOff x="1270535" y="-745959"/>
                        <a:chExt cx="526983" cy="481264"/>
                      </a:xfrm>
                    </p:grpSpPr>
                    <p:cxnSp>
                      <p:nvCxnSpPr>
                        <p:cNvPr id="109" name="Rechte verbindingslijn 108">
                          <a:extLst>
                            <a:ext uri="{FF2B5EF4-FFF2-40B4-BE49-F238E27FC236}">
                              <a16:creationId xmlns:a16="http://schemas.microsoft.com/office/drawing/2014/main" id="{CEB2E350-2C30-4B87-80D1-86E90B60D099}"/>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0" name="Rechte verbindingslijn 109">
                          <a:extLst>
                            <a:ext uri="{FF2B5EF4-FFF2-40B4-BE49-F238E27FC236}">
                              <a16:creationId xmlns:a16="http://schemas.microsoft.com/office/drawing/2014/main" id="{AE6E5DC3-ABBB-41B4-9E49-5CF8F3CBB8FA}"/>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1" name="Rechte verbindingslijn 110">
                          <a:extLst>
                            <a:ext uri="{FF2B5EF4-FFF2-40B4-BE49-F238E27FC236}">
                              <a16:creationId xmlns:a16="http://schemas.microsoft.com/office/drawing/2014/main" id="{DF483C48-AB7B-4718-B441-E23FB277D0C9}"/>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5E9C06BF-5C7E-424D-BB91-43058238E138}"/>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01" name="Rechte verbindingslijn 100">
                      <a:extLst>
                        <a:ext uri="{FF2B5EF4-FFF2-40B4-BE49-F238E27FC236}">
                          <a16:creationId xmlns:a16="http://schemas.microsoft.com/office/drawing/2014/main" id="{6757E799-7FCC-4C7F-A5BB-CA472D789A32}"/>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2" name="Groep 101">
                      <a:extLst>
                        <a:ext uri="{FF2B5EF4-FFF2-40B4-BE49-F238E27FC236}">
                          <a16:creationId xmlns:a16="http://schemas.microsoft.com/office/drawing/2014/main" id="{85D09361-5339-4805-810A-385EAA3E8F26}"/>
                        </a:ext>
                      </a:extLst>
                    </p:cNvPr>
                    <p:cNvGrpSpPr/>
                    <p:nvPr userDrawn="1"/>
                  </p:nvGrpSpPr>
                  <p:grpSpPr>
                    <a:xfrm>
                      <a:off x="1094874" y="-607596"/>
                      <a:ext cx="878306" cy="276726"/>
                      <a:chOff x="1106905" y="-607596"/>
                      <a:chExt cx="878307" cy="276726"/>
                    </a:xfrm>
                  </p:grpSpPr>
                  <p:cxnSp>
                    <p:nvCxnSpPr>
                      <p:cNvPr id="103" name="Rechte verbindingslijn 102">
                        <a:extLst>
                          <a:ext uri="{FF2B5EF4-FFF2-40B4-BE49-F238E27FC236}">
                            <a16:creationId xmlns:a16="http://schemas.microsoft.com/office/drawing/2014/main" id="{ACD16E84-86E2-4FF0-8A55-52C58150A5B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4" name="Rechte verbindingslijn 103">
                        <a:extLst>
                          <a:ext uri="{FF2B5EF4-FFF2-40B4-BE49-F238E27FC236}">
                            <a16:creationId xmlns:a16="http://schemas.microsoft.com/office/drawing/2014/main" id="{D4712522-3AA0-4B83-8512-641C8E6DB76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5" name="Rechte verbindingslijn 104">
                        <a:extLst>
                          <a:ext uri="{FF2B5EF4-FFF2-40B4-BE49-F238E27FC236}">
                            <a16:creationId xmlns:a16="http://schemas.microsoft.com/office/drawing/2014/main" id="{13CF9687-AE1D-45A5-939F-AC1E61975A7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95" name="Groep 94">
                    <a:extLst>
                      <a:ext uri="{FF2B5EF4-FFF2-40B4-BE49-F238E27FC236}">
                        <a16:creationId xmlns:a16="http://schemas.microsoft.com/office/drawing/2014/main" id="{C02116FA-757D-4219-9C15-5E13886DCDBA}"/>
                      </a:ext>
                    </a:extLst>
                  </p:cNvPr>
                  <p:cNvGrpSpPr/>
                  <p:nvPr userDrawn="1"/>
                </p:nvGrpSpPr>
                <p:grpSpPr>
                  <a:xfrm rot="2700000">
                    <a:off x="1605871" y="-605080"/>
                    <a:ext cx="90079" cy="407021"/>
                    <a:chOff x="3130062" y="-817193"/>
                    <a:chExt cx="131884" cy="595920"/>
                  </a:xfrm>
                  <a:solidFill>
                    <a:srgbClr val="3399FF"/>
                  </a:solidFill>
                </p:grpSpPr>
                <p:sp>
                  <p:nvSpPr>
                    <p:cNvPr id="96" name="Rechthoek 95">
                      <a:extLst>
                        <a:ext uri="{FF2B5EF4-FFF2-40B4-BE49-F238E27FC236}">
                          <a16:creationId xmlns:a16="http://schemas.microsoft.com/office/drawing/2014/main" id="{6D54E4D4-6CA8-440E-BAA8-0A2DD75EF4D0}"/>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7" name="Rechthoek: afgeronde bovenhoeken 96">
                      <a:extLst>
                        <a:ext uri="{FF2B5EF4-FFF2-40B4-BE49-F238E27FC236}">
                          <a16:creationId xmlns:a16="http://schemas.microsoft.com/office/drawing/2014/main" id="{1077E45D-CA25-4FC7-A3AE-070CB6CB45B3}"/>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8" name="Gelijkbenige driehoek 97">
                      <a:extLst>
                        <a:ext uri="{FF2B5EF4-FFF2-40B4-BE49-F238E27FC236}">
                          <a16:creationId xmlns:a16="http://schemas.microsoft.com/office/drawing/2014/main" id="{B1199412-3676-4958-B288-D2D2619955A7}"/>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116" name="Instructie">
            <a:extLst>
              <a:ext uri="{FF2B5EF4-FFF2-40B4-BE49-F238E27FC236}">
                <a16:creationId xmlns:a16="http://schemas.microsoft.com/office/drawing/2014/main" id="{FC08DA32-84DC-41B2-A5EE-E1843CA84C98}"/>
              </a:ext>
            </a:extLst>
          </p:cNvPr>
          <p:cNvGrpSpPr/>
          <p:nvPr userDrawn="1"/>
        </p:nvGrpSpPr>
        <p:grpSpPr>
          <a:xfrm>
            <a:off x="12391601" y="0"/>
            <a:ext cx="3183677" cy="2499789"/>
            <a:chOff x="12391601" y="0"/>
            <a:chExt cx="3183677" cy="2499789"/>
          </a:xfrm>
        </p:grpSpPr>
        <p:sp>
          <p:nvSpPr>
            <p:cNvPr id="117" name="Rechthoek 116">
              <a:extLst>
                <a:ext uri="{FF2B5EF4-FFF2-40B4-BE49-F238E27FC236}">
                  <a16:creationId xmlns:a16="http://schemas.microsoft.com/office/drawing/2014/main" id="{0752ACEC-9C9D-40ED-8526-DA25BE61EF7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18" name="Ovaal 117">
              <a:extLst>
                <a:ext uri="{FF2B5EF4-FFF2-40B4-BE49-F238E27FC236}">
                  <a16:creationId xmlns:a16="http://schemas.microsoft.com/office/drawing/2014/main" id="{0B043D28-88E6-4D0D-90D6-0CB9CBB202BE}"/>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9" name="Rechte verbindingslijn 118">
              <a:extLst>
                <a:ext uri="{FF2B5EF4-FFF2-40B4-BE49-F238E27FC236}">
                  <a16:creationId xmlns:a16="http://schemas.microsoft.com/office/drawing/2014/main" id="{F439A4EB-40D3-42B9-8982-7A24817D0FF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20" name="Rechte verbindingslijn 119">
              <a:extLst>
                <a:ext uri="{FF2B5EF4-FFF2-40B4-BE49-F238E27FC236}">
                  <a16:creationId xmlns:a16="http://schemas.microsoft.com/office/drawing/2014/main" id="{174551AE-B812-475E-9C8D-EDBC06AF1CF1}"/>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21" name="Rechthoek 120">
              <a:extLst>
                <a:ext uri="{FF2B5EF4-FFF2-40B4-BE49-F238E27FC236}">
                  <a16:creationId xmlns:a16="http://schemas.microsoft.com/office/drawing/2014/main" id="{9B95EBBE-6D90-41E5-81E5-73CBFE94C9B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22" name="Ovaal 121">
              <a:extLst>
                <a:ext uri="{FF2B5EF4-FFF2-40B4-BE49-F238E27FC236}">
                  <a16:creationId xmlns:a16="http://schemas.microsoft.com/office/drawing/2014/main" id="{2F693204-8FC2-4262-9B8D-C8A1DC78A83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3" name="Rechthoek 122">
              <a:extLst>
                <a:ext uri="{FF2B5EF4-FFF2-40B4-BE49-F238E27FC236}">
                  <a16:creationId xmlns:a16="http://schemas.microsoft.com/office/drawing/2014/main" id="{9D910C84-64BC-4B44-99CC-D518BDABB44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4" name="Groep 123">
              <a:extLst>
                <a:ext uri="{FF2B5EF4-FFF2-40B4-BE49-F238E27FC236}">
                  <a16:creationId xmlns:a16="http://schemas.microsoft.com/office/drawing/2014/main" id="{029F6E04-D581-45EE-9126-1E41E7A0D32C}"/>
                </a:ext>
              </a:extLst>
            </p:cNvPr>
            <p:cNvGrpSpPr/>
            <p:nvPr userDrawn="1"/>
          </p:nvGrpSpPr>
          <p:grpSpPr>
            <a:xfrm>
              <a:off x="12757282" y="2184550"/>
              <a:ext cx="825500" cy="209550"/>
              <a:chOff x="13504624" y="2482850"/>
              <a:chExt cx="825500" cy="209550"/>
            </a:xfrm>
          </p:grpSpPr>
          <p:sp>
            <p:nvSpPr>
              <p:cNvPr id="130" name="Rechthoek 129">
                <a:extLst>
                  <a:ext uri="{FF2B5EF4-FFF2-40B4-BE49-F238E27FC236}">
                    <a16:creationId xmlns:a16="http://schemas.microsoft.com/office/drawing/2014/main" id="{DF37DFEE-AFA8-4127-808D-5D280B38CD7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31" name="Rechte verbindingslijn 130">
                <a:extLst>
                  <a:ext uri="{FF2B5EF4-FFF2-40B4-BE49-F238E27FC236}">
                    <a16:creationId xmlns:a16="http://schemas.microsoft.com/office/drawing/2014/main" id="{CC68BF2A-7AAB-480B-A561-A11C86618FD7}"/>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2" name="Gelijkbenige driehoek 131">
                <a:extLst>
                  <a:ext uri="{FF2B5EF4-FFF2-40B4-BE49-F238E27FC236}">
                    <a16:creationId xmlns:a16="http://schemas.microsoft.com/office/drawing/2014/main" id="{48B07EF8-B072-4AE3-9581-30A74C6EED4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25" name="Rechte verbindingslijn 124">
              <a:extLst>
                <a:ext uri="{FF2B5EF4-FFF2-40B4-BE49-F238E27FC236}">
                  <a16:creationId xmlns:a16="http://schemas.microsoft.com/office/drawing/2014/main" id="{EEC339AF-A3F8-44EE-9B60-F88860AA70CE}"/>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6" name="Groep 125">
              <a:extLst>
                <a:ext uri="{FF2B5EF4-FFF2-40B4-BE49-F238E27FC236}">
                  <a16:creationId xmlns:a16="http://schemas.microsoft.com/office/drawing/2014/main" id="{C7530F7E-690B-43D8-B458-38660E687B16}"/>
                </a:ext>
              </a:extLst>
            </p:cNvPr>
            <p:cNvGrpSpPr/>
            <p:nvPr userDrawn="1"/>
          </p:nvGrpSpPr>
          <p:grpSpPr>
            <a:xfrm>
              <a:off x="12751697" y="1147804"/>
              <a:ext cx="289372" cy="314992"/>
              <a:chOff x="7322769" y="-310267"/>
              <a:chExt cx="289372" cy="314992"/>
            </a:xfrm>
          </p:grpSpPr>
          <p:sp>
            <p:nvSpPr>
              <p:cNvPr id="127" name="Rechthoek 126">
                <a:extLst>
                  <a:ext uri="{FF2B5EF4-FFF2-40B4-BE49-F238E27FC236}">
                    <a16:creationId xmlns:a16="http://schemas.microsoft.com/office/drawing/2014/main" id="{D4D76B4B-838B-40FF-A231-2A9F0116A20B}"/>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8" name="Rechthoek 127">
                <a:extLst>
                  <a:ext uri="{FF2B5EF4-FFF2-40B4-BE49-F238E27FC236}">
                    <a16:creationId xmlns:a16="http://schemas.microsoft.com/office/drawing/2014/main" id="{766D3481-A145-4D5E-BF55-6E1527E3CF10}"/>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9" name="Rechthoek 128">
                <a:extLst>
                  <a:ext uri="{FF2B5EF4-FFF2-40B4-BE49-F238E27FC236}">
                    <a16:creationId xmlns:a16="http://schemas.microsoft.com/office/drawing/2014/main" id="{58548B2C-AD7E-4C04-844D-4F3D9992D25B}"/>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18333602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FIEK 6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13254E2-DD21-4EBE-B2B8-B775B9F15DC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GRAFIEK 6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8188000"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0" y="333899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7828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BAA97654-86F5-45C9-B8DC-C6648BCE9369}"/>
                </a:ext>
              </a:extLst>
            </p:cNvPr>
            <p:cNvSpPr/>
            <p:nvPr userDrawn="1"/>
          </p:nvSpPr>
          <p:spPr>
            <a:xfrm>
              <a:off x="4004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8188000"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6" name="Tijdelijke aanduiding voor grafiek 17">
            <a:extLst>
              <a:ext uri="{FF2B5EF4-FFF2-40B4-BE49-F238E27FC236}">
                <a16:creationId xmlns:a16="http://schemas.microsoft.com/office/drawing/2014/main" id="{6424E38A-BE64-4611-8EA6-56DEDA6F1288}"/>
              </a:ext>
            </a:extLst>
          </p:cNvPr>
          <p:cNvSpPr>
            <a:spLocks noGrp="1"/>
          </p:cNvSpPr>
          <p:nvPr>
            <p:ph type="chart" sz="quarter" idx="18" hasCustomPrompt="1"/>
          </p:nvPr>
        </p:nvSpPr>
        <p:spPr>
          <a:xfrm>
            <a:off x="4364000"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7" name="Tijdelijke aanduiding voor grafiek 17">
            <a:extLst>
              <a:ext uri="{FF2B5EF4-FFF2-40B4-BE49-F238E27FC236}">
                <a16:creationId xmlns:a16="http://schemas.microsoft.com/office/drawing/2014/main" id="{B1695F49-FFC5-4D3F-8068-C37855441895}"/>
              </a:ext>
            </a:extLst>
          </p:cNvPr>
          <p:cNvSpPr>
            <a:spLocks noGrp="1"/>
          </p:cNvSpPr>
          <p:nvPr>
            <p:ph type="chart" sz="quarter" idx="19" hasCustomPrompt="1"/>
          </p:nvPr>
        </p:nvSpPr>
        <p:spPr>
          <a:xfrm>
            <a:off x="4364000"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9" name="Tijdelijke aanduiding voor grafiek 17">
            <a:extLst>
              <a:ext uri="{FF2B5EF4-FFF2-40B4-BE49-F238E27FC236}">
                <a16:creationId xmlns:a16="http://schemas.microsoft.com/office/drawing/2014/main" id="{003DE491-9024-41A1-8C44-E5F48C4282C7}"/>
              </a:ext>
            </a:extLst>
          </p:cNvPr>
          <p:cNvSpPr>
            <a:spLocks noGrp="1"/>
          </p:cNvSpPr>
          <p:nvPr>
            <p:ph type="chart" sz="quarter" idx="20" hasCustomPrompt="1"/>
          </p:nvPr>
        </p:nvSpPr>
        <p:spPr>
          <a:xfrm>
            <a:off x="540127"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40" name="Tijdelijke aanduiding voor grafiek 17">
            <a:extLst>
              <a:ext uri="{FF2B5EF4-FFF2-40B4-BE49-F238E27FC236}">
                <a16:creationId xmlns:a16="http://schemas.microsoft.com/office/drawing/2014/main" id="{A6D5BEE5-306C-4A04-8C32-A0EF58D14A11}"/>
              </a:ext>
            </a:extLst>
          </p:cNvPr>
          <p:cNvSpPr>
            <a:spLocks noGrp="1"/>
          </p:cNvSpPr>
          <p:nvPr>
            <p:ph type="chart" sz="quarter" idx="21" hasCustomPrompt="1"/>
          </p:nvPr>
        </p:nvSpPr>
        <p:spPr>
          <a:xfrm>
            <a:off x="540127"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97" name="Instructie">
            <a:extLst>
              <a:ext uri="{FF2B5EF4-FFF2-40B4-BE49-F238E27FC236}">
                <a16:creationId xmlns:a16="http://schemas.microsoft.com/office/drawing/2014/main" id="{13194E2B-853F-42B4-BC09-4D7932FAFD06}"/>
              </a:ext>
            </a:extLst>
          </p:cNvPr>
          <p:cNvGrpSpPr/>
          <p:nvPr userDrawn="1"/>
        </p:nvGrpSpPr>
        <p:grpSpPr>
          <a:xfrm>
            <a:off x="12389714" y="5221435"/>
            <a:ext cx="3183677" cy="1636565"/>
            <a:chOff x="12389714" y="4327164"/>
            <a:chExt cx="3183677" cy="1636565"/>
          </a:xfrm>
        </p:grpSpPr>
        <p:cxnSp>
          <p:nvCxnSpPr>
            <p:cNvPr id="98" name="Rechte verbindingslijn 97">
              <a:extLst>
                <a:ext uri="{FF2B5EF4-FFF2-40B4-BE49-F238E27FC236}">
                  <a16:creationId xmlns:a16="http://schemas.microsoft.com/office/drawing/2014/main" id="{BB38122D-C6F3-4332-8056-8341B6673B4D}"/>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99" name="Rechthoek 98">
              <a:extLst>
                <a:ext uri="{FF2B5EF4-FFF2-40B4-BE49-F238E27FC236}">
                  <a16:creationId xmlns:a16="http://schemas.microsoft.com/office/drawing/2014/main" id="{19F9BA8B-41E4-405B-9E81-1C20E9163CE8}"/>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100" name="Ovaal 99">
              <a:extLst>
                <a:ext uri="{FF2B5EF4-FFF2-40B4-BE49-F238E27FC236}">
                  <a16:creationId xmlns:a16="http://schemas.microsoft.com/office/drawing/2014/main" id="{29505446-F8AC-4043-B951-C4913699006F}"/>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FD4A8074-C572-44B8-8821-4B2172E143D2}"/>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102" name="Rechthoek 101">
              <a:extLst>
                <a:ext uri="{FF2B5EF4-FFF2-40B4-BE49-F238E27FC236}">
                  <a16:creationId xmlns:a16="http://schemas.microsoft.com/office/drawing/2014/main" id="{1DAFFA69-F1A9-458F-A6A0-1AE4AA0766CC}"/>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103" name="Groep 102">
              <a:extLst>
                <a:ext uri="{FF2B5EF4-FFF2-40B4-BE49-F238E27FC236}">
                  <a16:creationId xmlns:a16="http://schemas.microsoft.com/office/drawing/2014/main" id="{4C675318-3168-4CD1-B365-5FCFDD301AC8}"/>
                </a:ext>
              </a:extLst>
            </p:cNvPr>
            <p:cNvGrpSpPr/>
            <p:nvPr userDrawn="1"/>
          </p:nvGrpSpPr>
          <p:grpSpPr>
            <a:xfrm>
              <a:off x="12755394" y="5222855"/>
              <a:ext cx="1714530" cy="639425"/>
              <a:chOff x="12757283" y="4365594"/>
              <a:chExt cx="1714530" cy="639425"/>
            </a:xfrm>
          </p:grpSpPr>
          <p:sp>
            <p:nvSpPr>
              <p:cNvPr id="104" name="Rechthoek 103">
                <a:extLst>
                  <a:ext uri="{FF2B5EF4-FFF2-40B4-BE49-F238E27FC236}">
                    <a16:creationId xmlns:a16="http://schemas.microsoft.com/office/drawing/2014/main" id="{DC726EED-46A6-4A9C-9304-2BEBB7B05955}"/>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5" name="Rechthoek 104">
                <a:extLst>
                  <a:ext uri="{FF2B5EF4-FFF2-40B4-BE49-F238E27FC236}">
                    <a16:creationId xmlns:a16="http://schemas.microsoft.com/office/drawing/2014/main" id="{99F5FC6A-F758-454A-8293-0BE72EF0D051}"/>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6" name="Tekstvak 105">
                <a:extLst>
                  <a:ext uri="{FF2B5EF4-FFF2-40B4-BE49-F238E27FC236}">
                    <a16:creationId xmlns:a16="http://schemas.microsoft.com/office/drawing/2014/main" id="{D3B773C7-6FCD-42D9-AF45-254BCFEC5B96}"/>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107" name="Tekstvak 106">
                <a:extLst>
                  <a:ext uri="{FF2B5EF4-FFF2-40B4-BE49-F238E27FC236}">
                    <a16:creationId xmlns:a16="http://schemas.microsoft.com/office/drawing/2014/main" id="{609E0AD4-B3AF-4B98-89EB-7CD241DE5A74}"/>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108" name="Picture 3">
                <a:extLst>
                  <a:ext uri="{FF2B5EF4-FFF2-40B4-BE49-F238E27FC236}">
                    <a16:creationId xmlns:a16="http://schemas.microsoft.com/office/drawing/2014/main" id="{A58C0630-4923-44D0-A4D3-4AB96A8211D4}"/>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9" name="Groep 108">
                <a:extLst>
                  <a:ext uri="{FF2B5EF4-FFF2-40B4-BE49-F238E27FC236}">
                    <a16:creationId xmlns:a16="http://schemas.microsoft.com/office/drawing/2014/main" id="{45E1B365-B2CE-4BEB-9A3A-46D96EB15E7D}"/>
                  </a:ext>
                </a:extLst>
              </p:cNvPr>
              <p:cNvGrpSpPr/>
              <p:nvPr userDrawn="1"/>
            </p:nvGrpSpPr>
            <p:grpSpPr>
              <a:xfrm>
                <a:off x="12831198" y="4432250"/>
                <a:ext cx="139861" cy="152244"/>
                <a:chOff x="12574450" y="6053892"/>
                <a:chExt cx="169232" cy="184215"/>
              </a:xfrm>
            </p:grpSpPr>
            <p:sp>
              <p:nvSpPr>
                <p:cNvPr id="132" name="Rechthoek 131">
                  <a:extLst>
                    <a:ext uri="{FF2B5EF4-FFF2-40B4-BE49-F238E27FC236}">
                      <a16:creationId xmlns:a16="http://schemas.microsoft.com/office/drawing/2014/main" id="{F38A0856-2EDB-4BB8-9560-5512F6E5AAB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33" name="Rechthoek 132">
                  <a:extLst>
                    <a:ext uri="{FF2B5EF4-FFF2-40B4-BE49-F238E27FC236}">
                      <a16:creationId xmlns:a16="http://schemas.microsoft.com/office/drawing/2014/main" id="{D7255083-46DC-4D4C-AF5E-2BA28943E4AA}"/>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34" name="Rechthoek 133">
                  <a:extLst>
                    <a:ext uri="{FF2B5EF4-FFF2-40B4-BE49-F238E27FC236}">
                      <a16:creationId xmlns:a16="http://schemas.microsoft.com/office/drawing/2014/main" id="{A3EDB608-9F71-4CBD-B713-BCDB53A58BEE}"/>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110" name="Groep 109">
                <a:extLst>
                  <a:ext uri="{FF2B5EF4-FFF2-40B4-BE49-F238E27FC236}">
                    <a16:creationId xmlns:a16="http://schemas.microsoft.com/office/drawing/2014/main" id="{0CDB952C-DB40-4191-8EEB-A68F2253C313}"/>
                  </a:ext>
                </a:extLst>
              </p:cNvPr>
              <p:cNvGrpSpPr/>
              <p:nvPr userDrawn="1"/>
            </p:nvGrpSpPr>
            <p:grpSpPr>
              <a:xfrm>
                <a:off x="12831198" y="4748585"/>
                <a:ext cx="184916" cy="120210"/>
                <a:chOff x="8815516" y="1076284"/>
                <a:chExt cx="503174" cy="327105"/>
              </a:xfrm>
            </p:grpSpPr>
            <p:sp>
              <p:nvSpPr>
                <p:cNvPr id="111" name="Rechthoek 110">
                  <a:extLst>
                    <a:ext uri="{FF2B5EF4-FFF2-40B4-BE49-F238E27FC236}">
                      <a16:creationId xmlns:a16="http://schemas.microsoft.com/office/drawing/2014/main" id="{C2161DF8-E636-46F5-85DE-AECABB6833E9}"/>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12" name="Groep 111">
                  <a:extLst>
                    <a:ext uri="{FF2B5EF4-FFF2-40B4-BE49-F238E27FC236}">
                      <a16:creationId xmlns:a16="http://schemas.microsoft.com/office/drawing/2014/main" id="{06A1549E-87A1-4D4F-8C5E-79E3B1E0C377}"/>
                    </a:ext>
                  </a:extLst>
                </p:cNvPr>
                <p:cNvGrpSpPr/>
                <p:nvPr userDrawn="1"/>
              </p:nvGrpSpPr>
              <p:grpSpPr>
                <a:xfrm>
                  <a:off x="8815517" y="1076284"/>
                  <a:ext cx="503173" cy="327105"/>
                  <a:chOff x="1351248" y="-683635"/>
                  <a:chExt cx="503173" cy="327105"/>
                </a:xfrm>
              </p:grpSpPr>
              <p:grpSp>
                <p:nvGrpSpPr>
                  <p:cNvPr id="113" name="Groep 112">
                    <a:extLst>
                      <a:ext uri="{FF2B5EF4-FFF2-40B4-BE49-F238E27FC236}">
                        <a16:creationId xmlns:a16="http://schemas.microsoft.com/office/drawing/2014/main" id="{0161C977-A0B3-42C9-AC5A-875BEF2CED93}"/>
                      </a:ext>
                    </a:extLst>
                  </p:cNvPr>
                  <p:cNvGrpSpPr/>
                  <p:nvPr userDrawn="1"/>
                </p:nvGrpSpPr>
                <p:grpSpPr>
                  <a:xfrm>
                    <a:off x="1351248" y="-683635"/>
                    <a:ext cx="375186" cy="293652"/>
                    <a:chOff x="1094874" y="-884923"/>
                    <a:chExt cx="884668" cy="692417"/>
                  </a:xfrm>
                </p:grpSpPr>
                <p:sp>
                  <p:nvSpPr>
                    <p:cNvPr id="118" name="Rechthoek 117">
                      <a:extLst>
                        <a:ext uri="{FF2B5EF4-FFF2-40B4-BE49-F238E27FC236}">
                          <a16:creationId xmlns:a16="http://schemas.microsoft.com/office/drawing/2014/main" id="{CC18F0A2-AEDD-49F0-9862-640BB3404DC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19" name="Groep 118">
                      <a:extLst>
                        <a:ext uri="{FF2B5EF4-FFF2-40B4-BE49-F238E27FC236}">
                          <a16:creationId xmlns:a16="http://schemas.microsoft.com/office/drawing/2014/main" id="{393B2DA3-DF69-4684-8A63-239482C84FA1}"/>
                        </a:ext>
                      </a:extLst>
                    </p:cNvPr>
                    <p:cNvGrpSpPr/>
                    <p:nvPr userDrawn="1"/>
                  </p:nvGrpSpPr>
                  <p:grpSpPr>
                    <a:xfrm>
                      <a:off x="1094874" y="-878306"/>
                      <a:ext cx="867364" cy="685800"/>
                      <a:chOff x="1094874" y="-878306"/>
                      <a:chExt cx="867364" cy="613611"/>
                    </a:xfrm>
                  </p:grpSpPr>
                  <p:cxnSp>
                    <p:nvCxnSpPr>
                      <p:cNvPr id="125" name="Rechte verbindingslijn 124">
                        <a:extLst>
                          <a:ext uri="{FF2B5EF4-FFF2-40B4-BE49-F238E27FC236}">
                            <a16:creationId xmlns:a16="http://schemas.microsoft.com/office/drawing/2014/main" id="{20DD65CA-80E5-4855-8695-EE7C4C62F98C}"/>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A933C377-6266-41AC-BF4C-EC7DE0BBDC9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7" name="Groep 126">
                        <a:extLst>
                          <a:ext uri="{FF2B5EF4-FFF2-40B4-BE49-F238E27FC236}">
                            <a16:creationId xmlns:a16="http://schemas.microsoft.com/office/drawing/2014/main" id="{163726D5-FF0E-4C61-8B47-5160B44C43E6}"/>
                          </a:ext>
                        </a:extLst>
                      </p:cNvPr>
                      <p:cNvGrpSpPr/>
                      <p:nvPr userDrawn="1"/>
                    </p:nvGrpSpPr>
                    <p:grpSpPr>
                      <a:xfrm>
                        <a:off x="1270535" y="-878306"/>
                        <a:ext cx="526983" cy="613611"/>
                        <a:chOff x="1270535" y="-745959"/>
                        <a:chExt cx="526983" cy="481264"/>
                      </a:xfrm>
                    </p:grpSpPr>
                    <p:cxnSp>
                      <p:nvCxnSpPr>
                        <p:cNvPr id="128" name="Rechte verbindingslijn 127">
                          <a:extLst>
                            <a:ext uri="{FF2B5EF4-FFF2-40B4-BE49-F238E27FC236}">
                              <a16:creationId xmlns:a16="http://schemas.microsoft.com/office/drawing/2014/main" id="{0B0F1F99-07B3-4331-87E8-15F9E3B258F7}"/>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128">
                          <a:extLst>
                            <a:ext uri="{FF2B5EF4-FFF2-40B4-BE49-F238E27FC236}">
                              <a16:creationId xmlns:a16="http://schemas.microsoft.com/office/drawing/2014/main" id="{5ECE029D-9A31-4B73-B8E8-F78B300A5C8A}"/>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0" name="Rechte verbindingslijn 129">
                          <a:extLst>
                            <a:ext uri="{FF2B5EF4-FFF2-40B4-BE49-F238E27FC236}">
                              <a16:creationId xmlns:a16="http://schemas.microsoft.com/office/drawing/2014/main" id="{5E87E8F3-9D42-483F-9F00-9AC0C038B95E}"/>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130">
                          <a:extLst>
                            <a:ext uri="{FF2B5EF4-FFF2-40B4-BE49-F238E27FC236}">
                              <a16:creationId xmlns:a16="http://schemas.microsoft.com/office/drawing/2014/main" id="{4608F6C0-4407-4B97-94FB-5625E51084D1}"/>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0" name="Rechte verbindingslijn 119">
                      <a:extLst>
                        <a:ext uri="{FF2B5EF4-FFF2-40B4-BE49-F238E27FC236}">
                          <a16:creationId xmlns:a16="http://schemas.microsoft.com/office/drawing/2014/main" id="{5B70499F-C65C-4BC1-9E41-A643348FD62A}"/>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1" name="Groep 120">
                      <a:extLst>
                        <a:ext uri="{FF2B5EF4-FFF2-40B4-BE49-F238E27FC236}">
                          <a16:creationId xmlns:a16="http://schemas.microsoft.com/office/drawing/2014/main" id="{1F097A24-534A-45E0-8D16-3D4D8C784B5C}"/>
                        </a:ext>
                      </a:extLst>
                    </p:cNvPr>
                    <p:cNvGrpSpPr/>
                    <p:nvPr userDrawn="1"/>
                  </p:nvGrpSpPr>
                  <p:grpSpPr>
                    <a:xfrm>
                      <a:off x="1094874" y="-607596"/>
                      <a:ext cx="878306" cy="276726"/>
                      <a:chOff x="1106905" y="-607596"/>
                      <a:chExt cx="878307" cy="276726"/>
                    </a:xfrm>
                  </p:grpSpPr>
                  <p:cxnSp>
                    <p:nvCxnSpPr>
                      <p:cNvPr id="122" name="Rechte verbindingslijn 121">
                        <a:extLst>
                          <a:ext uri="{FF2B5EF4-FFF2-40B4-BE49-F238E27FC236}">
                            <a16:creationId xmlns:a16="http://schemas.microsoft.com/office/drawing/2014/main" id="{2B508780-F1D6-45AE-AE9F-FE4E879A8AC7}"/>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8CFB54E0-2121-449E-8411-EE333BC548B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F0C5FBE4-DD0A-4E06-A803-6229B3978A6D}"/>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4" name="Groep 113">
                    <a:extLst>
                      <a:ext uri="{FF2B5EF4-FFF2-40B4-BE49-F238E27FC236}">
                        <a16:creationId xmlns:a16="http://schemas.microsoft.com/office/drawing/2014/main" id="{2553409B-D858-44B2-AC4F-F49A642120D5}"/>
                      </a:ext>
                    </a:extLst>
                  </p:cNvPr>
                  <p:cNvGrpSpPr/>
                  <p:nvPr userDrawn="1"/>
                </p:nvGrpSpPr>
                <p:grpSpPr>
                  <a:xfrm rot="2700000">
                    <a:off x="1605871" y="-605080"/>
                    <a:ext cx="90079" cy="407021"/>
                    <a:chOff x="3130062" y="-817193"/>
                    <a:chExt cx="131884" cy="595920"/>
                  </a:xfrm>
                  <a:solidFill>
                    <a:srgbClr val="3399FF"/>
                  </a:solidFill>
                </p:grpSpPr>
                <p:sp>
                  <p:nvSpPr>
                    <p:cNvPr id="115" name="Rechthoek 114">
                      <a:extLst>
                        <a:ext uri="{FF2B5EF4-FFF2-40B4-BE49-F238E27FC236}">
                          <a16:creationId xmlns:a16="http://schemas.microsoft.com/office/drawing/2014/main" id="{5DE63B94-976C-4E55-87A4-AD20E19DEDA7}"/>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6" name="Rechthoek: afgeronde bovenhoeken 115">
                      <a:extLst>
                        <a:ext uri="{FF2B5EF4-FFF2-40B4-BE49-F238E27FC236}">
                          <a16:creationId xmlns:a16="http://schemas.microsoft.com/office/drawing/2014/main" id="{0672ACBE-619A-4E76-B413-92AC1565D6B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7" name="Gelijkbenige driehoek 116">
                      <a:extLst>
                        <a:ext uri="{FF2B5EF4-FFF2-40B4-BE49-F238E27FC236}">
                          <a16:creationId xmlns:a16="http://schemas.microsoft.com/office/drawing/2014/main" id="{93CA82FF-9504-4BF1-B726-DC5564E76BD6}"/>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135" name="Instructie">
            <a:extLst>
              <a:ext uri="{FF2B5EF4-FFF2-40B4-BE49-F238E27FC236}">
                <a16:creationId xmlns:a16="http://schemas.microsoft.com/office/drawing/2014/main" id="{A5AF4D08-FA21-4BD4-B262-4B9EC24EEA7A}"/>
              </a:ext>
            </a:extLst>
          </p:cNvPr>
          <p:cNvGrpSpPr/>
          <p:nvPr userDrawn="1"/>
        </p:nvGrpSpPr>
        <p:grpSpPr>
          <a:xfrm>
            <a:off x="12391601" y="0"/>
            <a:ext cx="3183677" cy="2499789"/>
            <a:chOff x="12391601" y="0"/>
            <a:chExt cx="3183677" cy="2499789"/>
          </a:xfrm>
        </p:grpSpPr>
        <p:sp>
          <p:nvSpPr>
            <p:cNvPr id="136" name="Rechthoek 135">
              <a:extLst>
                <a:ext uri="{FF2B5EF4-FFF2-40B4-BE49-F238E27FC236}">
                  <a16:creationId xmlns:a16="http://schemas.microsoft.com/office/drawing/2014/main" id="{38DB5E56-3785-4550-B21D-B39A5DF5749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37" name="Ovaal 136">
              <a:extLst>
                <a:ext uri="{FF2B5EF4-FFF2-40B4-BE49-F238E27FC236}">
                  <a16:creationId xmlns:a16="http://schemas.microsoft.com/office/drawing/2014/main" id="{64F57F44-1AE2-4FEE-9E71-47DEE956B302}"/>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8" name="Rechte verbindingslijn 137">
              <a:extLst>
                <a:ext uri="{FF2B5EF4-FFF2-40B4-BE49-F238E27FC236}">
                  <a16:creationId xmlns:a16="http://schemas.microsoft.com/office/drawing/2014/main" id="{74B1CCF2-2AA7-4869-AFBE-71031E0DFE9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39" name="Rechte verbindingslijn 138">
              <a:extLst>
                <a:ext uri="{FF2B5EF4-FFF2-40B4-BE49-F238E27FC236}">
                  <a16:creationId xmlns:a16="http://schemas.microsoft.com/office/drawing/2014/main" id="{50738D44-AD9D-4500-B3D3-AE8F70D3E660}"/>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40" name="Rechthoek 139">
              <a:extLst>
                <a:ext uri="{FF2B5EF4-FFF2-40B4-BE49-F238E27FC236}">
                  <a16:creationId xmlns:a16="http://schemas.microsoft.com/office/drawing/2014/main" id="{C9BD92D2-77CE-494F-87BD-242E6F8D22D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41" name="Ovaal 140">
              <a:extLst>
                <a:ext uri="{FF2B5EF4-FFF2-40B4-BE49-F238E27FC236}">
                  <a16:creationId xmlns:a16="http://schemas.microsoft.com/office/drawing/2014/main" id="{3E4960AC-8606-4029-B067-2FA9B5EDB63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141">
              <a:extLst>
                <a:ext uri="{FF2B5EF4-FFF2-40B4-BE49-F238E27FC236}">
                  <a16:creationId xmlns:a16="http://schemas.microsoft.com/office/drawing/2014/main" id="{DC40E73F-31D9-4797-BF3A-55457503E68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3" name="Groep 142">
              <a:extLst>
                <a:ext uri="{FF2B5EF4-FFF2-40B4-BE49-F238E27FC236}">
                  <a16:creationId xmlns:a16="http://schemas.microsoft.com/office/drawing/2014/main" id="{C1D2757D-A6C2-4FC1-84E0-5DC01FB30E52}"/>
                </a:ext>
              </a:extLst>
            </p:cNvPr>
            <p:cNvGrpSpPr/>
            <p:nvPr userDrawn="1"/>
          </p:nvGrpSpPr>
          <p:grpSpPr>
            <a:xfrm>
              <a:off x="12757282" y="2184550"/>
              <a:ext cx="825500" cy="209550"/>
              <a:chOff x="13504624" y="2482850"/>
              <a:chExt cx="825500" cy="209550"/>
            </a:xfrm>
          </p:grpSpPr>
          <p:sp>
            <p:nvSpPr>
              <p:cNvPr id="149" name="Rechthoek 148">
                <a:extLst>
                  <a:ext uri="{FF2B5EF4-FFF2-40B4-BE49-F238E27FC236}">
                    <a16:creationId xmlns:a16="http://schemas.microsoft.com/office/drawing/2014/main" id="{B9A48355-ECC1-43B3-91E1-38F4A5E547C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50" name="Rechte verbindingslijn 149">
                <a:extLst>
                  <a:ext uri="{FF2B5EF4-FFF2-40B4-BE49-F238E27FC236}">
                    <a16:creationId xmlns:a16="http://schemas.microsoft.com/office/drawing/2014/main" id="{1EE11DAC-86D7-4741-8D87-2CE1BCC59D53}"/>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1" name="Gelijkbenige driehoek 150">
                <a:extLst>
                  <a:ext uri="{FF2B5EF4-FFF2-40B4-BE49-F238E27FC236}">
                    <a16:creationId xmlns:a16="http://schemas.microsoft.com/office/drawing/2014/main" id="{61FC52A6-A3B4-4693-BA25-F9CB12595E7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44" name="Rechte verbindingslijn 143">
              <a:extLst>
                <a:ext uri="{FF2B5EF4-FFF2-40B4-BE49-F238E27FC236}">
                  <a16:creationId xmlns:a16="http://schemas.microsoft.com/office/drawing/2014/main" id="{25BC9295-8F02-4159-B529-2F7C966D4CF1}"/>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45" name="Groep 144">
              <a:extLst>
                <a:ext uri="{FF2B5EF4-FFF2-40B4-BE49-F238E27FC236}">
                  <a16:creationId xmlns:a16="http://schemas.microsoft.com/office/drawing/2014/main" id="{9C74EC01-0A9F-42E7-A600-3D91A3F1B442}"/>
                </a:ext>
              </a:extLst>
            </p:cNvPr>
            <p:cNvGrpSpPr/>
            <p:nvPr userDrawn="1"/>
          </p:nvGrpSpPr>
          <p:grpSpPr>
            <a:xfrm>
              <a:off x="12751697" y="1147804"/>
              <a:ext cx="289372" cy="314992"/>
              <a:chOff x="7322769" y="-310267"/>
              <a:chExt cx="289372" cy="314992"/>
            </a:xfrm>
          </p:grpSpPr>
          <p:sp>
            <p:nvSpPr>
              <p:cNvPr id="146" name="Rechthoek 145">
                <a:extLst>
                  <a:ext uri="{FF2B5EF4-FFF2-40B4-BE49-F238E27FC236}">
                    <a16:creationId xmlns:a16="http://schemas.microsoft.com/office/drawing/2014/main" id="{1E7FFB0A-3282-4AE0-B8ED-8FCB980FDC06}"/>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47" name="Rechthoek 146">
                <a:extLst>
                  <a:ext uri="{FF2B5EF4-FFF2-40B4-BE49-F238E27FC236}">
                    <a16:creationId xmlns:a16="http://schemas.microsoft.com/office/drawing/2014/main" id="{5AB6B49D-D371-4FC8-B3E8-5C7C81960E13}"/>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48" name="Rechthoek 147">
                <a:extLst>
                  <a:ext uri="{FF2B5EF4-FFF2-40B4-BE49-F238E27FC236}">
                    <a16:creationId xmlns:a16="http://schemas.microsoft.com/office/drawing/2014/main" id="{5AC35588-AF4C-4DBA-ABB8-6EFB4682A32F}"/>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5617965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 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3EE0DD37-A7B2-43D2-A42E-4EB7E7E9F02C}"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TABEL</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1" y="1459112"/>
            <a:ext cx="5015239" cy="4119774"/>
          </a:xfrm>
          <a:solidFill>
            <a:schemeClr val="bg1">
              <a:lumMod val="95000"/>
            </a:schemeClr>
          </a:solidFill>
        </p:spPr>
        <p:txBody>
          <a:bodyPr tIns="16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99" name="Instructie">
            <a:extLst>
              <a:ext uri="{FF2B5EF4-FFF2-40B4-BE49-F238E27FC236}">
                <a16:creationId xmlns:a16="http://schemas.microsoft.com/office/drawing/2014/main" id="{544B0AF8-4987-47C9-A21F-16B0BF207D6D}"/>
              </a:ext>
            </a:extLst>
          </p:cNvPr>
          <p:cNvGrpSpPr/>
          <p:nvPr userDrawn="1"/>
        </p:nvGrpSpPr>
        <p:grpSpPr>
          <a:xfrm>
            <a:off x="12391601" y="0"/>
            <a:ext cx="3183677" cy="2499789"/>
            <a:chOff x="12391601" y="0"/>
            <a:chExt cx="3183677" cy="2499789"/>
          </a:xfrm>
        </p:grpSpPr>
        <p:sp>
          <p:nvSpPr>
            <p:cNvPr id="101" name="Rechthoek 100">
              <a:extLst>
                <a:ext uri="{FF2B5EF4-FFF2-40B4-BE49-F238E27FC236}">
                  <a16:creationId xmlns:a16="http://schemas.microsoft.com/office/drawing/2014/main" id="{512D667A-1BB3-4DFE-94B1-6B51E0AE610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102" name="Ovaal 101">
              <a:extLst>
                <a:ext uri="{FF2B5EF4-FFF2-40B4-BE49-F238E27FC236}">
                  <a16:creationId xmlns:a16="http://schemas.microsoft.com/office/drawing/2014/main" id="{5905257C-8E3C-43B1-95B5-3C1D64179B3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3" name="Rechte verbindingslijn 102">
              <a:extLst>
                <a:ext uri="{FF2B5EF4-FFF2-40B4-BE49-F238E27FC236}">
                  <a16:creationId xmlns:a16="http://schemas.microsoft.com/office/drawing/2014/main" id="{1A094B61-EB26-45DA-A93A-F0CE99D6FC4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04" name="Rechte verbindingslijn 103">
              <a:extLst>
                <a:ext uri="{FF2B5EF4-FFF2-40B4-BE49-F238E27FC236}">
                  <a16:creationId xmlns:a16="http://schemas.microsoft.com/office/drawing/2014/main" id="{991D85DD-F766-4372-B80C-75ED8F1441A9}"/>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05" name="Rechthoek 104">
              <a:extLst>
                <a:ext uri="{FF2B5EF4-FFF2-40B4-BE49-F238E27FC236}">
                  <a16:creationId xmlns:a16="http://schemas.microsoft.com/office/drawing/2014/main" id="{0649B64E-FC8F-485F-BEAE-E2E0C440D15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06" name="Ovaal 105">
              <a:extLst>
                <a:ext uri="{FF2B5EF4-FFF2-40B4-BE49-F238E27FC236}">
                  <a16:creationId xmlns:a16="http://schemas.microsoft.com/office/drawing/2014/main" id="{C968BB5A-108A-4CBC-89E6-F4B7B2DF7FB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7" name="Rechthoek 106">
              <a:extLst>
                <a:ext uri="{FF2B5EF4-FFF2-40B4-BE49-F238E27FC236}">
                  <a16:creationId xmlns:a16="http://schemas.microsoft.com/office/drawing/2014/main" id="{97354753-DA63-47D2-B445-00FD49152F9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8" name="Groep 107">
              <a:extLst>
                <a:ext uri="{FF2B5EF4-FFF2-40B4-BE49-F238E27FC236}">
                  <a16:creationId xmlns:a16="http://schemas.microsoft.com/office/drawing/2014/main" id="{99C1D1AF-EE92-41D8-BCB2-CED0D3A83D23}"/>
                </a:ext>
              </a:extLst>
            </p:cNvPr>
            <p:cNvGrpSpPr/>
            <p:nvPr userDrawn="1"/>
          </p:nvGrpSpPr>
          <p:grpSpPr>
            <a:xfrm>
              <a:off x="12757282" y="2184550"/>
              <a:ext cx="825500" cy="209550"/>
              <a:chOff x="13504624" y="2482850"/>
              <a:chExt cx="825500" cy="209550"/>
            </a:xfrm>
          </p:grpSpPr>
          <p:sp>
            <p:nvSpPr>
              <p:cNvPr id="119" name="Rechthoek 118">
                <a:extLst>
                  <a:ext uri="{FF2B5EF4-FFF2-40B4-BE49-F238E27FC236}">
                    <a16:creationId xmlns:a16="http://schemas.microsoft.com/office/drawing/2014/main" id="{06FABB53-151D-4CA0-8597-6DBD0BD2897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120" name="Rechte verbindingslijn 119">
                <a:extLst>
                  <a:ext uri="{FF2B5EF4-FFF2-40B4-BE49-F238E27FC236}">
                    <a16:creationId xmlns:a16="http://schemas.microsoft.com/office/drawing/2014/main" id="{9C209AAD-4B3D-44CF-9D6A-ED6B0D82C07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1" name="Gelijkbenige driehoek 120">
                <a:extLst>
                  <a:ext uri="{FF2B5EF4-FFF2-40B4-BE49-F238E27FC236}">
                    <a16:creationId xmlns:a16="http://schemas.microsoft.com/office/drawing/2014/main" id="{86BE9A17-87F1-4C12-A6E9-0C0965B02CB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09" name="Rechte verbindingslijn 108">
              <a:extLst>
                <a:ext uri="{FF2B5EF4-FFF2-40B4-BE49-F238E27FC236}">
                  <a16:creationId xmlns:a16="http://schemas.microsoft.com/office/drawing/2014/main" id="{F5C2FE27-5B46-449A-88AF-08E8F20B829A}"/>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10" name="Tabel icoon">
              <a:extLst>
                <a:ext uri="{FF2B5EF4-FFF2-40B4-BE49-F238E27FC236}">
                  <a16:creationId xmlns:a16="http://schemas.microsoft.com/office/drawing/2014/main" id="{C80DAAD0-3DF6-4AA8-B448-DA7E915208E2}"/>
                </a:ext>
              </a:extLst>
            </p:cNvPr>
            <p:cNvGrpSpPr/>
            <p:nvPr userDrawn="1"/>
          </p:nvGrpSpPr>
          <p:grpSpPr>
            <a:xfrm>
              <a:off x="12757283" y="1133664"/>
              <a:ext cx="375500" cy="339168"/>
              <a:chOff x="6072040" y="3376043"/>
              <a:chExt cx="1227920" cy="1109109"/>
            </a:xfrm>
          </p:grpSpPr>
          <p:sp>
            <p:nvSpPr>
              <p:cNvPr id="111" name="Rechthoek 110">
                <a:extLst>
                  <a:ext uri="{FF2B5EF4-FFF2-40B4-BE49-F238E27FC236}">
                    <a16:creationId xmlns:a16="http://schemas.microsoft.com/office/drawing/2014/main" id="{EE576A51-B28D-42FA-A87F-7BA3A0E34559}"/>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2" name="Rechthoek 111">
                <a:extLst>
                  <a:ext uri="{FF2B5EF4-FFF2-40B4-BE49-F238E27FC236}">
                    <a16:creationId xmlns:a16="http://schemas.microsoft.com/office/drawing/2014/main" id="{2F016D00-73DB-41B7-AA52-64C45233715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113" name="Rechte verbindingslijn 112">
                <a:extLst>
                  <a:ext uri="{FF2B5EF4-FFF2-40B4-BE49-F238E27FC236}">
                    <a16:creationId xmlns:a16="http://schemas.microsoft.com/office/drawing/2014/main" id="{CB60518A-D9E5-4CBD-A56F-E4579B47E099}"/>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1AB06018-A400-47C3-A0C2-8EF6DE0559C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D295F766-CD19-4DBD-9905-EED629FF9984}"/>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a:extLst>
                  <a:ext uri="{FF2B5EF4-FFF2-40B4-BE49-F238E27FC236}">
                    <a16:creationId xmlns:a16="http://schemas.microsoft.com/office/drawing/2014/main" id="{DD0406A0-274F-47C9-A6F6-E8E07A8D6592}"/>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a:extLst>
                  <a:ext uri="{FF2B5EF4-FFF2-40B4-BE49-F238E27FC236}">
                    <a16:creationId xmlns:a16="http://schemas.microsoft.com/office/drawing/2014/main" id="{7386C022-B91D-4614-9598-378E3DBA0C32}"/>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8" name="Rechthoek 117">
                <a:extLst>
                  <a:ext uri="{FF2B5EF4-FFF2-40B4-BE49-F238E27FC236}">
                    <a16:creationId xmlns:a16="http://schemas.microsoft.com/office/drawing/2014/main" id="{079A4A57-8ABB-486C-9488-376A6A8CAA20}"/>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nvGrpSpPr>
          <p:cNvPr id="206" name="Instructie">
            <a:extLst>
              <a:ext uri="{FF2B5EF4-FFF2-40B4-BE49-F238E27FC236}">
                <a16:creationId xmlns:a16="http://schemas.microsoft.com/office/drawing/2014/main" id="{7224A746-4A5D-4025-94CF-555D9808ACE5}"/>
              </a:ext>
            </a:extLst>
          </p:cNvPr>
          <p:cNvGrpSpPr/>
          <p:nvPr userDrawn="1"/>
        </p:nvGrpSpPr>
        <p:grpSpPr>
          <a:xfrm>
            <a:off x="-3437547" y="1434"/>
            <a:ext cx="3201327" cy="6041867"/>
            <a:chOff x="-3437547" y="1434"/>
            <a:chExt cx="3201327" cy="6041867"/>
          </a:xfrm>
        </p:grpSpPr>
        <p:cxnSp>
          <p:nvCxnSpPr>
            <p:cNvPr id="207" name="Rechte verbindingslijn 206">
              <a:extLst>
                <a:ext uri="{FF2B5EF4-FFF2-40B4-BE49-F238E27FC236}">
                  <a16:creationId xmlns:a16="http://schemas.microsoft.com/office/drawing/2014/main" id="{749A5422-59A9-4CAB-A00B-19791DD07AF8}"/>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08" name="Ovaal 207">
              <a:extLst>
                <a:ext uri="{FF2B5EF4-FFF2-40B4-BE49-F238E27FC236}">
                  <a16:creationId xmlns:a16="http://schemas.microsoft.com/office/drawing/2014/main" id="{B56529BA-539E-4637-8EE1-48182CD5A9EB}"/>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09" name="Rechthoek 208">
              <a:extLst>
                <a:ext uri="{FF2B5EF4-FFF2-40B4-BE49-F238E27FC236}">
                  <a16:creationId xmlns:a16="http://schemas.microsoft.com/office/drawing/2014/main" id="{AE93292F-CF43-4BDA-A221-F1A25805F319}"/>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10" name="Ovaal 209">
              <a:extLst>
                <a:ext uri="{FF2B5EF4-FFF2-40B4-BE49-F238E27FC236}">
                  <a16:creationId xmlns:a16="http://schemas.microsoft.com/office/drawing/2014/main" id="{675FAF3C-86BD-4B0C-86DE-FB783EEFC3C6}"/>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1" name="Rechthoek 210">
              <a:extLst>
                <a:ext uri="{FF2B5EF4-FFF2-40B4-BE49-F238E27FC236}">
                  <a16:creationId xmlns:a16="http://schemas.microsoft.com/office/drawing/2014/main" id="{F6DF46ED-9579-4CCE-80B9-494C1883BA41}"/>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12" name="Ovaal 211">
              <a:extLst>
                <a:ext uri="{FF2B5EF4-FFF2-40B4-BE49-F238E27FC236}">
                  <a16:creationId xmlns:a16="http://schemas.microsoft.com/office/drawing/2014/main" id="{80247F70-FD4C-4F20-8F26-9F4D51B85EE1}"/>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3" name="Rechthoek 212">
              <a:extLst>
                <a:ext uri="{FF2B5EF4-FFF2-40B4-BE49-F238E27FC236}">
                  <a16:creationId xmlns:a16="http://schemas.microsoft.com/office/drawing/2014/main" id="{0DAB1F65-9FC2-48AA-A68D-E2909AF433AA}"/>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14" name="Ovaal 213">
              <a:extLst>
                <a:ext uri="{FF2B5EF4-FFF2-40B4-BE49-F238E27FC236}">
                  <a16:creationId xmlns:a16="http://schemas.microsoft.com/office/drawing/2014/main" id="{F532BDDB-7573-43BA-9AA6-73EA382D430E}"/>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214">
              <a:extLst>
                <a:ext uri="{FF2B5EF4-FFF2-40B4-BE49-F238E27FC236}">
                  <a16:creationId xmlns:a16="http://schemas.microsoft.com/office/drawing/2014/main" id="{D12A4689-58CD-4047-8B56-B2F79242B7BF}"/>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216" name="Rechthoek 215">
              <a:extLst>
                <a:ext uri="{FF2B5EF4-FFF2-40B4-BE49-F238E27FC236}">
                  <a16:creationId xmlns:a16="http://schemas.microsoft.com/office/drawing/2014/main" id="{0D88D931-17FF-4BAA-8A2D-F401DF0C66D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17" name="Ovaal 216">
              <a:extLst>
                <a:ext uri="{FF2B5EF4-FFF2-40B4-BE49-F238E27FC236}">
                  <a16:creationId xmlns:a16="http://schemas.microsoft.com/office/drawing/2014/main" id="{0F88B1B4-B1EF-4E96-8731-FFCDEC2EF660}"/>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8" name="Rechte verbindingslijn 217">
              <a:extLst>
                <a:ext uri="{FF2B5EF4-FFF2-40B4-BE49-F238E27FC236}">
                  <a16:creationId xmlns:a16="http://schemas.microsoft.com/office/drawing/2014/main" id="{38565EF9-EF5B-4925-B762-FE86D022B16E}"/>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19" name="Groep 218">
              <a:extLst>
                <a:ext uri="{FF2B5EF4-FFF2-40B4-BE49-F238E27FC236}">
                  <a16:creationId xmlns:a16="http://schemas.microsoft.com/office/drawing/2014/main" id="{507938DC-6B7D-409C-871F-0FE8C0085BEE}"/>
                </a:ext>
              </a:extLst>
            </p:cNvPr>
            <p:cNvGrpSpPr/>
            <p:nvPr userDrawn="1"/>
          </p:nvGrpSpPr>
          <p:grpSpPr>
            <a:xfrm>
              <a:off x="-3437547" y="1295337"/>
              <a:ext cx="2933825" cy="558875"/>
              <a:chOff x="-3419346" y="368233"/>
              <a:chExt cx="3904920" cy="743862"/>
            </a:xfrm>
          </p:grpSpPr>
          <p:sp>
            <p:nvSpPr>
              <p:cNvPr id="236" name="Rechthoek 235">
                <a:extLst>
                  <a:ext uri="{FF2B5EF4-FFF2-40B4-BE49-F238E27FC236}">
                    <a16:creationId xmlns:a16="http://schemas.microsoft.com/office/drawing/2014/main" id="{BFFDAE03-8C88-491A-9930-5CEF5F0B0DB1}"/>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37" name="Rechte verbindingslijn 236">
                <a:extLst>
                  <a:ext uri="{FF2B5EF4-FFF2-40B4-BE49-F238E27FC236}">
                    <a16:creationId xmlns:a16="http://schemas.microsoft.com/office/drawing/2014/main" id="{2BF549A7-CFA6-4090-A8B6-EE2C4D77CD1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237">
                <a:extLst>
                  <a:ext uri="{FF2B5EF4-FFF2-40B4-BE49-F238E27FC236}">
                    <a16:creationId xmlns:a16="http://schemas.microsoft.com/office/drawing/2014/main" id="{4191EEF6-DB98-41D6-9095-C9181CE8735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238">
                <a:extLst>
                  <a:ext uri="{FF2B5EF4-FFF2-40B4-BE49-F238E27FC236}">
                    <a16:creationId xmlns:a16="http://schemas.microsoft.com/office/drawing/2014/main" id="{2C5BFF58-2B59-4CC0-B518-18C524072F0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40" name="Groep 239">
                <a:extLst>
                  <a:ext uri="{FF2B5EF4-FFF2-40B4-BE49-F238E27FC236}">
                    <a16:creationId xmlns:a16="http://schemas.microsoft.com/office/drawing/2014/main" id="{8AAD3B27-B0E6-4E88-B955-1DD00D326443}"/>
                  </a:ext>
                </a:extLst>
              </p:cNvPr>
              <p:cNvGrpSpPr/>
              <p:nvPr userDrawn="1"/>
            </p:nvGrpSpPr>
            <p:grpSpPr>
              <a:xfrm>
                <a:off x="-3002834" y="720303"/>
                <a:ext cx="182598" cy="143759"/>
                <a:chOff x="-3310843" y="700986"/>
                <a:chExt cx="182598" cy="143759"/>
              </a:xfrm>
            </p:grpSpPr>
            <p:grpSp>
              <p:nvGrpSpPr>
                <p:cNvPr id="279" name="Groep 278">
                  <a:extLst>
                    <a:ext uri="{FF2B5EF4-FFF2-40B4-BE49-F238E27FC236}">
                      <a16:creationId xmlns:a16="http://schemas.microsoft.com/office/drawing/2014/main" id="{14F9BB0C-AA70-449C-AFE0-B3E2BEB61A1B}"/>
                    </a:ext>
                  </a:extLst>
                </p:cNvPr>
                <p:cNvGrpSpPr/>
                <p:nvPr userDrawn="1"/>
              </p:nvGrpSpPr>
              <p:grpSpPr>
                <a:xfrm>
                  <a:off x="-3310843" y="700986"/>
                  <a:ext cx="182598" cy="143759"/>
                  <a:chOff x="-3310843" y="700986"/>
                  <a:chExt cx="182598" cy="143759"/>
                </a:xfrm>
              </p:grpSpPr>
              <p:cxnSp>
                <p:nvCxnSpPr>
                  <p:cNvPr id="283" name="Rechte verbindingslijn 282">
                    <a:extLst>
                      <a:ext uri="{FF2B5EF4-FFF2-40B4-BE49-F238E27FC236}">
                        <a16:creationId xmlns:a16="http://schemas.microsoft.com/office/drawing/2014/main" id="{57BF1767-D373-4C5F-BE1F-F07AB854B30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283">
                    <a:extLst>
                      <a:ext uri="{FF2B5EF4-FFF2-40B4-BE49-F238E27FC236}">
                        <a16:creationId xmlns:a16="http://schemas.microsoft.com/office/drawing/2014/main" id="{A976AC8E-4C00-4AD2-A18B-08AE36136EBD}"/>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284">
                    <a:extLst>
                      <a:ext uri="{FF2B5EF4-FFF2-40B4-BE49-F238E27FC236}">
                        <a16:creationId xmlns:a16="http://schemas.microsoft.com/office/drawing/2014/main" id="{94742187-D282-4ED7-9F50-28FBD4057CC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285">
                    <a:extLst>
                      <a:ext uri="{FF2B5EF4-FFF2-40B4-BE49-F238E27FC236}">
                        <a16:creationId xmlns:a16="http://schemas.microsoft.com/office/drawing/2014/main" id="{5341272A-0B92-45B9-B957-1950E2F54BA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286">
                    <a:extLst>
                      <a:ext uri="{FF2B5EF4-FFF2-40B4-BE49-F238E27FC236}">
                        <a16:creationId xmlns:a16="http://schemas.microsoft.com/office/drawing/2014/main" id="{9A832B1E-86C3-456B-ABB8-DB78C343E51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279">
                  <a:extLst>
                    <a:ext uri="{FF2B5EF4-FFF2-40B4-BE49-F238E27FC236}">
                      <a16:creationId xmlns:a16="http://schemas.microsoft.com/office/drawing/2014/main" id="{224E5915-5620-4B5C-95D5-644E0752B5F1}"/>
                    </a:ext>
                  </a:extLst>
                </p:cNvPr>
                <p:cNvGrpSpPr/>
                <p:nvPr userDrawn="1"/>
              </p:nvGrpSpPr>
              <p:grpSpPr>
                <a:xfrm flipH="1">
                  <a:off x="-3310774" y="735854"/>
                  <a:ext cx="88801" cy="72568"/>
                  <a:chOff x="-2091059" y="1395403"/>
                  <a:chExt cx="157316" cy="128558"/>
                </a:xfrm>
              </p:grpSpPr>
              <p:sp>
                <p:nvSpPr>
                  <p:cNvPr id="281" name="Rechthoek 280">
                    <a:extLst>
                      <a:ext uri="{FF2B5EF4-FFF2-40B4-BE49-F238E27FC236}">
                        <a16:creationId xmlns:a16="http://schemas.microsoft.com/office/drawing/2014/main" id="{43833988-25EC-4B04-9CAD-BE41066200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2" name="Pijl: punthaak 281">
                    <a:extLst>
                      <a:ext uri="{FF2B5EF4-FFF2-40B4-BE49-F238E27FC236}">
                        <a16:creationId xmlns:a16="http://schemas.microsoft.com/office/drawing/2014/main" id="{62B02667-7637-46DC-9C24-53435696FA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41" name="Groep 240">
                <a:extLst>
                  <a:ext uri="{FF2B5EF4-FFF2-40B4-BE49-F238E27FC236}">
                    <a16:creationId xmlns:a16="http://schemas.microsoft.com/office/drawing/2014/main" id="{C1921D13-AF28-4FEE-821D-66D10F7146EA}"/>
                  </a:ext>
                </a:extLst>
              </p:cNvPr>
              <p:cNvGrpSpPr/>
              <p:nvPr userDrawn="1"/>
            </p:nvGrpSpPr>
            <p:grpSpPr>
              <a:xfrm>
                <a:off x="-3326107" y="720303"/>
                <a:ext cx="182598" cy="143759"/>
                <a:chOff x="-3634116" y="700986"/>
                <a:chExt cx="182598" cy="143759"/>
              </a:xfrm>
            </p:grpSpPr>
            <p:grpSp>
              <p:nvGrpSpPr>
                <p:cNvPr id="270" name="Groep 269">
                  <a:extLst>
                    <a:ext uri="{FF2B5EF4-FFF2-40B4-BE49-F238E27FC236}">
                      <a16:creationId xmlns:a16="http://schemas.microsoft.com/office/drawing/2014/main" id="{C58FC713-3FA1-4F33-901C-E62353C0000F}"/>
                    </a:ext>
                  </a:extLst>
                </p:cNvPr>
                <p:cNvGrpSpPr/>
                <p:nvPr userDrawn="1"/>
              </p:nvGrpSpPr>
              <p:grpSpPr>
                <a:xfrm>
                  <a:off x="-3634116" y="700986"/>
                  <a:ext cx="182598" cy="143759"/>
                  <a:chOff x="-3634116" y="700986"/>
                  <a:chExt cx="182598" cy="143759"/>
                </a:xfrm>
              </p:grpSpPr>
              <p:cxnSp>
                <p:nvCxnSpPr>
                  <p:cNvPr id="274" name="Rechte verbindingslijn 273">
                    <a:extLst>
                      <a:ext uri="{FF2B5EF4-FFF2-40B4-BE49-F238E27FC236}">
                        <a16:creationId xmlns:a16="http://schemas.microsoft.com/office/drawing/2014/main" id="{54139801-9A6D-4194-857C-5197B8D8EB53}"/>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274">
                    <a:extLst>
                      <a:ext uri="{FF2B5EF4-FFF2-40B4-BE49-F238E27FC236}">
                        <a16:creationId xmlns:a16="http://schemas.microsoft.com/office/drawing/2014/main" id="{CD73D332-A981-4D7A-8925-C1AF9C4695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275">
                    <a:extLst>
                      <a:ext uri="{FF2B5EF4-FFF2-40B4-BE49-F238E27FC236}">
                        <a16:creationId xmlns:a16="http://schemas.microsoft.com/office/drawing/2014/main" id="{DC3CBDAA-BF8A-4F35-99D8-F59242FF8AB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276">
                    <a:extLst>
                      <a:ext uri="{FF2B5EF4-FFF2-40B4-BE49-F238E27FC236}">
                        <a16:creationId xmlns:a16="http://schemas.microsoft.com/office/drawing/2014/main" id="{90E108EA-496B-48C0-B684-AF9EA28B90D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277">
                    <a:extLst>
                      <a:ext uri="{FF2B5EF4-FFF2-40B4-BE49-F238E27FC236}">
                        <a16:creationId xmlns:a16="http://schemas.microsoft.com/office/drawing/2014/main" id="{24BFCFBA-73CD-4386-876C-D069116BE48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270">
                  <a:extLst>
                    <a:ext uri="{FF2B5EF4-FFF2-40B4-BE49-F238E27FC236}">
                      <a16:creationId xmlns:a16="http://schemas.microsoft.com/office/drawing/2014/main" id="{1BC0DEA4-93BE-41BE-AAF4-7B13F66ED408}"/>
                    </a:ext>
                  </a:extLst>
                </p:cNvPr>
                <p:cNvGrpSpPr/>
                <p:nvPr userDrawn="1"/>
              </p:nvGrpSpPr>
              <p:grpSpPr>
                <a:xfrm>
                  <a:off x="-3634047" y="735854"/>
                  <a:ext cx="88801" cy="72568"/>
                  <a:chOff x="-2091059" y="1395403"/>
                  <a:chExt cx="157316" cy="128558"/>
                </a:xfrm>
              </p:grpSpPr>
              <p:sp>
                <p:nvSpPr>
                  <p:cNvPr id="272" name="Rechthoek 271">
                    <a:extLst>
                      <a:ext uri="{FF2B5EF4-FFF2-40B4-BE49-F238E27FC236}">
                        <a16:creationId xmlns:a16="http://schemas.microsoft.com/office/drawing/2014/main" id="{59B14458-A478-49F9-B8F2-E6265558122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3" name="Pijl: punthaak 272">
                    <a:extLst>
                      <a:ext uri="{FF2B5EF4-FFF2-40B4-BE49-F238E27FC236}">
                        <a16:creationId xmlns:a16="http://schemas.microsoft.com/office/drawing/2014/main" id="{7612DD17-B66E-49A8-9460-B2529D38788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42" name="Rechte verbindingslijn 241">
                <a:extLst>
                  <a:ext uri="{FF2B5EF4-FFF2-40B4-BE49-F238E27FC236}">
                    <a16:creationId xmlns:a16="http://schemas.microsoft.com/office/drawing/2014/main" id="{24818548-0337-4E54-8F36-067A7FA6A5AE}"/>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43" name="Rechte verbindingslijn 242">
                <a:extLst>
                  <a:ext uri="{FF2B5EF4-FFF2-40B4-BE49-F238E27FC236}">
                    <a16:creationId xmlns:a16="http://schemas.microsoft.com/office/drawing/2014/main" id="{56483247-1CC4-4A46-A079-A061A103C3F7}"/>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44" name="Groep 243">
                <a:extLst>
                  <a:ext uri="{FF2B5EF4-FFF2-40B4-BE49-F238E27FC236}">
                    <a16:creationId xmlns:a16="http://schemas.microsoft.com/office/drawing/2014/main" id="{DB485FCA-7B7D-42E9-BF2D-377510AB867C}"/>
                  </a:ext>
                </a:extLst>
              </p:cNvPr>
              <p:cNvGrpSpPr/>
              <p:nvPr userDrawn="1"/>
            </p:nvGrpSpPr>
            <p:grpSpPr>
              <a:xfrm>
                <a:off x="-2425037" y="370226"/>
                <a:ext cx="357690" cy="330595"/>
                <a:chOff x="-2721817" y="347336"/>
                <a:chExt cx="432805" cy="400021"/>
              </a:xfrm>
            </p:grpSpPr>
            <p:sp>
              <p:nvSpPr>
                <p:cNvPr id="259" name="Rechthoek 258">
                  <a:extLst>
                    <a:ext uri="{FF2B5EF4-FFF2-40B4-BE49-F238E27FC236}">
                      <a16:creationId xmlns:a16="http://schemas.microsoft.com/office/drawing/2014/main" id="{0D26B70A-B1D9-4673-A889-5074AF77C32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60" name="Groep 259">
                  <a:extLst>
                    <a:ext uri="{FF2B5EF4-FFF2-40B4-BE49-F238E27FC236}">
                      <a16:creationId xmlns:a16="http://schemas.microsoft.com/office/drawing/2014/main" id="{39412CC2-AA36-4DC0-AE0D-AC7C20820609}"/>
                    </a:ext>
                  </a:extLst>
                </p:cNvPr>
                <p:cNvGrpSpPr/>
                <p:nvPr userDrawn="1"/>
              </p:nvGrpSpPr>
              <p:grpSpPr>
                <a:xfrm>
                  <a:off x="-2652453" y="431583"/>
                  <a:ext cx="294076" cy="231526"/>
                  <a:chOff x="-3634116" y="700986"/>
                  <a:chExt cx="182598" cy="143759"/>
                </a:xfrm>
              </p:grpSpPr>
              <p:grpSp>
                <p:nvGrpSpPr>
                  <p:cNvPr id="261" name="Groep 260">
                    <a:extLst>
                      <a:ext uri="{FF2B5EF4-FFF2-40B4-BE49-F238E27FC236}">
                        <a16:creationId xmlns:a16="http://schemas.microsoft.com/office/drawing/2014/main" id="{00CE0D42-439F-4409-A0AC-20291DF0E0DD}"/>
                      </a:ext>
                    </a:extLst>
                  </p:cNvPr>
                  <p:cNvGrpSpPr/>
                  <p:nvPr userDrawn="1"/>
                </p:nvGrpSpPr>
                <p:grpSpPr>
                  <a:xfrm>
                    <a:off x="-3634116" y="700986"/>
                    <a:ext cx="182598" cy="143759"/>
                    <a:chOff x="-3634116" y="700986"/>
                    <a:chExt cx="182598" cy="143759"/>
                  </a:xfrm>
                </p:grpSpPr>
                <p:cxnSp>
                  <p:nvCxnSpPr>
                    <p:cNvPr id="265" name="Rechte verbindingslijn 264">
                      <a:extLst>
                        <a:ext uri="{FF2B5EF4-FFF2-40B4-BE49-F238E27FC236}">
                          <a16:creationId xmlns:a16="http://schemas.microsoft.com/office/drawing/2014/main" id="{A65E5D3C-4D01-44F1-A1EF-D5CCD63659B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265">
                      <a:extLst>
                        <a:ext uri="{FF2B5EF4-FFF2-40B4-BE49-F238E27FC236}">
                          <a16:creationId xmlns:a16="http://schemas.microsoft.com/office/drawing/2014/main" id="{D6A53746-27E5-41C5-AD9F-3DCADA66B6C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266">
                      <a:extLst>
                        <a:ext uri="{FF2B5EF4-FFF2-40B4-BE49-F238E27FC236}">
                          <a16:creationId xmlns:a16="http://schemas.microsoft.com/office/drawing/2014/main" id="{6AFD5BF3-7AB9-4163-BD90-A04B8A0208B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267">
                      <a:extLst>
                        <a:ext uri="{FF2B5EF4-FFF2-40B4-BE49-F238E27FC236}">
                          <a16:creationId xmlns:a16="http://schemas.microsoft.com/office/drawing/2014/main" id="{8F568D6E-BAC0-4474-990B-748208AEF10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268">
                      <a:extLst>
                        <a:ext uri="{FF2B5EF4-FFF2-40B4-BE49-F238E27FC236}">
                          <a16:creationId xmlns:a16="http://schemas.microsoft.com/office/drawing/2014/main" id="{E9C04EC1-A361-4A0F-8CC3-B6E4DCBBB84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261">
                    <a:extLst>
                      <a:ext uri="{FF2B5EF4-FFF2-40B4-BE49-F238E27FC236}">
                        <a16:creationId xmlns:a16="http://schemas.microsoft.com/office/drawing/2014/main" id="{8EE8B185-9357-4E26-8FC5-76777590D882}"/>
                      </a:ext>
                    </a:extLst>
                  </p:cNvPr>
                  <p:cNvGrpSpPr/>
                  <p:nvPr userDrawn="1"/>
                </p:nvGrpSpPr>
                <p:grpSpPr>
                  <a:xfrm>
                    <a:off x="-3634047" y="735854"/>
                    <a:ext cx="88801" cy="72568"/>
                    <a:chOff x="-2091059" y="1395403"/>
                    <a:chExt cx="157316" cy="128558"/>
                  </a:xfrm>
                </p:grpSpPr>
                <p:sp>
                  <p:nvSpPr>
                    <p:cNvPr id="263" name="Rechthoek 262">
                      <a:extLst>
                        <a:ext uri="{FF2B5EF4-FFF2-40B4-BE49-F238E27FC236}">
                          <a16:creationId xmlns:a16="http://schemas.microsoft.com/office/drawing/2014/main" id="{9F221F38-25D6-44DC-9937-BD2642D5B75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4" name="Pijl: punthaak 263">
                      <a:extLst>
                        <a:ext uri="{FF2B5EF4-FFF2-40B4-BE49-F238E27FC236}">
                          <a16:creationId xmlns:a16="http://schemas.microsoft.com/office/drawing/2014/main" id="{340A4D4D-E494-464A-BFCC-A0CE1BDB87E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45" name="Groep 244">
                <a:extLst>
                  <a:ext uri="{FF2B5EF4-FFF2-40B4-BE49-F238E27FC236}">
                    <a16:creationId xmlns:a16="http://schemas.microsoft.com/office/drawing/2014/main" id="{2AD137C9-ED58-42E8-977C-E2615CF3924A}"/>
                  </a:ext>
                </a:extLst>
              </p:cNvPr>
              <p:cNvGrpSpPr/>
              <p:nvPr userDrawn="1"/>
            </p:nvGrpSpPr>
            <p:grpSpPr>
              <a:xfrm>
                <a:off x="-2425037" y="781500"/>
                <a:ext cx="357690" cy="330595"/>
                <a:chOff x="-2721817" y="782525"/>
                <a:chExt cx="432805" cy="400021"/>
              </a:xfrm>
            </p:grpSpPr>
            <p:sp>
              <p:nvSpPr>
                <p:cNvPr id="248" name="Rechthoek 247">
                  <a:extLst>
                    <a:ext uri="{FF2B5EF4-FFF2-40B4-BE49-F238E27FC236}">
                      <a16:creationId xmlns:a16="http://schemas.microsoft.com/office/drawing/2014/main" id="{51AE1EE3-726B-469B-B991-5335D61C15A3}"/>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49" name="Groep 248">
                  <a:extLst>
                    <a:ext uri="{FF2B5EF4-FFF2-40B4-BE49-F238E27FC236}">
                      <a16:creationId xmlns:a16="http://schemas.microsoft.com/office/drawing/2014/main" id="{719A8A66-D81A-4EE7-9DB2-0BC30647433C}"/>
                    </a:ext>
                  </a:extLst>
                </p:cNvPr>
                <p:cNvGrpSpPr/>
                <p:nvPr userDrawn="1"/>
              </p:nvGrpSpPr>
              <p:grpSpPr>
                <a:xfrm>
                  <a:off x="-2652453" y="866772"/>
                  <a:ext cx="294076" cy="231526"/>
                  <a:chOff x="-3310843" y="700986"/>
                  <a:chExt cx="182598" cy="143759"/>
                </a:xfrm>
              </p:grpSpPr>
              <p:grpSp>
                <p:nvGrpSpPr>
                  <p:cNvPr id="250" name="Groep 249">
                    <a:extLst>
                      <a:ext uri="{FF2B5EF4-FFF2-40B4-BE49-F238E27FC236}">
                        <a16:creationId xmlns:a16="http://schemas.microsoft.com/office/drawing/2014/main" id="{527D31C4-8C8C-4524-8541-3D53D61C09F6}"/>
                      </a:ext>
                    </a:extLst>
                  </p:cNvPr>
                  <p:cNvGrpSpPr/>
                  <p:nvPr userDrawn="1"/>
                </p:nvGrpSpPr>
                <p:grpSpPr>
                  <a:xfrm>
                    <a:off x="-3310843" y="700986"/>
                    <a:ext cx="182598" cy="143759"/>
                    <a:chOff x="-3310843" y="700986"/>
                    <a:chExt cx="182598" cy="143759"/>
                  </a:xfrm>
                </p:grpSpPr>
                <p:cxnSp>
                  <p:nvCxnSpPr>
                    <p:cNvPr id="254" name="Rechte verbindingslijn 253">
                      <a:extLst>
                        <a:ext uri="{FF2B5EF4-FFF2-40B4-BE49-F238E27FC236}">
                          <a16:creationId xmlns:a16="http://schemas.microsoft.com/office/drawing/2014/main" id="{2FE8AAE6-E2B4-42B8-9D90-27765A5B2B2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id="{2A2CA1E0-680D-4045-8F99-FD00E95EF02E}"/>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id="{A628F0CA-A070-4445-9EA0-A85AF6C2D79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256">
                      <a:extLst>
                        <a:ext uri="{FF2B5EF4-FFF2-40B4-BE49-F238E27FC236}">
                          <a16:creationId xmlns:a16="http://schemas.microsoft.com/office/drawing/2014/main" id="{D301DE3C-CD10-4AF8-8FC9-A6BA6B3F6DAE}"/>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257">
                      <a:extLst>
                        <a:ext uri="{FF2B5EF4-FFF2-40B4-BE49-F238E27FC236}">
                          <a16:creationId xmlns:a16="http://schemas.microsoft.com/office/drawing/2014/main" id="{42DC9F08-B924-4508-B616-D4B31F8C527D}"/>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250">
                    <a:extLst>
                      <a:ext uri="{FF2B5EF4-FFF2-40B4-BE49-F238E27FC236}">
                        <a16:creationId xmlns:a16="http://schemas.microsoft.com/office/drawing/2014/main" id="{FE16DC7B-E0B9-4383-B975-431DF3CC606D}"/>
                      </a:ext>
                    </a:extLst>
                  </p:cNvPr>
                  <p:cNvGrpSpPr/>
                  <p:nvPr userDrawn="1"/>
                </p:nvGrpSpPr>
                <p:grpSpPr>
                  <a:xfrm flipH="1">
                    <a:off x="-3310774" y="735854"/>
                    <a:ext cx="88801" cy="72568"/>
                    <a:chOff x="-2091059" y="1395403"/>
                    <a:chExt cx="157316" cy="128558"/>
                  </a:xfrm>
                </p:grpSpPr>
                <p:sp>
                  <p:nvSpPr>
                    <p:cNvPr id="252" name="Rechthoek 251">
                      <a:extLst>
                        <a:ext uri="{FF2B5EF4-FFF2-40B4-BE49-F238E27FC236}">
                          <a16:creationId xmlns:a16="http://schemas.microsoft.com/office/drawing/2014/main" id="{13A371CF-4324-47E9-9957-A950BACB217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3" name="Pijl: punthaak 252">
                      <a:extLst>
                        <a:ext uri="{FF2B5EF4-FFF2-40B4-BE49-F238E27FC236}">
                          <a16:creationId xmlns:a16="http://schemas.microsoft.com/office/drawing/2014/main" id="{0AB2FE67-2B77-4A27-854E-362AB3D429B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46" name="Rechthoek 245">
                <a:extLst>
                  <a:ext uri="{FF2B5EF4-FFF2-40B4-BE49-F238E27FC236}">
                    <a16:creationId xmlns:a16="http://schemas.microsoft.com/office/drawing/2014/main" id="{7108A5A8-0143-4C43-9FBB-1B39253D0F7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47" name="Rechthoek 246">
                <a:extLst>
                  <a:ext uri="{FF2B5EF4-FFF2-40B4-BE49-F238E27FC236}">
                    <a16:creationId xmlns:a16="http://schemas.microsoft.com/office/drawing/2014/main" id="{775E562D-70D3-4F35-A911-1DBA652DF94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20" name="Rechte verbindingslijn 219">
              <a:extLst>
                <a:ext uri="{FF2B5EF4-FFF2-40B4-BE49-F238E27FC236}">
                  <a16:creationId xmlns:a16="http://schemas.microsoft.com/office/drawing/2014/main" id="{A7325EB5-1D47-41D6-9EC4-F26F10F81F2A}"/>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21" name="Rechthoek 220">
              <a:extLst>
                <a:ext uri="{FF2B5EF4-FFF2-40B4-BE49-F238E27FC236}">
                  <a16:creationId xmlns:a16="http://schemas.microsoft.com/office/drawing/2014/main" id="{1A184D99-770C-4A47-953D-0229C03C044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2" name="Ovaal 221">
              <a:extLst>
                <a:ext uri="{FF2B5EF4-FFF2-40B4-BE49-F238E27FC236}">
                  <a16:creationId xmlns:a16="http://schemas.microsoft.com/office/drawing/2014/main" id="{58BC65E9-2379-4D4D-9C05-D4D604000128}"/>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3" name="Rechthoek 222">
              <a:extLst>
                <a:ext uri="{FF2B5EF4-FFF2-40B4-BE49-F238E27FC236}">
                  <a16:creationId xmlns:a16="http://schemas.microsoft.com/office/drawing/2014/main" id="{2FD5C81F-D763-4FC0-B4B5-4DFCADD260CA}"/>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24" name="Ovaal 223">
              <a:extLst>
                <a:ext uri="{FF2B5EF4-FFF2-40B4-BE49-F238E27FC236}">
                  <a16:creationId xmlns:a16="http://schemas.microsoft.com/office/drawing/2014/main" id="{96068312-A366-47E1-BCED-A0DF3287663D}"/>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5" name="Rechthoek 224">
              <a:extLst>
                <a:ext uri="{FF2B5EF4-FFF2-40B4-BE49-F238E27FC236}">
                  <a16:creationId xmlns:a16="http://schemas.microsoft.com/office/drawing/2014/main" id="{9AA5BF9F-6B92-4F52-A27E-A02BF2D4E8C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26" name="Ovaal 225">
              <a:extLst>
                <a:ext uri="{FF2B5EF4-FFF2-40B4-BE49-F238E27FC236}">
                  <a16:creationId xmlns:a16="http://schemas.microsoft.com/office/drawing/2014/main" id="{D64E823E-9B0C-42AD-BD59-436F6678921C}"/>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7" name="Rechthoek 226">
              <a:extLst>
                <a:ext uri="{FF2B5EF4-FFF2-40B4-BE49-F238E27FC236}">
                  <a16:creationId xmlns:a16="http://schemas.microsoft.com/office/drawing/2014/main" id="{0980AD28-CDAC-4452-9D24-596DAAB243A1}"/>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28" name="Ovaal 227">
              <a:extLst>
                <a:ext uri="{FF2B5EF4-FFF2-40B4-BE49-F238E27FC236}">
                  <a16:creationId xmlns:a16="http://schemas.microsoft.com/office/drawing/2014/main" id="{4137DA4C-D0B5-4B30-B13D-19073616625D}"/>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9" name="Rechthoek 228">
              <a:extLst>
                <a:ext uri="{FF2B5EF4-FFF2-40B4-BE49-F238E27FC236}">
                  <a16:creationId xmlns:a16="http://schemas.microsoft.com/office/drawing/2014/main" id="{84845393-915B-49BF-831D-AF241DBF2FEA}"/>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30" name="Rechthoek 229">
              <a:extLst>
                <a:ext uri="{FF2B5EF4-FFF2-40B4-BE49-F238E27FC236}">
                  <a16:creationId xmlns:a16="http://schemas.microsoft.com/office/drawing/2014/main" id="{36AFBB31-3914-41C9-AB11-DD70E7685E26}"/>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31" name="Rechte verbindingslijn 230">
              <a:extLst>
                <a:ext uri="{FF2B5EF4-FFF2-40B4-BE49-F238E27FC236}">
                  <a16:creationId xmlns:a16="http://schemas.microsoft.com/office/drawing/2014/main" id="{44BBDC5C-614C-429F-A51E-08EAFAF16124}"/>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32" name="Ovaal 231">
              <a:extLst>
                <a:ext uri="{FF2B5EF4-FFF2-40B4-BE49-F238E27FC236}">
                  <a16:creationId xmlns:a16="http://schemas.microsoft.com/office/drawing/2014/main" id="{B93A69D1-273C-44F0-B8A6-30E7C46616D1}"/>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33" name="Rechthoek 232">
              <a:extLst>
                <a:ext uri="{FF2B5EF4-FFF2-40B4-BE49-F238E27FC236}">
                  <a16:creationId xmlns:a16="http://schemas.microsoft.com/office/drawing/2014/main" id="{F0C1744E-769B-45BB-B14D-AFA810C00DBF}"/>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234" name="Ovaal 233">
              <a:extLst>
                <a:ext uri="{FF2B5EF4-FFF2-40B4-BE49-F238E27FC236}">
                  <a16:creationId xmlns:a16="http://schemas.microsoft.com/office/drawing/2014/main" id="{7C93644F-ED07-4C44-8F42-6FA70688D1A8}"/>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35" name="Rechthoek 234">
              <a:extLst>
                <a:ext uri="{FF2B5EF4-FFF2-40B4-BE49-F238E27FC236}">
                  <a16:creationId xmlns:a16="http://schemas.microsoft.com/office/drawing/2014/main" id="{6392E5A1-F01D-44CC-BC08-A866220F893D}"/>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11003876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 / TABEL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15CB1DD3-46A0-448C-9575-B43F941DA04B}"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TABEL 2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1" y="1459112"/>
            <a:ext cx="5015239" cy="1878839"/>
          </a:xfrm>
          <a:solidFill>
            <a:schemeClr val="bg1">
              <a:lumMod val="95000"/>
            </a:schemeClr>
          </a:solidFill>
        </p:spPr>
        <p:txBody>
          <a:bodyPr tIns="504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14" name="GRID" hidden="1">
            <a:extLst>
              <a:ext uri="{FF2B5EF4-FFF2-40B4-BE49-F238E27FC236}">
                <a16:creationId xmlns:a16="http://schemas.microsoft.com/office/drawing/2014/main" id="{5DA96321-4290-48B4-9E31-25979D37A4BF}"/>
              </a:ext>
            </a:extLst>
          </p:cNvPr>
          <p:cNvGrpSpPr/>
          <p:nvPr userDrawn="1"/>
        </p:nvGrpSpPr>
        <p:grpSpPr>
          <a:xfrm>
            <a:off x="0" y="0"/>
            <a:ext cx="12192000" cy="6858000"/>
            <a:chOff x="0" y="0"/>
            <a:chExt cx="12192000" cy="6858000"/>
          </a:xfrm>
          <a:solidFill>
            <a:schemeClr val="tx1">
              <a:alpha val="30000"/>
            </a:schemeClr>
          </a:solidFill>
        </p:grpSpPr>
        <p:sp>
          <p:nvSpPr>
            <p:cNvPr id="15" name="Rechthoek 14">
              <a:extLst>
                <a:ext uri="{FF2B5EF4-FFF2-40B4-BE49-F238E27FC236}">
                  <a16:creationId xmlns:a16="http://schemas.microsoft.com/office/drawing/2014/main" id="{CB122825-8A60-40A8-B68A-699C82DDB342}"/>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1120589F-D38A-4032-9F9B-3C5979236C42}"/>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4A81EAD3-7EF1-4206-98D8-337B2A55A2B6}"/>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25CA14D-A742-4DC9-8077-66CC72097644}"/>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CAEF66F7-FC99-4573-9A51-A226686CDB3A}"/>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BF22E5F8-A866-4ECF-91EE-0FD2C05EA447}"/>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141661C6-CEAA-4E71-877D-AFF8F9DA6F63}"/>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106EF57B-5E81-4FFE-B917-76EE3E50BDB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206D8710-A5DB-4198-83DC-F4CAD94EB907}"/>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018895F-81C7-4C74-825A-4F37B0F61DC9}"/>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1D2962F3-C415-4096-9444-8FD161521935}"/>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AED4D8FD-078B-47B8-B991-58C716DDE36D}"/>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AA783331-7115-4DED-99F6-A20C4CD37FBB}"/>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2" name="Tijdelijke aanduiding voor tabel 8">
            <a:extLst>
              <a:ext uri="{FF2B5EF4-FFF2-40B4-BE49-F238E27FC236}">
                <a16:creationId xmlns:a16="http://schemas.microsoft.com/office/drawing/2014/main" id="{1791F0C3-BE15-409D-9204-AB5C32387DBC}"/>
              </a:ext>
            </a:extLst>
          </p:cNvPr>
          <p:cNvSpPr>
            <a:spLocks noGrp="1"/>
          </p:cNvSpPr>
          <p:nvPr>
            <p:ph type="tbl" sz="quarter" idx="18" hasCustomPrompt="1"/>
          </p:nvPr>
        </p:nvSpPr>
        <p:spPr>
          <a:xfrm>
            <a:off x="6636761" y="3699000"/>
            <a:ext cx="5015239" cy="1878839"/>
          </a:xfrm>
          <a:solidFill>
            <a:schemeClr val="bg1">
              <a:lumMod val="95000"/>
            </a:schemeClr>
          </a:solidFill>
        </p:spPr>
        <p:txBody>
          <a:bodyPr tIns="504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221" name="Instructie">
            <a:extLst>
              <a:ext uri="{FF2B5EF4-FFF2-40B4-BE49-F238E27FC236}">
                <a16:creationId xmlns:a16="http://schemas.microsoft.com/office/drawing/2014/main" id="{B2653EA5-671F-4111-B5AB-9B0F2D3F7A49}"/>
              </a:ext>
            </a:extLst>
          </p:cNvPr>
          <p:cNvGrpSpPr/>
          <p:nvPr userDrawn="1"/>
        </p:nvGrpSpPr>
        <p:grpSpPr>
          <a:xfrm>
            <a:off x="-3437547" y="1434"/>
            <a:ext cx="3201327" cy="6041867"/>
            <a:chOff x="-3437547" y="1434"/>
            <a:chExt cx="3201327" cy="6041867"/>
          </a:xfrm>
        </p:grpSpPr>
        <p:cxnSp>
          <p:nvCxnSpPr>
            <p:cNvPr id="222" name="Rechte verbindingslijn 221">
              <a:extLst>
                <a:ext uri="{FF2B5EF4-FFF2-40B4-BE49-F238E27FC236}">
                  <a16:creationId xmlns:a16="http://schemas.microsoft.com/office/drawing/2014/main" id="{B739E408-5A00-4F55-8ADD-A80FFFBDE4C9}"/>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23" name="Ovaal 222">
              <a:extLst>
                <a:ext uri="{FF2B5EF4-FFF2-40B4-BE49-F238E27FC236}">
                  <a16:creationId xmlns:a16="http://schemas.microsoft.com/office/drawing/2014/main" id="{C90D1D6A-87EC-454A-B282-0A0BB556337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24" name="Rechthoek 223">
              <a:extLst>
                <a:ext uri="{FF2B5EF4-FFF2-40B4-BE49-F238E27FC236}">
                  <a16:creationId xmlns:a16="http://schemas.microsoft.com/office/drawing/2014/main" id="{AE709315-9E90-4655-9D18-B2BFA65A6D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5" name="Ovaal 224">
              <a:extLst>
                <a:ext uri="{FF2B5EF4-FFF2-40B4-BE49-F238E27FC236}">
                  <a16:creationId xmlns:a16="http://schemas.microsoft.com/office/drawing/2014/main" id="{21892402-A260-4AED-A74E-189787397240}"/>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26" name="Rechthoek 225">
              <a:extLst>
                <a:ext uri="{FF2B5EF4-FFF2-40B4-BE49-F238E27FC236}">
                  <a16:creationId xmlns:a16="http://schemas.microsoft.com/office/drawing/2014/main" id="{8FD1AF7D-061A-4D63-9C5A-B207F8C79D47}"/>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7" name="Ovaal 226">
              <a:extLst>
                <a:ext uri="{FF2B5EF4-FFF2-40B4-BE49-F238E27FC236}">
                  <a16:creationId xmlns:a16="http://schemas.microsoft.com/office/drawing/2014/main" id="{F1849587-23D4-4A69-A493-72F2B7B3D955}"/>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28" name="Rechthoek 227">
              <a:extLst>
                <a:ext uri="{FF2B5EF4-FFF2-40B4-BE49-F238E27FC236}">
                  <a16:creationId xmlns:a16="http://schemas.microsoft.com/office/drawing/2014/main" id="{CFD9FD95-34E2-4323-9D4C-BF754CA2E606}"/>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29" name="Ovaal 228">
              <a:extLst>
                <a:ext uri="{FF2B5EF4-FFF2-40B4-BE49-F238E27FC236}">
                  <a16:creationId xmlns:a16="http://schemas.microsoft.com/office/drawing/2014/main" id="{631F9D02-783D-4312-AA03-30BF60E24AFB}"/>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30" name="Rechthoek 229">
              <a:extLst>
                <a:ext uri="{FF2B5EF4-FFF2-40B4-BE49-F238E27FC236}">
                  <a16:creationId xmlns:a16="http://schemas.microsoft.com/office/drawing/2014/main" id="{81C1DFE0-9D0B-4AA0-BD49-8134885BA1FA}"/>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231" name="Rechthoek 230">
              <a:extLst>
                <a:ext uri="{FF2B5EF4-FFF2-40B4-BE49-F238E27FC236}">
                  <a16:creationId xmlns:a16="http://schemas.microsoft.com/office/drawing/2014/main" id="{65943516-EF34-4779-8262-A7515CC50C0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32" name="Ovaal 231">
              <a:extLst>
                <a:ext uri="{FF2B5EF4-FFF2-40B4-BE49-F238E27FC236}">
                  <a16:creationId xmlns:a16="http://schemas.microsoft.com/office/drawing/2014/main" id="{34B1D59C-0AC8-465B-A4B1-A69DCA3B9272}"/>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33" name="Rechte verbindingslijn 232">
              <a:extLst>
                <a:ext uri="{FF2B5EF4-FFF2-40B4-BE49-F238E27FC236}">
                  <a16:creationId xmlns:a16="http://schemas.microsoft.com/office/drawing/2014/main" id="{BC582A78-1BDB-4F83-A67B-EEDCFB40C3D5}"/>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34" name="Groep 233">
              <a:extLst>
                <a:ext uri="{FF2B5EF4-FFF2-40B4-BE49-F238E27FC236}">
                  <a16:creationId xmlns:a16="http://schemas.microsoft.com/office/drawing/2014/main" id="{90573D25-69B9-452E-A4E0-AC192C72A08B}"/>
                </a:ext>
              </a:extLst>
            </p:cNvPr>
            <p:cNvGrpSpPr/>
            <p:nvPr userDrawn="1"/>
          </p:nvGrpSpPr>
          <p:grpSpPr>
            <a:xfrm>
              <a:off x="-3437547" y="1295337"/>
              <a:ext cx="2933825" cy="558875"/>
              <a:chOff x="-3419346" y="368233"/>
              <a:chExt cx="3904920" cy="743862"/>
            </a:xfrm>
          </p:grpSpPr>
          <p:sp>
            <p:nvSpPr>
              <p:cNvPr id="251" name="Rechthoek 250">
                <a:extLst>
                  <a:ext uri="{FF2B5EF4-FFF2-40B4-BE49-F238E27FC236}">
                    <a16:creationId xmlns:a16="http://schemas.microsoft.com/office/drawing/2014/main" id="{3CDD5308-008F-4F39-B357-57C3B3A2EB70}"/>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52" name="Rechte verbindingslijn 251">
                <a:extLst>
                  <a:ext uri="{FF2B5EF4-FFF2-40B4-BE49-F238E27FC236}">
                    <a16:creationId xmlns:a16="http://schemas.microsoft.com/office/drawing/2014/main" id="{3EB055C4-5D9A-45D3-B566-B85757EE073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3" name="Rechte verbindingslijn 252">
                <a:extLst>
                  <a:ext uri="{FF2B5EF4-FFF2-40B4-BE49-F238E27FC236}">
                    <a16:creationId xmlns:a16="http://schemas.microsoft.com/office/drawing/2014/main" id="{73568B89-4281-41EE-BAAA-64726CDA976A}"/>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4" name="Rechthoek 253">
                <a:extLst>
                  <a:ext uri="{FF2B5EF4-FFF2-40B4-BE49-F238E27FC236}">
                    <a16:creationId xmlns:a16="http://schemas.microsoft.com/office/drawing/2014/main" id="{104A6F6F-1081-48F1-8E08-BD7E552E147B}"/>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55" name="Groep 254">
                <a:extLst>
                  <a:ext uri="{FF2B5EF4-FFF2-40B4-BE49-F238E27FC236}">
                    <a16:creationId xmlns:a16="http://schemas.microsoft.com/office/drawing/2014/main" id="{82D66327-D1E6-49D8-B4FF-18CF5A8CBDEE}"/>
                  </a:ext>
                </a:extLst>
              </p:cNvPr>
              <p:cNvGrpSpPr/>
              <p:nvPr userDrawn="1"/>
            </p:nvGrpSpPr>
            <p:grpSpPr>
              <a:xfrm>
                <a:off x="-3002834" y="720303"/>
                <a:ext cx="182598" cy="143759"/>
                <a:chOff x="-3310843" y="700986"/>
                <a:chExt cx="182598" cy="143759"/>
              </a:xfrm>
            </p:grpSpPr>
            <p:grpSp>
              <p:nvGrpSpPr>
                <p:cNvPr id="294" name="Groep 293">
                  <a:extLst>
                    <a:ext uri="{FF2B5EF4-FFF2-40B4-BE49-F238E27FC236}">
                      <a16:creationId xmlns:a16="http://schemas.microsoft.com/office/drawing/2014/main" id="{D064D897-24AD-4505-AC71-EFF9AEDB3B4A}"/>
                    </a:ext>
                  </a:extLst>
                </p:cNvPr>
                <p:cNvGrpSpPr/>
                <p:nvPr userDrawn="1"/>
              </p:nvGrpSpPr>
              <p:grpSpPr>
                <a:xfrm>
                  <a:off x="-3310843" y="700986"/>
                  <a:ext cx="182598" cy="143759"/>
                  <a:chOff x="-3310843" y="700986"/>
                  <a:chExt cx="182598" cy="143759"/>
                </a:xfrm>
              </p:grpSpPr>
              <p:cxnSp>
                <p:nvCxnSpPr>
                  <p:cNvPr id="298" name="Rechte verbindingslijn 297">
                    <a:extLst>
                      <a:ext uri="{FF2B5EF4-FFF2-40B4-BE49-F238E27FC236}">
                        <a16:creationId xmlns:a16="http://schemas.microsoft.com/office/drawing/2014/main" id="{461290BE-8F96-4DC5-B43F-8C9BE432490D}"/>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99" name="Rechte verbindingslijn 298">
                    <a:extLst>
                      <a:ext uri="{FF2B5EF4-FFF2-40B4-BE49-F238E27FC236}">
                        <a16:creationId xmlns:a16="http://schemas.microsoft.com/office/drawing/2014/main" id="{D010547F-27BC-481F-8B43-21CD74442F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00" name="Rechte verbindingslijn 299">
                    <a:extLst>
                      <a:ext uri="{FF2B5EF4-FFF2-40B4-BE49-F238E27FC236}">
                        <a16:creationId xmlns:a16="http://schemas.microsoft.com/office/drawing/2014/main" id="{3E3592CE-4A8E-40BE-AEA9-2B856155089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01" name="Rechte verbindingslijn 300">
                    <a:extLst>
                      <a:ext uri="{FF2B5EF4-FFF2-40B4-BE49-F238E27FC236}">
                        <a16:creationId xmlns:a16="http://schemas.microsoft.com/office/drawing/2014/main" id="{3E7980F6-CF0F-4EB4-928D-49FE0BD9318B}"/>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02" name="Rechte verbindingslijn 301">
                    <a:extLst>
                      <a:ext uri="{FF2B5EF4-FFF2-40B4-BE49-F238E27FC236}">
                        <a16:creationId xmlns:a16="http://schemas.microsoft.com/office/drawing/2014/main" id="{43DD3D00-5F53-4167-AF98-B68B882BF1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95" name="Groep 294">
                  <a:extLst>
                    <a:ext uri="{FF2B5EF4-FFF2-40B4-BE49-F238E27FC236}">
                      <a16:creationId xmlns:a16="http://schemas.microsoft.com/office/drawing/2014/main" id="{660B7A9C-290D-4AFF-BF60-F53119A6FE84}"/>
                    </a:ext>
                  </a:extLst>
                </p:cNvPr>
                <p:cNvGrpSpPr/>
                <p:nvPr userDrawn="1"/>
              </p:nvGrpSpPr>
              <p:grpSpPr>
                <a:xfrm flipH="1">
                  <a:off x="-3310774" y="735854"/>
                  <a:ext cx="88801" cy="72568"/>
                  <a:chOff x="-2091059" y="1395403"/>
                  <a:chExt cx="157316" cy="128558"/>
                </a:xfrm>
              </p:grpSpPr>
              <p:sp>
                <p:nvSpPr>
                  <p:cNvPr id="296" name="Rechthoek 295">
                    <a:extLst>
                      <a:ext uri="{FF2B5EF4-FFF2-40B4-BE49-F238E27FC236}">
                        <a16:creationId xmlns:a16="http://schemas.microsoft.com/office/drawing/2014/main" id="{C603840F-DBF6-4FEB-B5F4-1CD52B49A02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97" name="Pijl: punthaak 296">
                    <a:extLst>
                      <a:ext uri="{FF2B5EF4-FFF2-40B4-BE49-F238E27FC236}">
                        <a16:creationId xmlns:a16="http://schemas.microsoft.com/office/drawing/2014/main" id="{2FEF4729-249B-4A02-8F95-8D93EB2AA4D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56" name="Groep 255">
                <a:extLst>
                  <a:ext uri="{FF2B5EF4-FFF2-40B4-BE49-F238E27FC236}">
                    <a16:creationId xmlns:a16="http://schemas.microsoft.com/office/drawing/2014/main" id="{90CC8A40-D3B0-49D2-81F5-A4BE3B9B9B4C}"/>
                  </a:ext>
                </a:extLst>
              </p:cNvPr>
              <p:cNvGrpSpPr/>
              <p:nvPr userDrawn="1"/>
            </p:nvGrpSpPr>
            <p:grpSpPr>
              <a:xfrm>
                <a:off x="-3326107" y="720303"/>
                <a:ext cx="182598" cy="143759"/>
                <a:chOff x="-3634116" y="700986"/>
                <a:chExt cx="182598" cy="143759"/>
              </a:xfrm>
            </p:grpSpPr>
            <p:grpSp>
              <p:nvGrpSpPr>
                <p:cNvPr id="285" name="Groep 284">
                  <a:extLst>
                    <a:ext uri="{FF2B5EF4-FFF2-40B4-BE49-F238E27FC236}">
                      <a16:creationId xmlns:a16="http://schemas.microsoft.com/office/drawing/2014/main" id="{92B7769E-63A1-4ABD-A0A0-0B443112A358}"/>
                    </a:ext>
                  </a:extLst>
                </p:cNvPr>
                <p:cNvGrpSpPr/>
                <p:nvPr userDrawn="1"/>
              </p:nvGrpSpPr>
              <p:grpSpPr>
                <a:xfrm>
                  <a:off x="-3634116" y="700986"/>
                  <a:ext cx="182598" cy="143759"/>
                  <a:chOff x="-3634116" y="700986"/>
                  <a:chExt cx="182598" cy="143759"/>
                </a:xfrm>
              </p:grpSpPr>
              <p:cxnSp>
                <p:nvCxnSpPr>
                  <p:cNvPr id="289" name="Rechte verbindingslijn 288">
                    <a:extLst>
                      <a:ext uri="{FF2B5EF4-FFF2-40B4-BE49-F238E27FC236}">
                        <a16:creationId xmlns:a16="http://schemas.microsoft.com/office/drawing/2014/main" id="{F8257E83-CBC0-4F70-8194-62C0F4E5B0E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90" name="Rechte verbindingslijn 289">
                    <a:extLst>
                      <a:ext uri="{FF2B5EF4-FFF2-40B4-BE49-F238E27FC236}">
                        <a16:creationId xmlns:a16="http://schemas.microsoft.com/office/drawing/2014/main" id="{444686B2-5707-4A14-A116-4410697217A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91" name="Rechte verbindingslijn 290">
                    <a:extLst>
                      <a:ext uri="{FF2B5EF4-FFF2-40B4-BE49-F238E27FC236}">
                        <a16:creationId xmlns:a16="http://schemas.microsoft.com/office/drawing/2014/main" id="{A684E9F9-EF66-425F-BB26-8C990205A2F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92" name="Rechte verbindingslijn 291">
                    <a:extLst>
                      <a:ext uri="{FF2B5EF4-FFF2-40B4-BE49-F238E27FC236}">
                        <a16:creationId xmlns:a16="http://schemas.microsoft.com/office/drawing/2014/main" id="{88F545D0-D3C6-4B11-9E0A-9550379DCFE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93" name="Rechte verbindingslijn 292">
                    <a:extLst>
                      <a:ext uri="{FF2B5EF4-FFF2-40B4-BE49-F238E27FC236}">
                        <a16:creationId xmlns:a16="http://schemas.microsoft.com/office/drawing/2014/main" id="{17A6ACE0-81D8-4012-9382-C2566632BC6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86" name="Groep 285">
                  <a:extLst>
                    <a:ext uri="{FF2B5EF4-FFF2-40B4-BE49-F238E27FC236}">
                      <a16:creationId xmlns:a16="http://schemas.microsoft.com/office/drawing/2014/main" id="{B37E1FA7-BE64-4849-81DA-4E4052C18966}"/>
                    </a:ext>
                  </a:extLst>
                </p:cNvPr>
                <p:cNvGrpSpPr/>
                <p:nvPr userDrawn="1"/>
              </p:nvGrpSpPr>
              <p:grpSpPr>
                <a:xfrm>
                  <a:off x="-3634047" y="735854"/>
                  <a:ext cx="88801" cy="72568"/>
                  <a:chOff x="-2091059" y="1395403"/>
                  <a:chExt cx="157316" cy="128558"/>
                </a:xfrm>
              </p:grpSpPr>
              <p:sp>
                <p:nvSpPr>
                  <p:cNvPr id="287" name="Rechthoek 286">
                    <a:extLst>
                      <a:ext uri="{FF2B5EF4-FFF2-40B4-BE49-F238E27FC236}">
                        <a16:creationId xmlns:a16="http://schemas.microsoft.com/office/drawing/2014/main" id="{67050660-9FF3-478A-99D9-1090E38523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8" name="Pijl: punthaak 287">
                    <a:extLst>
                      <a:ext uri="{FF2B5EF4-FFF2-40B4-BE49-F238E27FC236}">
                        <a16:creationId xmlns:a16="http://schemas.microsoft.com/office/drawing/2014/main" id="{7BF97517-051C-45CD-8288-B6A7B57E61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57" name="Rechte verbindingslijn 256">
                <a:extLst>
                  <a:ext uri="{FF2B5EF4-FFF2-40B4-BE49-F238E27FC236}">
                    <a16:creationId xmlns:a16="http://schemas.microsoft.com/office/drawing/2014/main" id="{D4F99625-C68F-4DC9-BEE4-48D3ACEC3549}"/>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58" name="Rechte verbindingslijn 257">
                <a:extLst>
                  <a:ext uri="{FF2B5EF4-FFF2-40B4-BE49-F238E27FC236}">
                    <a16:creationId xmlns:a16="http://schemas.microsoft.com/office/drawing/2014/main" id="{359AD480-C921-4023-8503-922C9D517F44}"/>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59" name="Groep 258">
                <a:extLst>
                  <a:ext uri="{FF2B5EF4-FFF2-40B4-BE49-F238E27FC236}">
                    <a16:creationId xmlns:a16="http://schemas.microsoft.com/office/drawing/2014/main" id="{95045E8D-1C5E-4191-B6CD-46026C012D0D}"/>
                  </a:ext>
                </a:extLst>
              </p:cNvPr>
              <p:cNvGrpSpPr/>
              <p:nvPr userDrawn="1"/>
            </p:nvGrpSpPr>
            <p:grpSpPr>
              <a:xfrm>
                <a:off x="-2425037" y="370226"/>
                <a:ext cx="357690" cy="330595"/>
                <a:chOff x="-2721817" y="347336"/>
                <a:chExt cx="432805" cy="400021"/>
              </a:xfrm>
            </p:grpSpPr>
            <p:sp>
              <p:nvSpPr>
                <p:cNvPr id="274" name="Rechthoek 273">
                  <a:extLst>
                    <a:ext uri="{FF2B5EF4-FFF2-40B4-BE49-F238E27FC236}">
                      <a16:creationId xmlns:a16="http://schemas.microsoft.com/office/drawing/2014/main" id="{3015B5EB-2DC8-403F-A375-84E4F086439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75" name="Groep 274">
                  <a:extLst>
                    <a:ext uri="{FF2B5EF4-FFF2-40B4-BE49-F238E27FC236}">
                      <a16:creationId xmlns:a16="http://schemas.microsoft.com/office/drawing/2014/main" id="{EB779A8C-1DB8-4044-8D62-A7F88100FC55}"/>
                    </a:ext>
                  </a:extLst>
                </p:cNvPr>
                <p:cNvGrpSpPr/>
                <p:nvPr userDrawn="1"/>
              </p:nvGrpSpPr>
              <p:grpSpPr>
                <a:xfrm>
                  <a:off x="-2652453" y="431583"/>
                  <a:ext cx="294076" cy="231526"/>
                  <a:chOff x="-3634116" y="700986"/>
                  <a:chExt cx="182598" cy="143759"/>
                </a:xfrm>
              </p:grpSpPr>
              <p:grpSp>
                <p:nvGrpSpPr>
                  <p:cNvPr id="276" name="Groep 275">
                    <a:extLst>
                      <a:ext uri="{FF2B5EF4-FFF2-40B4-BE49-F238E27FC236}">
                        <a16:creationId xmlns:a16="http://schemas.microsoft.com/office/drawing/2014/main" id="{D2A35FED-6BD8-41AB-8F59-FF2BF33BCD89}"/>
                      </a:ext>
                    </a:extLst>
                  </p:cNvPr>
                  <p:cNvGrpSpPr/>
                  <p:nvPr userDrawn="1"/>
                </p:nvGrpSpPr>
                <p:grpSpPr>
                  <a:xfrm>
                    <a:off x="-3634116" y="700986"/>
                    <a:ext cx="182598" cy="143759"/>
                    <a:chOff x="-3634116" y="700986"/>
                    <a:chExt cx="182598" cy="143759"/>
                  </a:xfrm>
                </p:grpSpPr>
                <p:cxnSp>
                  <p:nvCxnSpPr>
                    <p:cNvPr id="280" name="Rechte verbindingslijn 279">
                      <a:extLst>
                        <a:ext uri="{FF2B5EF4-FFF2-40B4-BE49-F238E27FC236}">
                          <a16:creationId xmlns:a16="http://schemas.microsoft.com/office/drawing/2014/main" id="{DD41E0A3-79C5-42F3-9712-AA3D53B2671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81" name="Rechte verbindingslijn 280">
                      <a:extLst>
                        <a:ext uri="{FF2B5EF4-FFF2-40B4-BE49-F238E27FC236}">
                          <a16:creationId xmlns:a16="http://schemas.microsoft.com/office/drawing/2014/main" id="{82358B59-3D3A-423A-9B4B-B81D16CE225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82" name="Rechte verbindingslijn 281">
                      <a:extLst>
                        <a:ext uri="{FF2B5EF4-FFF2-40B4-BE49-F238E27FC236}">
                          <a16:creationId xmlns:a16="http://schemas.microsoft.com/office/drawing/2014/main" id="{5F8F92CE-CF74-4486-8DF0-5134F7E303F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83" name="Rechte verbindingslijn 282">
                      <a:extLst>
                        <a:ext uri="{FF2B5EF4-FFF2-40B4-BE49-F238E27FC236}">
                          <a16:creationId xmlns:a16="http://schemas.microsoft.com/office/drawing/2014/main" id="{AA3E59B8-4359-4B34-8EFC-2B956B2CD1EA}"/>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84" name="Rechte verbindingslijn 283">
                      <a:extLst>
                        <a:ext uri="{FF2B5EF4-FFF2-40B4-BE49-F238E27FC236}">
                          <a16:creationId xmlns:a16="http://schemas.microsoft.com/office/drawing/2014/main" id="{71D4AF3A-3A86-405C-8CA7-BDD09DD8D27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77" name="Groep 276">
                    <a:extLst>
                      <a:ext uri="{FF2B5EF4-FFF2-40B4-BE49-F238E27FC236}">
                        <a16:creationId xmlns:a16="http://schemas.microsoft.com/office/drawing/2014/main" id="{54BF1B23-EF9E-48DE-BF13-8BFB4397FE55}"/>
                      </a:ext>
                    </a:extLst>
                  </p:cNvPr>
                  <p:cNvGrpSpPr/>
                  <p:nvPr userDrawn="1"/>
                </p:nvGrpSpPr>
                <p:grpSpPr>
                  <a:xfrm>
                    <a:off x="-3634047" y="735854"/>
                    <a:ext cx="88801" cy="72568"/>
                    <a:chOff x="-2091059" y="1395403"/>
                    <a:chExt cx="157316" cy="128558"/>
                  </a:xfrm>
                </p:grpSpPr>
                <p:sp>
                  <p:nvSpPr>
                    <p:cNvPr id="278" name="Rechthoek 277">
                      <a:extLst>
                        <a:ext uri="{FF2B5EF4-FFF2-40B4-BE49-F238E27FC236}">
                          <a16:creationId xmlns:a16="http://schemas.microsoft.com/office/drawing/2014/main" id="{8B0FB909-EF47-4536-A922-4403F82E9D8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9" name="Pijl: punthaak 278">
                      <a:extLst>
                        <a:ext uri="{FF2B5EF4-FFF2-40B4-BE49-F238E27FC236}">
                          <a16:creationId xmlns:a16="http://schemas.microsoft.com/office/drawing/2014/main" id="{7178D84D-7369-4BF5-A5EB-65A7F01B44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60" name="Groep 259">
                <a:extLst>
                  <a:ext uri="{FF2B5EF4-FFF2-40B4-BE49-F238E27FC236}">
                    <a16:creationId xmlns:a16="http://schemas.microsoft.com/office/drawing/2014/main" id="{B4D0F6CC-A6CA-460C-9B22-5F69761037C0}"/>
                  </a:ext>
                </a:extLst>
              </p:cNvPr>
              <p:cNvGrpSpPr/>
              <p:nvPr userDrawn="1"/>
            </p:nvGrpSpPr>
            <p:grpSpPr>
              <a:xfrm>
                <a:off x="-2425037" y="781500"/>
                <a:ext cx="357690" cy="330595"/>
                <a:chOff x="-2721817" y="782525"/>
                <a:chExt cx="432805" cy="400021"/>
              </a:xfrm>
            </p:grpSpPr>
            <p:sp>
              <p:nvSpPr>
                <p:cNvPr id="263" name="Rechthoek 262">
                  <a:extLst>
                    <a:ext uri="{FF2B5EF4-FFF2-40B4-BE49-F238E27FC236}">
                      <a16:creationId xmlns:a16="http://schemas.microsoft.com/office/drawing/2014/main" id="{1C8D6848-59EE-475D-A328-BE5B49EB6A5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64" name="Groep 263">
                  <a:extLst>
                    <a:ext uri="{FF2B5EF4-FFF2-40B4-BE49-F238E27FC236}">
                      <a16:creationId xmlns:a16="http://schemas.microsoft.com/office/drawing/2014/main" id="{F3DC2B7C-A7AB-4E99-B4F9-50A543CB34A4}"/>
                    </a:ext>
                  </a:extLst>
                </p:cNvPr>
                <p:cNvGrpSpPr/>
                <p:nvPr userDrawn="1"/>
              </p:nvGrpSpPr>
              <p:grpSpPr>
                <a:xfrm>
                  <a:off x="-2652453" y="866772"/>
                  <a:ext cx="294076" cy="231526"/>
                  <a:chOff x="-3310843" y="700986"/>
                  <a:chExt cx="182598" cy="143759"/>
                </a:xfrm>
              </p:grpSpPr>
              <p:grpSp>
                <p:nvGrpSpPr>
                  <p:cNvPr id="265" name="Groep 264">
                    <a:extLst>
                      <a:ext uri="{FF2B5EF4-FFF2-40B4-BE49-F238E27FC236}">
                        <a16:creationId xmlns:a16="http://schemas.microsoft.com/office/drawing/2014/main" id="{D10431F4-4F32-4040-8F34-1A80843AB2EE}"/>
                      </a:ext>
                    </a:extLst>
                  </p:cNvPr>
                  <p:cNvGrpSpPr/>
                  <p:nvPr userDrawn="1"/>
                </p:nvGrpSpPr>
                <p:grpSpPr>
                  <a:xfrm>
                    <a:off x="-3310843" y="700986"/>
                    <a:ext cx="182598" cy="143759"/>
                    <a:chOff x="-3310843" y="700986"/>
                    <a:chExt cx="182598" cy="143759"/>
                  </a:xfrm>
                </p:grpSpPr>
                <p:cxnSp>
                  <p:nvCxnSpPr>
                    <p:cNvPr id="269" name="Rechte verbindingslijn 268">
                      <a:extLst>
                        <a:ext uri="{FF2B5EF4-FFF2-40B4-BE49-F238E27FC236}">
                          <a16:creationId xmlns:a16="http://schemas.microsoft.com/office/drawing/2014/main" id="{19161EDE-E28A-4E33-BD84-1998EC21B9C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70" name="Rechte verbindingslijn 269">
                      <a:extLst>
                        <a:ext uri="{FF2B5EF4-FFF2-40B4-BE49-F238E27FC236}">
                          <a16:creationId xmlns:a16="http://schemas.microsoft.com/office/drawing/2014/main" id="{567DC791-F3FA-46FA-9A76-991F5B946761}"/>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71" name="Rechte verbindingslijn 270">
                      <a:extLst>
                        <a:ext uri="{FF2B5EF4-FFF2-40B4-BE49-F238E27FC236}">
                          <a16:creationId xmlns:a16="http://schemas.microsoft.com/office/drawing/2014/main" id="{276ED34B-DABD-4507-9AD3-164CFC8E4A1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72" name="Rechte verbindingslijn 271">
                      <a:extLst>
                        <a:ext uri="{FF2B5EF4-FFF2-40B4-BE49-F238E27FC236}">
                          <a16:creationId xmlns:a16="http://schemas.microsoft.com/office/drawing/2014/main" id="{9F8FF6F4-460B-40FD-9EEB-C2F6DA2716F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73" name="Rechte verbindingslijn 272">
                      <a:extLst>
                        <a:ext uri="{FF2B5EF4-FFF2-40B4-BE49-F238E27FC236}">
                          <a16:creationId xmlns:a16="http://schemas.microsoft.com/office/drawing/2014/main" id="{32E039AD-2A01-49DA-9454-2D5E1A83872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66" name="Groep 265">
                    <a:extLst>
                      <a:ext uri="{FF2B5EF4-FFF2-40B4-BE49-F238E27FC236}">
                        <a16:creationId xmlns:a16="http://schemas.microsoft.com/office/drawing/2014/main" id="{DEE0F91F-2E31-49EB-80D1-4051937A9390}"/>
                      </a:ext>
                    </a:extLst>
                  </p:cNvPr>
                  <p:cNvGrpSpPr/>
                  <p:nvPr userDrawn="1"/>
                </p:nvGrpSpPr>
                <p:grpSpPr>
                  <a:xfrm flipH="1">
                    <a:off x="-3310774" y="735854"/>
                    <a:ext cx="88801" cy="72568"/>
                    <a:chOff x="-2091059" y="1395403"/>
                    <a:chExt cx="157316" cy="128558"/>
                  </a:xfrm>
                </p:grpSpPr>
                <p:sp>
                  <p:nvSpPr>
                    <p:cNvPr id="267" name="Rechthoek 266">
                      <a:extLst>
                        <a:ext uri="{FF2B5EF4-FFF2-40B4-BE49-F238E27FC236}">
                          <a16:creationId xmlns:a16="http://schemas.microsoft.com/office/drawing/2014/main" id="{543A816E-051C-41BB-8834-E313CFB7D09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8" name="Pijl: punthaak 267">
                      <a:extLst>
                        <a:ext uri="{FF2B5EF4-FFF2-40B4-BE49-F238E27FC236}">
                          <a16:creationId xmlns:a16="http://schemas.microsoft.com/office/drawing/2014/main" id="{7BDB7020-6C5E-43E8-A31E-0C7F32E15DF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61" name="Rechthoek 260">
                <a:extLst>
                  <a:ext uri="{FF2B5EF4-FFF2-40B4-BE49-F238E27FC236}">
                    <a16:creationId xmlns:a16="http://schemas.microsoft.com/office/drawing/2014/main" id="{F1C6515C-7515-4ED6-B2B5-3D65E095570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62" name="Rechthoek 261">
                <a:extLst>
                  <a:ext uri="{FF2B5EF4-FFF2-40B4-BE49-F238E27FC236}">
                    <a16:creationId xmlns:a16="http://schemas.microsoft.com/office/drawing/2014/main" id="{3EB7F3CC-7DFD-4B50-AA12-64AF660AA23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35" name="Rechte verbindingslijn 234">
              <a:extLst>
                <a:ext uri="{FF2B5EF4-FFF2-40B4-BE49-F238E27FC236}">
                  <a16:creationId xmlns:a16="http://schemas.microsoft.com/office/drawing/2014/main" id="{E4C9761F-B7C4-4E8B-9674-67C8A3E8A870}"/>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36" name="Rechthoek 235">
              <a:extLst>
                <a:ext uri="{FF2B5EF4-FFF2-40B4-BE49-F238E27FC236}">
                  <a16:creationId xmlns:a16="http://schemas.microsoft.com/office/drawing/2014/main" id="{9523D864-5821-4528-B63C-7856D09BC939}"/>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7" name="Ovaal 236">
              <a:extLst>
                <a:ext uri="{FF2B5EF4-FFF2-40B4-BE49-F238E27FC236}">
                  <a16:creationId xmlns:a16="http://schemas.microsoft.com/office/drawing/2014/main" id="{8B632F0A-735B-4931-AC91-D05F6BB0A58F}"/>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38" name="Rechthoek 237">
              <a:extLst>
                <a:ext uri="{FF2B5EF4-FFF2-40B4-BE49-F238E27FC236}">
                  <a16:creationId xmlns:a16="http://schemas.microsoft.com/office/drawing/2014/main" id="{A9B7281F-182E-4C78-82F2-21C5A903C3BB}"/>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39" name="Ovaal 238">
              <a:extLst>
                <a:ext uri="{FF2B5EF4-FFF2-40B4-BE49-F238E27FC236}">
                  <a16:creationId xmlns:a16="http://schemas.microsoft.com/office/drawing/2014/main" id="{8F28CED0-26EE-4BC1-B52C-4D74F39E4B9D}"/>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40" name="Rechthoek 239">
              <a:extLst>
                <a:ext uri="{FF2B5EF4-FFF2-40B4-BE49-F238E27FC236}">
                  <a16:creationId xmlns:a16="http://schemas.microsoft.com/office/drawing/2014/main" id="{230DD818-2C78-46DC-8AE6-ACB21D58BF7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41" name="Ovaal 240">
              <a:extLst>
                <a:ext uri="{FF2B5EF4-FFF2-40B4-BE49-F238E27FC236}">
                  <a16:creationId xmlns:a16="http://schemas.microsoft.com/office/drawing/2014/main" id="{63BDCE35-ED87-41D1-86A5-E701ABA46B29}"/>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42" name="Rechthoek 241">
              <a:extLst>
                <a:ext uri="{FF2B5EF4-FFF2-40B4-BE49-F238E27FC236}">
                  <a16:creationId xmlns:a16="http://schemas.microsoft.com/office/drawing/2014/main" id="{E1D77EB9-225E-4167-9935-0552AD998CCF}"/>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43" name="Ovaal 242">
              <a:extLst>
                <a:ext uri="{FF2B5EF4-FFF2-40B4-BE49-F238E27FC236}">
                  <a16:creationId xmlns:a16="http://schemas.microsoft.com/office/drawing/2014/main" id="{2D7E19D2-59F0-4447-B16C-07B6DB75293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44" name="Rechthoek 243">
              <a:extLst>
                <a:ext uri="{FF2B5EF4-FFF2-40B4-BE49-F238E27FC236}">
                  <a16:creationId xmlns:a16="http://schemas.microsoft.com/office/drawing/2014/main" id="{69154EB3-0DB9-4711-987B-ED7474A26082}"/>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45" name="Rechthoek 244">
              <a:extLst>
                <a:ext uri="{FF2B5EF4-FFF2-40B4-BE49-F238E27FC236}">
                  <a16:creationId xmlns:a16="http://schemas.microsoft.com/office/drawing/2014/main" id="{D29E9073-F387-4097-98EF-D24C484F1DE3}"/>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46" name="Rechte verbindingslijn 245">
              <a:extLst>
                <a:ext uri="{FF2B5EF4-FFF2-40B4-BE49-F238E27FC236}">
                  <a16:creationId xmlns:a16="http://schemas.microsoft.com/office/drawing/2014/main" id="{F760D3E8-EE4C-4C68-853C-9727DA767A09}"/>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47" name="Ovaal 246">
              <a:extLst>
                <a:ext uri="{FF2B5EF4-FFF2-40B4-BE49-F238E27FC236}">
                  <a16:creationId xmlns:a16="http://schemas.microsoft.com/office/drawing/2014/main" id="{6507191D-F460-45F7-86A1-B33EDBD9C865}"/>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48" name="Rechthoek 247">
              <a:extLst>
                <a:ext uri="{FF2B5EF4-FFF2-40B4-BE49-F238E27FC236}">
                  <a16:creationId xmlns:a16="http://schemas.microsoft.com/office/drawing/2014/main" id="{73D56071-38A1-41FF-BA5F-8A444C1C349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249" name="Ovaal 248">
              <a:extLst>
                <a:ext uri="{FF2B5EF4-FFF2-40B4-BE49-F238E27FC236}">
                  <a16:creationId xmlns:a16="http://schemas.microsoft.com/office/drawing/2014/main" id="{7EFA7A13-E0CD-4158-9128-01B6D14A2D53}"/>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0" name="Rechthoek 249">
              <a:extLst>
                <a:ext uri="{FF2B5EF4-FFF2-40B4-BE49-F238E27FC236}">
                  <a16:creationId xmlns:a16="http://schemas.microsoft.com/office/drawing/2014/main" id="{ED9FD791-B2F4-4A67-A42C-D03F534E1B3F}"/>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303" name="Instructie">
            <a:extLst>
              <a:ext uri="{FF2B5EF4-FFF2-40B4-BE49-F238E27FC236}">
                <a16:creationId xmlns:a16="http://schemas.microsoft.com/office/drawing/2014/main" id="{05DC39FA-E20F-4FC5-BD41-713C175BC11F}"/>
              </a:ext>
            </a:extLst>
          </p:cNvPr>
          <p:cNvGrpSpPr/>
          <p:nvPr userDrawn="1"/>
        </p:nvGrpSpPr>
        <p:grpSpPr>
          <a:xfrm>
            <a:off x="12391601" y="0"/>
            <a:ext cx="3183677" cy="2499789"/>
            <a:chOff x="12391601" y="0"/>
            <a:chExt cx="3183677" cy="2499789"/>
          </a:xfrm>
        </p:grpSpPr>
        <p:sp>
          <p:nvSpPr>
            <p:cNvPr id="304" name="Rechthoek 303">
              <a:extLst>
                <a:ext uri="{FF2B5EF4-FFF2-40B4-BE49-F238E27FC236}">
                  <a16:creationId xmlns:a16="http://schemas.microsoft.com/office/drawing/2014/main" id="{3CEC8CD8-AE01-4897-B831-53295103072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305" name="Ovaal 304">
              <a:extLst>
                <a:ext uri="{FF2B5EF4-FFF2-40B4-BE49-F238E27FC236}">
                  <a16:creationId xmlns:a16="http://schemas.microsoft.com/office/drawing/2014/main" id="{C566E74B-DB5C-4AC5-B5A8-10E3E3B36296}"/>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06" name="Rechte verbindingslijn 305">
              <a:extLst>
                <a:ext uri="{FF2B5EF4-FFF2-40B4-BE49-F238E27FC236}">
                  <a16:creationId xmlns:a16="http://schemas.microsoft.com/office/drawing/2014/main" id="{94B87B40-C6C3-46CE-83B4-ACB75DD6A29B}"/>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307" name="Rechte verbindingslijn 306">
              <a:extLst>
                <a:ext uri="{FF2B5EF4-FFF2-40B4-BE49-F238E27FC236}">
                  <a16:creationId xmlns:a16="http://schemas.microsoft.com/office/drawing/2014/main" id="{1ACE6FAD-7562-4FAB-9843-B8CE647B98D4}"/>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308" name="Rechthoek 307">
              <a:extLst>
                <a:ext uri="{FF2B5EF4-FFF2-40B4-BE49-F238E27FC236}">
                  <a16:creationId xmlns:a16="http://schemas.microsoft.com/office/drawing/2014/main" id="{F38B7203-9CCD-4392-8AC5-67DCBA24613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309" name="Ovaal 308">
              <a:extLst>
                <a:ext uri="{FF2B5EF4-FFF2-40B4-BE49-F238E27FC236}">
                  <a16:creationId xmlns:a16="http://schemas.microsoft.com/office/drawing/2014/main" id="{3A7E558A-CD23-4708-B30B-EB9FDA647C45}"/>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0" name="Rechthoek 309">
              <a:extLst>
                <a:ext uri="{FF2B5EF4-FFF2-40B4-BE49-F238E27FC236}">
                  <a16:creationId xmlns:a16="http://schemas.microsoft.com/office/drawing/2014/main" id="{B8557B11-1557-4393-8109-FF0F5D83442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11" name="Groep 310">
              <a:extLst>
                <a:ext uri="{FF2B5EF4-FFF2-40B4-BE49-F238E27FC236}">
                  <a16:creationId xmlns:a16="http://schemas.microsoft.com/office/drawing/2014/main" id="{E5BE92FA-195D-4759-801E-957D9AC424B7}"/>
                </a:ext>
              </a:extLst>
            </p:cNvPr>
            <p:cNvGrpSpPr/>
            <p:nvPr userDrawn="1"/>
          </p:nvGrpSpPr>
          <p:grpSpPr>
            <a:xfrm>
              <a:off x="12757282" y="2184550"/>
              <a:ext cx="825500" cy="209550"/>
              <a:chOff x="13504624" y="2482850"/>
              <a:chExt cx="825500" cy="209550"/>
            </a:xfrm>
          </p:grpSpPr>
          <p:sp>
            <p:nvSpPr>
              <p:cNvPr id="322" name="Rechthoek 321">
                <a:extLst>
                  <a:ext uri="{FF2B5EF4-FFF2-40B4-BE49-F238E27FC236}">
                    <a16:creationId xmlns:a16="http://schemas.microsoft.com/office/drawing/2014/main" id="{CFB19222-82F5-40ED-A2FD-347F115AA47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323" name="Rechte verbindingslijn 322">
                <a:extLst>
                  <a:ext uri="{FF2B5EF4-FFF2-40B4-BE49-F238E27FC236}">
                    <a16:creationId xmlns:a16="http://schemas.microsoft.com/office/drawing/2014/main" id="{CCB57C0A-781C-44EC-AD6A-7D191576542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4" name="Gelijkbenige driehoek 323">
                <a:extLst>
                  <a:ext uri="{FF2B5EF4-FFF2-40B4-BE49-F238E27FC236}">
                    <a16:creationId xmlns:a16="http://schemas.microsoft.com/office/drawing/2014/main" id="{ADCE21DD-7B3C-49C7-AE0F-E00672717B7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312" name="Rechte verbindingslijn 311">
              <a:extLst>
                <a:ext uri="{FF2B5EF4-FFF2-40B4-BE49-F238E27FC236}">
                  <a16:creationId xmlns:a16="http://schemas.microsoft.com/office/drawing/2014/main" id="{D8048752-7D44-400C-8F32-C4498F38DBC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313" name="Tabel icoon">
              <a:extLst>
                <a:ext uri="{FF2B5EF4-FFF2-40B4-BE49-F238E27FC236}">
                  <a16:creationId xmlns:a16="http://schemas.microsoft.com/office/drawing/2014/main" id="{9B98FBC6-5ECD-4EFA-A7FE-0A40D882E734}"/>
                </a:ext>
              </a:extLst>
            </p:cNvPr>
            <p:cNvGrpSpPr/>
            <p:nvPr userDrawn="1"/>
          </p:nvGrpSpPr>
          <p:grpSpPr>
            <a:xfrm>
              <a:off x="12757283" y="1133664"/>
              <a:ext cx="375500" cy="339168"/>
              <a:chOff x="6072040" y="3376043"/>
              <a:chExt cx="1227920" cy="1109109"/>
            </a:xfrm>
          </p:grpSpPr>
          <p:sp>
            <p:nvSpPr>
              <p:cNvPr id="314" name="Rechthoek 313">
                <a:extLst>
                  <a:ext uri="{FF2B5EF4-FFF2-40B4-BE49-F238E27FC236}">
                    <a16:creationId xmlns:a16="http://schemas.microsoft.com/office/drawing/2014/main" id="{52C17AE5-499D-4017-B722-DEAE42FC0CDA}"/>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315" name="Rechthoek 314">
                <a:extLst>
                  <a:ext uri="{FF2B5EF4-FFF2-40B4-BE49-F238E27FC236}">
                    <a16:creationId xmlns:a16="http://schemas.microsoft.com/office/drawing/2014/main" id="{7550212A-C269-4E88-96ED-000C4E4C6DB6}"/>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316" name="Rechte verbindingslijn 315">
                <a:extLst>
                  <a:ext uri="{FF2B5EF4-FFF2-40B4-BE49-F238E27FC236}">
                    <a16:creationId xmlns:a16="http://schemas.microsoft.com/office/drawing/2014/main" id="{63BF9A70-5588-4611-A6DE-E94E398023F4}"/>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7" name="Rechte verbindingslijn 316">
                <a:extLst>
                  <a:ext uri="{FF2B5EF4-FFF2-40B4-BE49-F238E27FC236}">
                    <a16:creationId xmlns:a16="http://schemas.microsoft.com/office/drawing/2014/main" id="{4F48CFFD-AEF0-4263-822E-D252DF5AD37A}"/>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8" name="Rechte verbindingslijn 317">
                <a:extLst>
                  <a:ext uri="{FF2B5EF4-FFF2-40B4-BE49-F238E27FC236}">
                    <a16:creationId xmlns:a16="http://schemas.microsoft.com/office/drawing/2014/main" id="{ECCA4748-71A8-457A-BD04-A3C11B49C624}"/>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9" name="Rechte verbindingslijn 318">
                <a:extLst>
                  <a:ext uri="{FF2B5EF4-FFF2-40B4-BE49-F238E27FC236}">
                    <a16:creationId xmlns:a16="http://schemas.microsoft.com/office/drawing/2014/main" id="{0F5B8577-53AD-4910-B42D-15BF7A8519D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0" name="Rechte verbindingslijn 319">
                <a:extLst>
                  <a:ext uri="{FF2B5EF4-FFF2-40B4-BE49-F238E27FC236}">
                    <a16:creationId xmlns:a16="http://schemas.microsoft.com/office/drawing/2014/main" id="{9A8A13C5-4F83-4566-867D-3F3C23387C8A}"/>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21" name="Rechthoek 320">
                <a:extLst>
                  <a:ext uri="{FF2B5EF4-FFF2-40B4-BE49-F238E27FC236}">
                    <a16:creationId xmlns:a16="http://schemas.microsoft.com/office/drawing/2014/main" id="{572F692C-78CF-4974-BF48-FC2F263B860F}"/>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14711916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 / TABEL 4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3934476"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84ED59E-B445-4125-A361-CCB4D267CE64}"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TABEL 4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5015238"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8" name="Tijdelijke aanduiding voor tabel 8">
            <a:extLst>
              <a:ext uri="{FF2B5EF4-FFF2-40B4-BE49-F238E27FC236}">
                <a16:creationId xmlns:a16="http://schemas.microsoft.com/office/drawing/2014/main" id="{BC74F94D-24E2-4689-BA9F-19729FCE63A5}"/>
              </a:ext>
            </a:extLst>
          </p:cNvPr>
          <p:cNvSpPr>
            <a:spLocks noGrp="1"/>
          </p:cNvSpPr>
          <p:nvPr>
            <p:ph type="tbl" sz="quarter" idx="17" hasCustomPrompt="1"/>
          </p:nvPr>
        </p:nvSpPr>
        <p:spPr>
          <a:xfrm>
            <a:off x="5555238" y="1459112"/>
            <a:ext cx="2868382" cy="1878839"/>
          </a:xfrm>
          <a:solidFill>
            <a:schemeClr val="bg1">
              <a:lumMod val="95000"/>
            </a:schemeClr>
          </a:solidFill>
        </p:spPr>
        <p:txBody>
          <a:bodyPr lIns="432000" tIns="360000" rIns="432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39" name="Tijdelijke aanduiding voor tabel 8">
            <a:extLst>
              <a:ext uri="{FF2B5EF4-FFF2-40B4-BE49-F238E27FC236}">
                <a16:creationId xmlns:a16="http://schemas.microsoft.com/office/drawing/2014/main" id="{CAA8F510-F931-426F-B509-59B6B83A05C8}"/>
              </a:ext>
            </a:extLst>
          </p:cNvPr>
          <p:cNvSpPr>
            <a:spLocks noGrp="1"/>
          </p:cNvSpPr>
          <p:nvPr>
            <p:ph type="tbl" sz="quarter" idx="18" hasCustomPrompt="1"/>
          </p:nvPr>
        </p:nvSpPr>
        <p:spPr>
          <a:xfrm>
            <a:off x="8783616" y="1459112"/>
            <a:ext cx="2868382" cy="1878839"/>
          </a:xfrm>
          <a:solidFill>
            <a:schemeClr val="bg1">
              <a:lumMod val="95000"/>
            </a:schemeClr>
          </a:solidFill>
        </p:spPr>
        <p:txBody>
          <a:bodyPr lIns="432000" tIns="360000" rIns="432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0" name="Tijdelijke aanduiding voor tabel 8">
            <a:extLst>
              <a:ext uri="{FF2B5EF4-FFF2-40B4-BE49-F238E27FC236}">
                <a16:creationId xmlns:a16="http://schemas.microsoft.com/office/drawing/2014/main" id="{FDB6B68B-3679-4BF8-9C7A-212A5B9E0F36}"/>
              </a:ext>
            </a:extLst>
          </p:cNvPr>
          <p:cNvSpPr>
            <a:spLocks noGrp="1"/>
          </p:cNvSpPr>
          <p:nvPr>
            <p:ph type="tbl" sz="quarter" idx="19" hasCustomPrompt="1"/>
          </p:nvPr>
        </p:nvSpPr>
        <p:spPr>
          <a:xfrm>
            <a:off x="5555238" y="3698999"/>
            <a:ext cx="2868382" cy="1878839"/>
          </a:xfrm>
          <a:solidFill>
            <a:schemeClr val="bg1">
              <a:lumMod val="95000"/>
            </a:schemeClr>
          </a:solidFill>
        </p:spPr>
        <p:txBody>
          <a:bodyPr lIns="432000" tIns="360000" rIns="432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1" name="Tijdelijke aanduiding voor tabel 8">
            <a:extLst>
              <a:ext uri="{FF2B5EF4-FFF2-40B4-BE49-F238E27FC236}">
                <a16:creationId xmlns:a16="http://schemas.microsoft.com/office/drawing/2014/main" id="{9E5A0EB4-00D4-48A2-AC79-7D5EFF095F9E}"/>
              </a:ext>
            </a:extLst>
          </p:cNvPr>
          <p:cNvSpPr>
            <a:spLocks noGrp="1"/>
          </p:cNvSpPr>
          <p:nvPr>
            <p:ph type="tbl" sz="quarter" idx="20" hasCustomPrompt="1"/>
          </p:nvPr>
        </p:nvSpPr>
        <p:spPr>
          <a:xfrm>
            <a:off x="8783616" y="3698999"/>
            <a:ext cx="2868382" cy="1878839"/>
          </a:xfrm>
          <a:solidFill>
            <a:schemeClr val="bg1">
              <a:lumMod val="95000"/>
            </a:schemeClr>
          </a:solidFill>
        </p:spPr>
        <p:txBody>
          <a:bodyPr lIns="432000" tIns="360000" rIns="432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230" name="Instructie">
            <a:extLst>
              <a:ext uri="{FF2B5EF4-FFF2-40B4-BE49-F238E27FC236}">
                <a16:creationId xmlns:a16="http://schemas.microsoft.com/office/drawing/2014/main" id="{E9DB7AAF-F157-411D-BE6F-1B6226450D53}"/>
              </a:ext>
            </a:extLst>
          </p:cNvPr>
          <p:cNvGrpSpPr/>
          <p:nvPr userDrawn="1"/>
        </p:nvGrpSpPr>
        <p:grpSpPr>
          <a:xfrm>
            <a:off x="-3437547" y="1434"/>
            <a:ext cx="3201327" cy="6041867"/>
            <a:chOff x="-3437547" y="1434"/>
            <a:chExt cx="3201327" cy="6041867"/>
          </a:xfrm>
        </p:grpSpPr>
        <p:cxnSp>
          <p:nvCxnSpPr>
            <p:cNvPr id="231" name="Rechte verbindingslijn 230">
              <a:extLst>
                <a:ext uri="{FF2B5EF4-FFF2-40B4-BE49-F238E27FC236}">
                  <a16:creationId xmlns:a16="http://schemas.microsoft.com/office/drawing/2014/main" id="{E6C685BD-6D5D-4C40-ADFB-7D131DF63F34}"/>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32" name="Ovaal 231">
              <a:extLst>
                <a:ext uri="{FF2B5EF4-FFF2-40B4-BE49-F238E27FC236}">
                  <a16:creationId xmlns:a16="http://schemas.microsoft.com/office/drawing/2014/main" id="{7D339716-93F8-497E-AD1D-4F8C2ED0CAEA}"/>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33" name="Rechthoek 232">
              <a:extLst>
                <a:ext uri="{FF2B5EF4-FFF2-40B4-BE49-F238E27FC236}">
                  <a16:creationId xmlns:a16="http://schemas.microsoft.com/office/drawing/2014/main" id="{107ED551-5375-43FA-A36E-6EDFCB22B9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4" name="Ovaal 233">
              <a:extLst>
                <a:ext uri="{FF2B5EF4-FFF2-40B4-BE49-F238E27FC236}">
                  <a16:creationId xmlns:a16="http://schemas.microsoft.com/office/drawing/2014/main" id="{C7031A80-F089-42F2-BCDE-32EA689FFB75}"/>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35" name="Rechthoek 234">
              <a:extLst>
                <a:ext uri="{FF2B5EF4-FFF2-40B4-BE49-F238E27FC236}">
                  <a16:creationId xmlns:a16="http://schemas.microsoft.com/office/drawing/2014/main" id="{2A96AE26-95A7-454F-B920-6C00E9D07BCF}"/>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6" name="Ovaal 235">
              <a:extLst>
                <a:ext uri="{FF2B5EF4-FFF2-40B4-BE49-F238E27FC236}">
                  <a16:creationId xmlns:a16="http://schemas.microsoft.com/office/drawing/2014/main" id="{67901273-5A96-4009-A4D4-B127228327ED}"/>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37" name="Rechthoek 236">
              <a:extLst>
                <a:ext uri="{FF2B5EF4-FFF2-40B4-BE49-F238E27FC236}">
                  <a16:creationId xmlns:a16="http://schemas.microsoft.com/office/drawing/2014/main" id="{EB56D44A-B6EF-432A-BCA7-E5D6CD07B621}"/>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38" name="Ovaal 237">
              <a:extLst>
                <a:ext uri="{FF2B5EF4-FFF2-40B4-BE49-F238E27FC236}">
                  <a16:creationId xmlns:a16="http://schemas.microsoft.com/office/drawing/2014/main" id="{F2BC1661-3BE4-4D93-876C-CE65BA5277BE}"/>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39" name="Rechthoek 238">
              <a:extLst>
                <a:ext uri="{FF2B5EF4-FFF2-40B4-BE49-F238E27FC236}">
                  <a16:creationId xmlns:a16="http://schemas.microsoft.com/office/drawing/2014/main" id="{C17C32F7-ECBE-4195-995A-6FDA25D738A9}"/>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240" name="Rechthoek 239">
              <a:extLst>
                <a:ext uri="{FF2B5EF4-FFF2-40B4-BE49-F238E27FC236}">
                  <a16:creationId xmlns:a16="http://schemas.microsoft.com/office/drawing/2014/main" id="{C6C7FA13-9E79-49B8-84E7-8B8E3651ECF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41" name="Ovaal 240">
              <a:extLst>
                <a:ext uri="{FF2B5EF4-FFF2-40B4-BE49-F238E27FC236}">
                  <a16:creationId xmlns:a16="http://schemas.microsoft.com/office/drawing/2014/main" id="{3AFD6850-542F-4DBD-8D11-D924DF7B7575}"/>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42" name="Rechte verbindingslijn 241">
              <a:extLst>
                <a:ext uri="{FF2B5EF4-FFF2-40B4-BE49-F238E27FC236}">
                  <a16:creationId xmlns:a16="http://schemas.microsoft.com/office/drawing/2014/main" id="{3F0E6AC4-1258-41E3-9AD9-20B6F5FEF697}"/>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43" name="Groep 242">
              <a:extLst>
                <a:ext uri="{FF2B5EF4-FFF2-40B4-BE49-F238E27FC236}">
                  <a16:creationId xmlns:a16="http://schemas.microsoft.com/office/drawing/2014/main" id="{753D4BFA-D6BE-4728-923B-43B7E92E71FD}"/>
                </a:ext>
              </a:extLst>
            </p:cNvPr>
            <p:cNvGrpSpPr/>
            <p:nvPr userDrawn="1"/>
          </p:nvGrpSpPr>
          <p:grpSpPr>
            <a:xfrm>
              <a:off x="-3437547" y="1295337"/>
              <a:ext cx="2933825" cy="558875"/>
              <a:chOff x="-3419346" y="368233"/>
              <a:chExt cx="3904920" cy="743862"/>
            </a:xfrm>
          </p:grpSpPr>
          <p:sp>
            <p:nvSpPr>
              <p:cNvPr id="260" name="Rechthoek 259">
                <a:extLst>
                  <a:ext uri="{FF2B5EF4-FFF2-40B4-BE49-F238E27FC236}">
                    <a16:creationId xmlns:a16="http://schemas.microsoft.com/office/drawing/2014/main" id="{75B86434-B724-4A6F-B46D-3943EE9D78C1}"/>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61" name="Rechte verbindingslijn 260">
                <a:extLst>
                  <a:ext uri="{FF2B5EF4-FFF2-40B4-BE49-F238E27FC236}">
                    <a16:creationId xmlns:a16="http://schemas.microsoft.com/office/drawing/2014/main" id="{14776DF3-4ABF-41DE-9661-99A87D23C4AC}"/>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Rechte verbindingslijn 261">
                <a:extLst>
                  <a:ext uri="{FF2B5EF4-FFF2-40B4-BE49-F238E27FC236}">
                    <a16:creationId xmlns:a16="http://schemas.microsoft.com/office/drawing/2014/main" id="{D43A93A9-37FF-4A75-A17C-30672962BC6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3" name="Rechthoek 262">
                <a:extLst>
                  <a:ext uri="{FF2B5EF4-FFF2-40B4-BE49-F238E27FC236}">
                    <a16:creationId xmlns:a16="http://schemas.microsoft.com/office/drawing/2014/main" id="{5DB219BD-09F5-4A14-8FA3-F695B471341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64" name="Groep 263">
                <a:extLst>
                  <a:ext uri="{FF2B5EF4-FFF2-40B4-BE49-F238E27FC236}">
                    <a16:creationId xmlns:a16="http://schemas.microsoft.com/office/drawing/2014/main" id="{2B64E856-E73E-4843-A808-B7DC9284370E}"/>
                  </a:ext>
                </a:extLst>
              </p:cNvPr>
              <p:cNvGrpSpPr/>
              <p:nvPr userDrawn="1"/>
            </p:nvGrpSpPr>
            <p:grpSpPr>
              <a:xfrm>
                <a:off x="-3002834" y="720303"/>
                <a:ext cx="182598" cy="143759"/>
                <a:chOff x="-3310843" y="700986"/>
                <a:chExt cx="182598" cy="143759"/>
              </a:xfrm>
            </p:grpSpPr>
            <p:grpSp>
              <p:nvGrpSpPr>
                <p:cNvPr id="303" name="Groep 302">
                  <a:extLst>
                    <a:ext uri="{FF2B5EF4-FFF2-40B4-BE49-F238E27FC236}">
                      <a16:creationId xmlns:a16="http://schemas.microsoft.com/office/drawing/2014/main" id="{5518A022-8663-4285-83DB-D691D0403B7C}"/>
                    </a:ext>
                  </a:extLst>
                </p:cNvPr>
                <p:cNvGrpSpPr/>
                <p:nvPr userDrawn="1"/>
              </p:nvGrpSpPr>
              <p:grpSpPr>
                <a:xfrm>
                  <a:off x="-3310843" y="700986"/>
                  <a:ext cx="182598" cy="143759"/>
                  <a:chOff x="-3310843" y="700986"/>
                  <a:chExt cx="182598" cy="143759"/>
                </a:xfrm>
              </p:grpSpPr>
              <p:cxnSp>
                <p:nvCxnSpPr>
                  <p:cNvPr id="307" name="Rechte verbindingslijn 306">
                    <a:extLst>
                      <a:ext uri="{FF2B5EF4-FFF2-40B4-BE49-F238E27FC236}">
                        <a16:creationId xmlns:a16="http://schemas.microsoft.com/office/drawing/2014/main" id="{FBD7D34C-9EB3-442C-BA12-235892C9BEC2}"/>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08" name="Rechte verbindingslijn 307">
                    <a:extLst>
                      <a:ext uri="{FF2B5EF4-FFF2-40B4-BE49-F238E27FC236}">
                        <a16:creationId xmlns:a16="http://schemas.microsoft.com/office/drawing/2014/main" id="{1391E6BF-5165-4FCC-B51C-15D5EEBCCFFA}"/>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09" name="Rechte verbindingslijn 308">
                    <a:extLst>
                      <a:ext uri="{FF2B5EF4-FFF2-40B4-BE49-F238E27FC236}">
                        <a16:creationId xmlns:a16="http://schemas.microsoft.com/office/drawing/2014/main" id="{C3175579-EBF1-4CFD-A526-DD4A4A79AB2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10" name="Rechte verbindingslijn 309">
                    <a:extLst>
                      <a:ext uri="{FF2B5EF4-FFF2-40B4-BE49-F238E27FC236}">
                        <a16:creationId xmlns:a16="http://schemas.microsoft.com/office/drawing/2014/main" id="{DE9C818B-5CC1-49F0-8EF8-CD27B5182E8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11" name="Rechte verbindingslijn 310">
                    <a:extLst>
                      <a:ext uri="{FF2B5EF4-FFF2-40B4-BE49-F238E27FC236}">
                        <a16:creationId xmlns:a16="http://schemas.microsoft.com/office/drawing/2014/main" id="{523CFF2D-286D-465A-A92C-0D59E2B7C92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04" name="Groep 303">
                  <a:extLst>
                    <a:ext uri="{FF2B5EF4-FFF2-40B4-BE49-F238E27FC236}">
                      <a16:creationId xmlns:a16="http://schemas.microsoft.com/office/drawing/2014/main" id="{ED3B0C80-3D3E-4A37-80B2-259FB94956CF}"/>
                    </a:ext>
                  </a:extLst>
                </p:cNvPr>
                <p:cNvGrpSpPr/>
                <p:nvPr userDrawn="1"/>
              </p:nvGrpSpPr>
              <p:grpSpPr>
                <a:xfrm flipH="1">
                  <a:off x="-3310774" y="735854"/>
                  <a:ext cx="88801" cy="72568"/>
                  <a:chOff x="-2091059" y="1395403"/>
                  <a:chExt cx="157316" cy="128558"/>
                </a:xfrm>
              </p:grpSpPr>
              <p:sp>
                <p:nvSpPr>
                  <p:cNvPr id="305" name="Rechthoek 304">
                    <a:extLst>
                      <a:ext uri="{FF2B5EF4-FFF2-40B4-BE49-F238E27FC236}">
                        <a16:creationId xmlns:a16="http://schemas.microsoft.com/office/drawing/2014/main" id="{8A1811D5-35ED-49C4-A504-6F5D5B9E8E6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06" name="Pijl: punthaak 305">
                    <a:extLst>
                      <a:ext uri="{FF2B5EF4-FFF2-40B4-BE49-F238E27FC236}">
                        <a16:creationId xmlns:a16="http://schemas.microsoft.com/office/drawing/2014/main" id="{6E2E1F6D-E3EC-4D4D-BB32-BB499252BA9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65" name="Groep 264">
                <a:extLst>
                  <a:ext uri="{FF2B5EF4-FFF2-40B4-BE49-F238E27FC236}">
                    <a16:creationId xmlns:a16="http://schemas.microsoft.com/office/drawing/2014/main" id="{49FDB4DC-3EFB-41E0-A608-EC886B6D8FD7}"/>
                  </a:ext>
                </a:extLst>
              </p:cNvPr>
              <p:cNvGrpSpPr/>
              <p:nvPr userDrawn="1"/>
            </p:nvGrpSpPr>
            <p:grpSpPr>
              <a:xfrm>
                <a:off x="-3326107" y="720303"/>
                <a:ext cx="182598" cy="143759"/>
                <a:chOff x="-3634116" y="700986"/>
                <a:chExt cx="182598" cy="143759"/>
              </a:xfrm>
            </p:grpSpPr>
            <p:grpSp>
              <p:nvGrpSpPr>
                <p:cNvPr id="294" name="Groep 293">
                  <a:extLst>
                    <a:ext uri="{FF2B5EF4-FFF2-40B4-BE49-F238E27FC236}">
                      <a16:creationId xmlns:a16="http://schemas.microsoft.com/office/drawing/2014/main" id="{A5EA7900-2EE3-4140-9BD5-211D34986D25}"/>
                    </a:ext>
                  </a:extLst>
                </p:cNvPr>
                <p:cNvGrpSpPr/>
                <p:nvPr userDrawn="1"/>
              </p:nvGrpSpPr>
              <p:grpSpPr>
                <a:xfrm>
                  <a:off x="-3634116" y="700986"/>
                  <a:ext cx="182598" cy="143759"/>
                  <a:chOff x="-3634116" y="700986"/>
                  <a:chExt cx="182598" cy="143759"/>
                </a:xfrm>
              </p:grpSpPr>
              <p:cxnSp>
                <p:nvCxnSpPr>
                  <p:cNvPr id="298" name="Rechte verbindingslijn 297">
                    <a:extLst>
                      <a:ext uri="{FF2B5EF4-FFF2-40B4-BE49-F238E27FC236}">
                        <a16:creationId xmlns:a16="http://schemas.microsoft.com/office/drawing/2014/main" id="{71524C11-5CD4-4CF8-BA72-A7D0DDFCB02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99" name="Rechte verbindingslijn 298">
                    <a:extLst>
                      <a:ext uri="{FF2B5EF4-FFF2-40B4-BE49-F238E27FC236}">
                        <a16:creationId xmlns:a16="http://schemas.microsoft.com/office/drawing/2014/main" id="{1F43EE9D-BD2C-499B-B722-84EDF8C9DF34}"/>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00" name="Rechte verbindingslijn 299">
                    <a:extLst>
                      <a:ext uri="{FF2B5EF4-FFF2-40B4-BE49-F238E27FC236}">
                        <a16:creationId xmlns:a16="http://schemas.microsoft.com/office/drawing/2014/main" id="{BF814A4E-40CD-4B76-8174-4AD1200811D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01" name="Rechte verbindingslijn 300">
                    <a:extLst>
                      <a:ext uri="{FF2B5EF4-FFF2-40B4-BE49-F238E27FC236}">
                        <a16:creationId xmlns:a16="http://schemas.microsoft.com/office/drawing/2014/main" id="{8A7D2AE3-C908-4CC9-8A1B-69370A7D79A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02" name="Rechte verbindingslijn 301">
                    <a:extLst>
                      <a:ext uri="{FF2B5EF4-FFF2-40B4-BE49-F238E27FC236}">
                        <a16:creationId xmlns:a16="http://schemas.microsoft.com/office/drawing/2014/main" id="{5778AED6-898A-493C-A4F2-36457101DC6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95" name="Groep 294">
                  <a:extLst>
                    <a:ext uri="{FF2B5EF4-FFF2-40B4-BE49-F238E27FC236}">
                      <a16:creationId xmlns:a16="http://schemas.microsoft.com/office/drawing/2014/main" id="{C5555A22-02DA-4197-B9CB-9584B5976919}"/>
                    </a:ext>
                  </a:extLst>
                </p:cNvPr>
                <p:cNvGrpSpPr/>
                <p:nvPr userDrawn="1"/>
              </p:nvGrpSpPr>
              <p:grpSpPr>
                <a:xfrm>
                  <a:off x="-3634047" y="735854"/>
                  <a:ext cx="88801" cy="72568"/>
                  <a:chOff x="-2091059" y="1395403"/>
                  <a:chExt cx="157316" cy="128558"/>
                </a:xfrm>
              </p:grpSpPr>
              <p:sp>
                <p:nvSpPr>
                  <p:cNvPr id="296" name="Rechthoek 295">
                    <a:extLst>
                      <a:ext uri="{FF2B5EF4-FFF2-40B4-BE49-F238E27FC236}">
                        <a16:creationId xmlns:a16="http://schemas.microsoft.com/office/drawing/2014/main" id="{5D2B8588-2DB0-4EF0-942C-EA634D48958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97" name="Pijl: punthaak 296">
                    <a:extLst>
                      <a:ext uri="{FF2B5EF4-FFF2-40B4-BE49-F238E27FC236}">
                        <a16:creationId xmlns:a16="http://schemas.microsoft.com/office/drawing/2014/main" id="{6C6EF06C-F29C-442C-AF63-8334C3073AA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66" name="Rechte verbindingslijn 265">
                <a:extLst>
                  <a:ext uri="{FF2B5EF4-FFF2-40B4-BE49-F238E27FC236}">
                    <a16:creationId xmlns:a16="http://schemas.microsoft.com/office/drawing/2014/main" id="{36EC6C65-C6E4-430B-9F50-A9E5F3792E3E}"/>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67" name="Rechte verbindingslijn 266">
                <a:extLst>
                  <a:ext uri="{FF2B5EF4-FFF2-40B4-BE49-F238E27FC236}">
                    <a16:creationId xmlns:a16="http://schemas.microsoft.com/office/drawing/2014/main" id="{80BCC55C-4AEC-47D0-81FD-C4DBC10A25D6}"/>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68" name="Groep 267">
                <a:extLst>
                  <a:ext uri="{FF2B5EF4-FFF2-40B4-BE49-F238E27FC236}">
                    <a16:creationId xmlns:a16="http://schemas.microsoft.com/office/drawing/2014/main" id="{589CDE9B-39CF-4FC6-BB08-2E5A078BEA8D}"/>
                  </a:ext>
                </a:extLst>
              </p:cNvPr>
              <p:cNvGrpSpPr/>
              <p:nvPr userDrawn="1"/>
            </p:nvGrpSpPr>
            <p:grpSpPr>
              <a:xfrm>
                <a:off x="-2425037" y="370226"/>
                <a:ext cx="357690" cy="330595"/>
                <a:chOff x="-2721817" y="347336"/>
                <a:chExt cx="432805" cy="400021"/>
              </a:xfrm>
            </p:grpSpPr>
            <p:sp>
              <p:nvSpPr>
                <p:cNvPr id="283" name="Rechthoek 282">
                  <a:extLst>
                    <a:ext uri="{FF2B5EF4-FFF2-40B4-BE49-F238E27FC236}">
                      <a16:creationId xmlns:a16="http://schemas.microsoft.com/office/drawing/2014/main" id="{12C3A738-EF03-4375-97E9-A6C0FFA708E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84" name="Groep 283">
                  <a:extLst>
                    <a:ext uri="{FF2B5EF4-FFF2-40B4-BE49-F238E27FC236}">
                      <a16:creationId xmlns:a16="http://schemas.microsoft.com/office/drawing/2014/main" id="{FD357FE6-1C1B-4A26-9718-2E88DE1D3E23}"/>
                    </a:ext>
                  </a:extLst>
                </p:cNvPr>
                <p:cNvGrpSpPr/>
                <p:nvPr userDrawn="1"/>
              </p:nvGrpSpPr>
              <p:grpSpPr>
                <a:xfrm>
                  <a:off x="-2652453" y="431583"/>
                  <a:ext cx="294076" cy="231526"/>
                  <a:chOff x="-3634116" y="700986"/>
                  <a:chExt cx="182598" cy="143759"/>
                </a:xfrm>
              </p:grpSpPr>
              <p:grpSp>
                <p:nvGrpSpPr>
                  <p:cNvPr id="285" name="Groep 284">
                    <a:extLst>
                      <a:ext uri="{FF2B5EF4-FFF2-40B4-BE49-F238E27FC236}">
                        <a16:creationId xmlns:a16="http://schemas.microsoft.com/office/drawing/2014/main" id="{D845DBC7-CB8A-4EB4-8BFA-81609DCE3B42}"/>
                      </a:ext>
                    </a:extLst>
                  </p:cNvPr>
                  <p:cNvGrpSpPr/>
                  <p:nvPr userDrawn="1"/>
                </p:nvGrpSpPr>
                <p:grpSpPr>
                  <a:xfrm>
                    <a:off x="-3634116" y="700986"/>
                    <a:ext cx="182598" cy="143759"/>
                    <a:chOff x="-3634116" y="700986"/>
                    <a:chExt cx="182598" cy="143759"/>
                  </a:xfrm>
                </p:grpSpPr>
                <p:cxnSp>
                  <p:nvCxnSpPr>
                    <p:cNvPr id="289" name="Rechte verbindingslijn 288">
                      <a:extLst>
                        <a:ext uri="{FF2B5EF4-FFF2-40B4-BE49-F238E27FC236}">
                          <a16:creationId xmlns:a16="http://schemas.microsoft.com/office/drawing/2014/main" id="{9E81999D-2BEE-482C-83EA-D05781A982A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90" name="Rechte verbindingslijn 289">
                      <a:extLst>
                        <a:ext uri="{FF2B5EF4-FFF2-40B4-BE49-F238E27FC236}">
                          <a16:creationId xmlns:a16="http://schemas.microsoft.com/office/drawing/2014/main" id="{2A53F11F-FE0D-4C4F-9C71-97393225FFF3}"/>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91" name="Rechte verbindingslijn 290">
                      <a:extLst>
                        <a:ext uri="{FF2B5EF4-FFF2-40B4-BE49-F238E27FC236}">
                          <a16:creationId xmlns:a16="http://schemas.microsoft.com/office/drawing/2014/main" id="{22D43B22-E93D-4E81-975E-C609CEE3A28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92" name="Rechte verbindingslijn 291">
                      <a:extLst>
                        <a:ext uri="{FF2B5EF4-FFF2-40B4-BE49-F238E27FC236}">
                          <a16:creationId xmlns:a16="http://schemas.microsoft.com/office/drawing/2014/main" id="{D4639661-13B5-4DA3-9B19-75624C35C269}"/>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93" name="Rechte verbindingslijn 292">
                      <a:extLst>
                        <a:ext uri="{FF2B5EF4-FFF2-40B4-BE49-F238E27FC236}">
                          <a16:creationId xmlns:a16="http://schemas.microsoft.com/office/drawing/2014/main" id="{29B28214-51B7-4916-B84D-378362A84C9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86" name="Groep 285">
                    <a:extLst>
                      <a:ext uri="{FF2B5EF4-FFF2-40B4-BE49-F238E27FC236}">
                        <a16:creationId xmlns:a16="http://schemas.microsoft.com/office/drawing/2014/main" id="{7DDAC773-993F-416F-95B9-A87F4013B6C8}"/>
                      </a:ext>
                    </a:extLst>
                  </p:cNvPr>
                  <p:cNvGrpSpPr/>
                  <p:nvPr userDrawn="1"/>
                </p:nvGrpSpPr>
                <p:grpSpPr>
                  <a:xfrm>
                    <a:off x="-3634047" y="735854"/>
                    <a:ext cx="88801" cy="72568"/>
                    <a:chOff x="-2091059" y="1395403"/>
                    <a:chExt cx="157316" cy="128558"/>
                  </a:xfrm>
                </p:grpSpPr>
                <p:sp>
                  <p:nvSpPr>
                    <p:cNvPr id="287" name="Rechthoek 286">
                      <a:extLst>
                        <a:ext uri="{FF2B5EF4-FFF2-40B4-BE49-F238E27FC236}">
                          <a16:creationId xmlns:a16="http://schemas.microsoft.com/office/drawing/2014/main" id="{498A9B40-F916-4BCC-A67F-20F63969BD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8" name="Pijl: punthaak 287">
                      <a:extLst>
                        <a:ext uri="{FF2B5EF4-FFF2-40B4-BE49-F238E27FC236}">
                          <a16:creationId xmlns:a16="http://schemas.microsoft.com/office/drawing/2014/main" id="{17C536E6-AB16-4BF9-B7A4-010F8C7964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69" name="Groep 268">
                <a:extLst>
                  <a:ext uri="{FF2B5EF4-FFF2-40B4-BE49-F238E27FC236}">
                    <a16:creationId xmlns:a16="http://schemas.microsoft.com/office/drawing/2014/main" id="{27151BDB-8DEE-4B3D-BD95-892F4DB23B1D}"/>
                  </a:ext>
                </a:extLst>
              </p:cNvPr>
              <p:cNvGrpSpPr/>
              <p:nvPr userDrawn="1"/>
            </p:nvGrpSpPr>
            <p:grpSpPr>
              <a:xfrm>
                <a:off x="-2425037" y="781500"/>
                <a:ext cx="357690" cy="330595"/>
                <a:chOff x="-2721817" y="782525"/>
                <a:chExt cx="432805" cy="400021"/>
              </a:xfrm>
            </p:grpSpPr>
            <p:sp>
              <p:nvSpPr>
                <p:cNvPr id="272" name="Rechthoek 271">
                  <a:extLst>
                    <a:ext uri="{FF2B5EF4-FFF2-40B4-BE49-F238E27FC236}">
                      <a16:creationId xmlns:a16="http://schemas.microsoft.com/office/drawing/2014/main" id="{78016BDB-5322-4535-942F-5B6A920AB55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73" name="Groep 272">
                  <a:extLst>
                    <a:ext uri="{FF2B5EF4-FFF2-40B4-BE49-F238E27FC236}">
                      <a16:creationId xmlns:a16="http://schemas.microsoft.com/office/drawing/2014/main" id="{B73801C7-54D7-4A27-A8C1-2F5C1F7B0598}"/>
                    </a:ext>
                  </a:extLst>
                </p:cNvPr>
                <p:cNvGrpSpPr/>
                <p:nvPr userDrawn="1"/>
              </p:nvGrpSpPr>
              <p:grpSpPr>
                <a:xfrm>
                  <a:off x="-2652453" y="866772"/>
                  <a:ext cx="294076" cy="231526"/>
                  <a:chOff x="-3310843" y="700986"/>
                  <a:chExt cx="182598" cy="143759"/>
                </a:xfrm>
              </p:grpSpPr>
              <p:grpSp>
                <p:nvGrpSpPr>
                  <p:cNvPr id="274" name="Groep 273">
                    <a:extLst>
                      <a:ext uri="{FF2B5EF4-FFF2-40B4-BE49-F238E27FC236}">
                        <a16:creationId xmlns:a16="http://schemas.microsoft.com/office/drawing/2014/main" id="{095C0BCD-ED81-4023-81F3-05A91C04A9CC}"/>
                      </a:ext>
                    </a:extLst>
                  </p:cNvPr>
                  <p:cNvGrpSpPr/>
                  <p:nvPr userDrawn="1"/>
                </p:nvGrpSpPr>
                <p:grpSpPr>
                  <a:xfrm>
                    <a:off x="-3310843" y="700986"/>
                    <a:ext cx="182598" cy="143759"/>
                    <a:chOff x="-3310843" y="700986"/>
                    <a:chExt cx="182598" cy="143759"/>
                  </a:xfrm>
                </p:grpSpPr>
                <p:cxnSp>
                  <p:nvCxnSpPr>
                    <p:cNvPr id="278" name="Rechte verbindingslijn 277">
                      <a:extLst>
                        <a:ext uri="{FF2B5EF4-FFF2-40B4-BE49-F238E27FC236}">
                          <a16:creationId xmlns:a16="http://schemas.microsoft.com/office/drawing/2014/main" id="{54FF38E4-BACB-4F5B-BAC5-20CBC04F5F7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79" name="Rechte verbindingslijn 278">
                      <a:extLst>
                        <a:ext uri="{FF2B5EF4-FFF2-40B4-BE49-F238E27FC236}">
                          <a16:creationId xmlns:a16="http://schemas.microsoft.com/office/drawing/2014/main" id="{EFEC67E8-982D-4834-B338-E8C384C5099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80" name="Rechte verbindingslijn 279">
                      <a:extLst>
                        <a:ext uri="{FF2B5EF4-FFF2-40B4-BE49-F238E27FC236}">
                          <a16:creationId xmlns:a16="http://schemas.microsoft.com/office/drawing/2014/main" id="{63DDF9AB-62D3-429F-B75C-557A5AD9627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81" name="Rechte verbindingslijn 280">
                      <a:extLst>
                        <a:ext uri="{FF2B5EF4-FFF2-40B4-BE49-F238E27FC236}">
                          <a16:creationId xmlns:a16="http://schemas.microsoft.com/office/drawing/2014/main" id="{D5372101-9CE2-4C07-B442-61383BEB7EF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82" name="Rechte verbindingslijn 281">
                      <a:extLst>
                        <a:ext uri="{FF2B5EF4-FFF2-40B4-BE49-F238E27FC236}">
                          <a16:creationId xmlns:a16="http://schemas.microsoft.com/office/drawing/2014/main" id="{722592F8-635A-4DA9-9C6E-274CF2BA0FD0}"/>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75" name="Groep 274">
                    <a:extLst>
                      <a:ext uri="{FF2B5EF4-FFF2-40B4-BE49-F238E27FC236}">
                        <a16:creationId xmlns:a16="http://schemas.microsoft.com/office/drawing/2014/main" id="{8606DD50-A340-4C84-A168-32055E12D6EB}"/>
                      </a:ext>
                    </a:extLst>
                  </p:cNvPr>
                  <p:cNvGrpSpPr/>
                  <p:nvPr userDrawn="1"/>
                </p:nvGrpSpPr>
                <p:grpSpPr>
                  <a:xfrm flipH="1">
                    <a:off x="-3310774" y="735854"/>
                    <a:ext cx="88801" cy="72568"/>
                    <a:chOff x="-2091059" y="1395403"/>
                    <a:chExt cx="157316" cy="128558"/>
                  </a:xfrm>
                </p:grpSpPr>
                <p:sp>
                  <p:nvSpPr>
                    <p:cNvPr id="276" name="Rechthoek 275">
                      <a:extLst>
                        <a:ext uri="{FF2B5EF4-FFF2-40B4-BE49-F238E27FC236}">
                          <a16:creationId xmlns:a16="http://schemas.microsoft.com/office/drawing/2014/main" id="{30CB3723-0DF0-419D-A243-FC7837798E5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7" name="Pijl: punthaak 276">
                      <a:extLst>
                        <a:ext uri="{FF2B5EF4-FFF2-40B4-BE49-F238E27FC236}">
                          <a16:creationId xmlns:a16="http://schemas.microsoft.com/office/drawing/2014/main" id="{C928910E-32D1-45B7-BCAD-1F92B23697E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70" name="Rechthoek 269">
                <a:extLst>
                  <a:ext uri="{FF2B5EF4-FFF2-40B4-BE49-F238E27FC236}">
                    <a16:creationId xmlns:a16="http://schemas.microsoft.com/office/drawing/2014/main" id="{9A0AC279-9C64-40B5-A259-F91E97DD85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71" name="Rechthoek 270">
                <a:extLst>
                  <a:ext uri="{FF2B5EF4-FFF2-40B4-BE49-F238E27FC236}">
                    <a16:creationId xmlns:a16="http://schemas.microsoft.com/office/drawing/2014/main" id="{20034261-AFF3-4916-B8DE-4E12D0A49DC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44" name="Rechte verbindingslijn 243">
              <a:extLst>
                <a:ext uri="{FF2B5EF4-FFF2-40B4-BE49-F238E27FC236}">
                  <a16:creationId xmlns:a16="http://schemas.microsoft.com/office/drawing/2014/main" id="{5B91DA79-C12E-4AD1-A18A-C170B0579690}"/>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45" name="Rechthoek 244">
              <a:extLst>
                <a:ext uri="{FF2B5EF4-FFF2-40B4-BE49-F238E27FC236}">
                  <a16:creationId xmlns:a16="http://schemas.microsoft.com/office/drawing/2014/main" id="{47789934-DE87-41C7-9447-720FA8C053DC}"/>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46" name="Ovaal 245">
              <a:extLst>
                <a:ext uri="{FF2B5EF4-FFF2-40B4-BE49-F238E27FC236}">
                  <a16:creationId xmlns:a16="http://schemas.microsoft.com/office/drawing/2014/main" id="{71745DED-93DA-4FB1-86EC-0E2947444CDD}"/>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47" name="Rechthoek 246">
              <a:extLst>
                <a:ext uri="{FF2B5EF4-FFF2-40B4-BE49-F238E27FC236}">
                  <a16:creationId xmlns:a16="http://schemas.microsoft.com/office/drawing/2014/main" id="{753E4D0A-0F61-4C86-9240-87214F9AE5CD}"/>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48" name="Ovaal 247">
              <a:extLst>
                <a:ext uri="{FF2B5EF4-FFF2-40B4-BE49-F238E27FC236}">
                  <a16:creationId xmlns:a16="http://schemas.microsoft.com/office/drawing/2014/main" id="{E1D8641A-9CAF-4311-9B49-A4127E0A5E35}"/>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49" name="Rechthoek 248">
              <a:extLst>
                <a:ext uri="{FF2B5EF4-FFF2-40B4-BE49-F238E27FC236}">
                  <a16:creationId xmlns:a16="http://schemas.microsoft.com/office/drawing/2014/main" id="{C8C85584-D0CC-42DF-BC71-FFE6436D58D3}"/>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50" name="Ovaal 249">
              <a:extLst>
                <a:ext uri="{FF2B5EF4-FFF2-40B4-BE49-F238E27FC236}">
                  <a16:creationId xmlns:a16="http://schemas.microsoft.com/office/drawing/2014/main" id="{216B64B7-8299-4339-A6BE-65EB970D1BB8}"/>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51" name="Rechthoek 250">
              <a:extLst>
                <a:ext uri="{FF2B5EF4-FFF2-40B4-BE49-F238E27FC236}">
                  <a16:creationId xmlns:a16="http://schemas.microsoft.com/office/drawing/2014/main" id="{AE96D69C-11F6-4127-A6C6-E93C10351538}"/>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52" name="Ovaal 251">
              <a:extLst>
                <a:ext uri="{FF2B5EF4-FFF2-40B4-BE49-F238E27FC236}">
                  <a16:creationId xmlns:a16="http://schemas.microsoft.com/office/drawing/2014/main" id="{314DE40F-F20A-4C14-A172-2A907AE2267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53" name="Rechthoek 252">
              <a:extLst>
                <a:ext uri="{FF2B5EF4-FFF2-40B4-BE49-F238E27FC236}">
                  <a16:creationId xmlns:a16="http://schemas.microsoft.com/office/drawing/2014/main" id="{007562AC-2303-409C-A14B-7342B0737ED4}"/>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54" name="Rechthoek 253">
              <a:extLst>
                <a:ext uri="{FF2B5EF4-FFF2-40B4-BE49-F238E27FC236}">
                  <a16:creationId xmlns:a16="http://schemas.microsoft.com/office/drawing/2014/main" id="{DB9A2DCC-E590-4FDC-A37C-3422D1E9667F}"/>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55" name="Rechte verbindingslijn 254">
              <a:extLst>
                <a:ext uri="{FF2B5EF4-FFF2-40B4-BE49-F238E27FC236}">
                  <a16:creationId xmlns:a16="http://schemas.microsoft.com/office/drawing/2014/main" id="{1D023111-277A-4944-B9A1-3507E7881513}"/>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56" name="Ovaal 255">
              <a:extLst>
                <a:ext uri="{FF2B5EF4-FFF2-40B4-BE49-F238E27FC236}">
                  <a16:creationId xmlns:a16="http://schemas.microsoft.com/office/drawing/2014/main" id="{DCC5CB5C-A7E7-46F5-B3DD-04EDDA8BB98E}"/>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57" name="Rechthoek 256">
              <a:extLst>
                <a:ext uri="{FF2B5EF4-FFF2-40B4-BE49-F238E27FC236}">
                  <a16:creationId xmlns:a16="http://schemas.microsoft.com/office/drawing/2014/main" id="{F5CA65F7-9207-45E4-8E8A-1DB91ACBC1C7}"/>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258" name="Ovaal 257">
              <a:extLst>
                <a:ext uri="{FF2B5EF4-FFF2-40B4-BE49-F238E27FC236}">
                  <a16:creationId xmlns:a16="http://schemas.microsoft.com/office/drawing/2014/main" id="{60EF0DB7-2981-4C0C-A3D2-5C6B7828F96E}"/>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9" name="Rechthoek 258">
              <a:extLst>
                <a:ext uri="{FF2B5EF4-FFF2-40B4-BE49-F238E27FC236}">
                  <a16:creationId xmlns:a16="http://schemas.microsoft.com/office/drawing/2014/main" id="{F057FF7E-881F-45CC-88D4-2E8D70EB1A39}"/>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312" name="Instructie">
            <a:extLst>
              <a:ext uri="{FF2B5EF4-FFF2-40B4-BE49-F238E27FC236}">
                <a16:creationId xmlns:a16="http://schemas.microsoft.com/office/drawing/2014/main" id="{3E6CDCE8-9C1A-4209-A05D-0F7AB0C7BEC2}"/>
              </a:ext>
            </a:extLst>
          </p:cNvPr>
          <p:cNvGrpSpPr/>
          <p:nvPr userDrawn="1"/>
        </p:nvGrpSpPr>
        <p:grpSpPr>
          <a:xfrm>
            <a:off x="12391601" y="0"/>
            <a:ext cx="3183677" cy="2499789"/>
            <a:chOff x="12391601" y="0"/>
            <a:chExt cx="3183677" cy="2499789"/>
          </a:xfrm>
        </p:grpSpPr>
        <p:sp>
          <p:nvSpPr>
            <p:cNvPr id="313" name="Rechthoek 312">
              <a:extLst>
                <a:ext uri="{FF2B5EF4-FFF2-40B4-BE49-F238E27FC236}">
                  <a16:creationId xmlns:a16="http://schemas.microsoft.com/office/drawing/2014/main" id="{6920A5F9-38BC-405A-804E-D0E873A4CC0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314" name="Ovaal 313">
              <a:extLst>
                <a:ext uri="{FF2B5EF4-FFF2-40B4-BE49-F238E27FC236}">
                  <a16:creationId xmlns:a16="http://schemas.microsoft.com/office/drawing/2014/main" id="{A6B2C391-672F-4406-9505-DEF46CDAB81F}"/>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15" name="Rechte verbindingslijn 314">
              <a:extLst>
                <a:ext uri="{FF2B5EF4-FFF2-40B4-BE49-F238E27FC236}">
                  <a16:creationId xmlns:a16="http://schemas.microsoft.com/office/drawing/2014/main" id="{59D1BB86-93EE-4F49-A3B0-9CF5773DDEC5}"/>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316" name="Rechte verbindingslijn 315">
              <a:extLst>
                <a:ext uri="{FF2B5EF4-FFF2-40B4-BE49-F238E27FC236}">
                  <a16:creationId xmlns:a16="http://schemas.microsoft.com/office/drawing/2014/main" id="{16986D34-E1C9-4768-AA5F-9CCF2CC64EDA}"/>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317" name="Rechthoek 316">
              <a:extLst>
                <a:ext uri="{FF2B5EF4-FFF2-40B4-BE49-F238E27FC236}">
                  <a16:creationId xmlns:a16="http://schemas.microsoft.com/office/drawing/2014/main" id="{80C3275E-427E-4F57-AA86-8AFD3708469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318" name="Ovaal 317">
              <a:extLst>
                <a:ext uri="{FF2B5EF4-FFF2-40B4-BE49-F238E27FC236}">
                  <a16:creationId xmlns:a16="http://schemas.microsoft.com/office/drawing/2014/main" id="{3C000680-DAD4-4F26-A92C-DFD09F0250D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9" name="Rechthoek 318">
              <a:extLst>
                <a:ext uri="{FF2B5EF4-FFF2-40B4-BE49-F238E27FC236}">
                  <a16:creationId xmlns:a16="http://schemas.microsoft.com/office/drawing/2014/main" id="{D4ABAF02-5F5D-4FA2-8BD8-2E43E086F0F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20" name="Groep 319">
              <a:extLst>
                <a:ext uri="{FF2B5EF4-FFF2-40B4-BE49-F238E27FC236}">
                  <a16:creationId xmlns:a16="http://schemas.microsoft.com/office/drawing/2014/main" id="{DC9C785A-5E87-4A6B-8A1E-7BED55D126D9}"/>
                </a:ext>
              </a:extLst>
            </p:cNvPr>
            <p:cNvGrpSpPr/>
            <p:nvPr userDrawn="1"/>
          </p:nvGrpSpPr>
          <p:grpSpPr>
            <a:xfrm>
              <a:off x="12757282" y="2184550"/>
              <a:ext cx="825500" cy="209550"/>
              <a:chOff x="13504624" y="2482850"/>
              <a:chExt cx="825500" cy="209550"/>
            </a:xfrm>
          </p:grpSpPr>
          <p:sp>
            <p:nvSpPr>
              <p:cNvPr id="331" name="Rechthoek 330">
                <a:extLst>
                  <a:ext uri="{FF2B5EF4-FFF2-40B4-BE49-F238E27FC236}">
                    <a16:creationId xmlns:a16="http://schemas.microsoft.com/office/drawing/2014/main" id="{6502314D-9C1A-4A3F-AD62-1D6DC875150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332" name="Rechte verbindingslijn 331">
                <a:extLst>
                  <a:ext uri="{FF2B5EF4-FFF2-40B4-BE49-F238E27FC236}">
                    <a16:creationId xmlns:a16="http://schemas.microsoft.com/office/drawing/2014/main" id="{A8E1C660-F930-40FA-8788-C7F8E2E2FC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33" name="Gelijkbenige driehoek 332">
                <a:extLst>
                  <a:ext uri="{FF2B5EF4-FFF2-40B4-BE49-F238E27FC236}">
                    <a16:creationId xmlns:a16="http://schemas.microsoft.com/office/drawing/2014/main" id="{704CD03F-27AF-457C-BDE3-A91571FFDC2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321" name="Rechte verbindingslijn 320">
              <a:extLst>
                <a:ext uri="{FF2B5EF4-FFF2-40B4-BE49-F238E27FC236}">
                  <a16:creationId xmlns:a16="http://schemas.microsoft.com/office/drawing/2014/main" id="{16C9B4F3-5660-48AE-B2B0-115EE32E95C3}"/>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322" name="Tabel icoon">
              <a:extLst>
                <a:ext uri="{FF2B5EF4-FFF2-40B4-BE49-F238E27FC236}">
                  <a16:creationId xmlns:a16="http://schemas.microsoft.com/office/drawing/2014/main" id="{3AD7280B-CA10-417D-AD8B-9C0A15FC8837}"/>
                </a:ext>
              </a:extLst>
            </p:cNvPr>
            <p:cNvGrpSpPr/>
            <p:nvPr userDrawn="1"/>
          </p:nvGrpSpPr>
          <p:grpSpPr>
            <a:xfrm>
              <a:off x="12757283" y="1133664"/>
              <a:ext cx="375500" cy="339168"/>
              <a:chOff x="6072040" y="3376043"/>
              <a:chExt cx="1227920" cy="1109109"/>
            </a:xfrm>
          </p:grpSpPr>
          <p:sp>
            <p:nvSpPr>
              <p:cNvPr id="323" name="Rechthoek 322">
                <a:extLst>
                  <a:ext uri="{FF2B5EF4-FFF2-40B4-BE49-F238E27FC236}">
                    <a16:creationId xmlns:a16="http://schemas.microsoft.com/office/drawing/2014/main" id="{410C6B0F-C9DD-4634-9F26-0D66AB174194}"/>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324" name="Rechthoek 323">
                <a:extLst>
                  <a:ext uri="{FF2B5EF4-FFF2-40B4-BE49-F238E27FC236}">
                    <a16:creationId xmlns:a16="http://schemas.microsoft.com/office/drawing/2014/main" id="{948678FB-847A-41FF-9195-84A6FC5ECF1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325" name="Rechte verbindingslijn 324">
                <a:extLst>
                  <a:ext uri="{FF2B5EF4-FFF2-40B4-BE49-F238E27FC236}">
                    <a16:creationId xmlns:a16="http://schemas.microsoft.com/office/drawing/2014/main" id="{D78B3CE6-06EB-4830-A143-984E35D9179A}"/>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6" name="Rechte verbindingslijn 325">
                <a:extLst>
                  <a:ext uri="{FF2B5EF4-FFF2-40B4-BE49-F238E27FC236}">
                    <a16:creationId xmlns:a16="http://schemas.microsoft.com/office/drawing/2014/main" id="{8A20F3A5-67E5-4428-8175-2B7A9E42632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7" name="Rechte verbindingslijn 326">
                <a:extLst>
                  <a:ext uri="{FF2B5EF4-FFF2-40B4-BE49-F238E27FC236}">
                    <a16:creationId xmlns:a16="http://schemas.microsoft.com/office/drawing/2014/main" id="{2A5B27AE-9E33-4DB0-AD80-0B3CB69FA5A9}"/>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8" name="Rechte verbindingslijn 327">
                <a:extLst>
                  <a:ext uri="{FF2B5EF4-FFF2-40B4-BE49-F238E27FC236}">
                    <a16:creationId xmlns:a16="http://schemas.microsoft.com/office/drawing/2014/main" id="{31EB11D2-91D1-4149-89C5-1F40DF5C036D}"/>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9" name="Rechte verbindingslijn 328">
                <a:extLst>
                  <a:ext uri="{FF2B5EF4-FFF2-40B4-BE49-F238E27FC236}">
                    <a16:creationId xmlns:a16="http://schemas.microsoft.com/office/drawing/2014/main" id="{4798BE63-A488-4485-BA78-F6FE6FBD7374}"/>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30" name="Rechthoek 329">
                <a:extLst>
                  <a:ext uri="{FF2B5EF4-FFF2-40B4-BE49-F238E27FC236}">
                    <a16:creationId xmlns:a16="http://schemas.microsoft.com/office/drawing/2014/main" id="{8AD466E9-BB10-4396-A03F-ED67DCB0F10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4795335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1978AA17-878B-48EF-819A-CEC642EDAA36}"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abel</a:t>
            </a:r>
          </a:p>
        </p:txBody>
      </p:sp>
      <p:sp>
        <p:nvSpPr>
          <p:cNvPr id="22" name="Tijdelijke aanduiding voor tabel 8">
            <a:extLst>
              <a:ext uri="{FF2B5EF4-FFF2-40B4-BE49-F238E27FC236}">
                <a16:creationId xmlns:a16="http://schemas.microsoft.com/office/drawing/2014/main" id="{3A7B68F0-B315-4D78-8510-1A733C0EE1BD}"/>
              </a:ext>
            </a:extLst>
          </p:cNvPr>
          <p:cNvSpPr>
            <a:spLocks noGrp="1"/>
          </p:cNvSpPr>
          <p:nvPr>
            <p:ph type="tbl" sz="quarter" idx="17" hasCustomPrompt="1"/>
          </p:nvPr>
        </p:nvSpPr>
        <p:spPr>
          <a:xfrm>
            <a:off x="539749" y="1459112"/>
            <a:ext cx="11112251" cy="4119774"/>
          </a:xfrm>
          <a:solidFill>
            <a:schemeClr val="bg1">
              <a:lumMod val="95000"/>
            </a:schemeClr>
          </a:solidFill>
        </p:spPr>
        <p:txBody>
          <a:bodyPr tIns="16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21" name="Tijdelijke aanduiding voor tekst 43">
            <a:extLst>
              <a:ext uri="{FF2B5EF4-FFF2-40B4-BE49-F238E27FC236}">
                <a16:creationId xmlns:a16="http://schemas.microsoft.com/office/drawing/2014/main" id="{E9870227-35F5-4343-95B9-F4996570B217}"/>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41" name="Instructie">
            <a:extLst>
              <a:ext uri="{FF2B5EF4-FFF2-40B4-BE49-F238E27FC236}">
                <a16:creationId xmlns:a16="http://schemas.microsoft.com/office/drawing/2014/main" id="{42FBC1ED-EE6F-4E5A-84CA-0283E514C9D5}"/>
              </a:ext>
            </a:extLst>
          </p:cNvPr>
          <p:cNvGrpSpPr/>
          <p:nvPr userDrawn="1"/>
        </p:nvGrpSpPr>
        <p:grpSpPr>
          <a:xfrm>
            <a:off x="12391601" y="0"/>
            <a:ext cx="3183677" cy="2499789"/>
            <a:chOff x="12391601" y="0"/>
            <a:chExt cx="3183677" cy="2499789"/>
          </a:xfrm>
        </p:grpSpPr>
        <p:sp>
          <p:nvSpPr>
            <p:cNvPr id="42" name="Rechthoek 41">
              <a:extLst>
                <a:ext uri="{FF2B5EF4-FFF2-40B4-BE49-F238E27FC236}">
                  <a16:creationId xmlns:a16="http://schemas.microsoft.com/office/drawing/2014/main" id="{DF4754D5-DE56-4EE2-A860-06CAD88F5DF8}"/>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43" name="Ovaal 42">
              <a:extLst>
                <a:ext uri="{FF2B5EF4-FFF2-40B4-BE49-F238E27FC236}">
                  <a16:creationId xmlns:a16="http://schemas.microsoft.com/office/drawing/2014/main" id="{B2EF2DAF-0E72-4527-BF24-D5972B43A1E1}"/>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4" name="Rechte verbindingslijn 43">
              <a:extLst>
                <a:ext uri="{FF2B5EF4-FFF2-40B4-BE49-F238E27FC236}">
                  <a16:creationId xmlns:a16="http://schemas.microsoft.com/office/drawing/2014/main" id="{297AAD0B-37E7-4686-941F-4662C812C44F}"/>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5" name="Rechte verbindingslijn 44">
              <a:extLst>
                <a:ext uri="{FF2B5EF4-FFF2-40B4-BE49-F238E27FC236}">
                  <a16:creationId xmlns:a16="http://schemas.microsoft.com/office/drawing/2014/main" id="{BC792BCC-6082-476C-B5AD-4EAE1520B86B}"/>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6" name="Rechthoek 45">
              <a:extLst>
                <a:ext uri="{FF2B5EF4-FFF2-40B4-BE49-F238E27FC236}">
                  <a16:creationId xmlns:a16="http://schemas.microsoft.com/office/drawing/2014/main" id="{4E6ED860-C858-4869-BE40-F32240A07ED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7" name="Ovaal 46">
              <a:extLst>
                <a:ext uri="{FF2B5EF4-FFF2-40B4-BE49-F238E27FC236}">
                  <a16:creationId xmlns:a16="http://schemas.microsoft.com/office/drawing/2014/main" id="{362ED69E-A120-4E71-927D-BE70F8696B7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 name="Rechthoek 47">
              <a:extLst>
                <a:ext uri="{FF2B5EF4-FFF2-40B4-BE49-F238E27FC236}">
                  <a16:creationId xmlns:a16="http://schemas.microsoft.com/office/drawing/2014/main" id="{EDD63F0A-B561-454B-850F-8C02C930AB73}"/>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9" name="Groep 48">
              <a:extLst>
                <a:ext uri="{FF2B5EF4-FFF2-40B4-BE49-F238E27FC236}">
                  <a16:creationId xmlns:a16="http://schemas.microsoft.com/office/drawing/2014/main" id="{6EF274DC-C092-405D-94A5-FC67534BB2E1}"/>
                </a:ext>
              </a:extLst>
            </p:cNvPr>
            <p:cNvGrpSpPr/>
            <p:nvPr userDrawn="1"/>
          </p:nvGrpSpPr>
          <p:grpSpPr>
            <a:xfrm>
              <a:off x="12757282" y="2184550"/>
              <a:ext cx="825500" cy="209550"/>
              <a:chOff x="13504624" y="2482850"/>
              <a:chExt cx="825500" cy="209550"/>
            </a:xfrm>
          </p:grpSpPr>
          <p:sp>
            <p:nvSpPr>
              <p:cNvPr id="60" name="Rechthoek 59">
                <a:extLst>
                  <a:ext uri="{FF2B5EF4-FFF2-40B4-BE49-F238E27FC236}">
                    <a16:creationId xmlns:a16="http://schemas.microsoft.com/office/drawing/2014/main" id="{19CB3C8A-E064-40B2-98F3-E454EAC98DA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61" name="Rechte verbindingslijn 60">
                <a:extLst>
                  <a:ext uri="{FF2B5EF4-FFF2-40B4-BE49-F238E27FC236}">
                    <a16:creationId xmlns:a16="http://schemas.microsoft.com/office/drawing/2014/main" id="{BAF23CE3-1113-4FE8-B53A-E5C0F149AD5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62" name="Gelijkbenige driehoek 61">
                <a:extLst>
                  <a:ext uri="{FF2B5EF4-FFF2-40B4-BE49-F238E27FC236}">
                    <a16:creationId xmlns:a16="http://schemas.microsoft.com/office/drawing/2014/main" id="{ED7A6F93-C3F6-4D35-A1D7-80FFF565838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50" name="Rechte verbindingslijn 49">
              <a:extLst>
                <a:ext uri="{FF2B5EF4-FFF2-40B4-BE49-F238E27FC236}">
                  <a16:creationId xmlns:a16="http://schemas.microsoft.com/office/drawing/2014/main" id="{DF05761D-C45F-481B-827F-A7C20E6BCA95}"/>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1" name="Tabel icoon">
              <a:extLst>
                <a:ext uri="{FF2B5EF4-FFF2-40B4-BE49-F238E27FC236}">
                  <a16:creationId xmlns:a16="http://schemas.microsoft.com/office/drawing/2014/main" id="{5EAD34A7-E242-4F6A-ACF1-864B15587138}"/>
                </a:ext>
              </a:extLst>
            </p:cNvPr>
            <p:cNvGrpSpPr/>
            <p:nvPr userDrawn="1"/>
          </p:nvGrpSpPr>
          <p:grpSpPr>
            <a:xfrm>
              <a:off x="12757283" y="1133664"/>
              <a:ext cx="375500" cy="339168"/>
              <a:chOff x="6072040" y="3376043"/>
              <a:chExt cx="1227920" cy="1109109"/>
            </a:xfrm>
          </p:grpSpPr>
          <p:sp>
            <p:nvSpPr>
              <p:cNvPr id="52" name="Rechthoek 51">
                <a:extLst>
                  <a:ext uri="{FF2B5EF4-FFF2-40B4-BE49-F238E27FC236}">
                    <a16:creationId xmlns:a16="http://schemas.microsoft.com/office/drawing/2014/main" id="{8CE3C954-D297-458D-A189-29A98D0C2EE1}"/>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53" name="Rechthoek 52">
                <a:extLst>
                  <a:ext uri="{FF2B5EF4-FFF2-40B4-BE49-F238E27FC236}">
                    <a16:creationId xmlns:a16="http://schemas.microsoft.com/office/drawing/2014/main" id="{BE3502DD-0DF7-4C04-A608-D6EF84CC022E}"/>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54" name="Rechte verbindingslijn 53">
                <a:extLst>
                  <a:ext uri="{FF2B5EF4-FFF2-40B4-BE49-F238E27FC236}">
                    <a16:creationId xmlns:a16="http://schemas.microsoft.com/office/drawing/2014/main" id="{1CEC8736-D674-4573-BDE6-1D329D735175}"/>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5" name="Rechte verbindingslijn 54">
                <a:extLst>
                  <a:ext uri="{FF2B5EF4-FFF2-40B4-BE49-F238E27FC236}">
                    <a16:creationId xmlns:a16="http://schemas.microsoft.com/office/drawing/2014/main" id="{C5D8B1FD-8C8E-4A82-AC75-6A186F79209E}"/>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885D6CEC-C122-4568-BE44-17932EFFCDA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AD9B3590-09C3-4D85-B813-DDCBF88FAA5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7EE41E3A-9F52-47B8-A9AC-944E657D362B}"/>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59" name="Rechthoek 58">
                <a:extLst>
                  <a:ext uri="{FF2B5EF4-FFF2-40B4-BE49-F238E27FC236}">
                    <a16:creationId xmlns:a16="http://schemas.microsoft.com/office/drawing/2014/main" id="{C2F4FD23-A5FD-436B-AC3C-7BFB4B651544}"/>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20286725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EL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CF5872B9-550B-4CC1-9739-3BE576E17868}"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ABEL 2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1" y="1459112"/>
            <a:ext cx="5015239" cy="4119774"/>
          </a:xfrm>
          <a:solidFill>
            <a:schemeClr val="bg1">
              <a:lumMod val="95000"/>
            </a:schemeClr>
          </a:solidFill>
        </p:spPr>
        <p:txBody>
          <a:bodyPr tIns="16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14" name="Tijdelijke aanduiding voor tabel 8">
            <a:extLst>
              <a:ext uri="{FF2B5EF4-FFF2-40B4-BE49-F238E27FC236}">
                <a16:creationId xmlns:a16="http://schemas.microsoft.com/office/drawing/2014/main" id="{A226F564-B653-436B-A00E-574B5C7449F3}"/>
              </a:ext>
            </a:extLst>
          </p:cNvPr>
          <p:cNvSpPr>
            <a:spLocks noGrp="1"/>
          </p:cNvSpPr>
          <p:nvPr>
            <p:ph type="tbl" sz="quarter" idx="18" hasCustomPrompt="1"/>
          </p:nvPr>
        </p:nvSpPr>
        <p:spPr>
          <a:xfrm>
            <a:off x="540380" y="1459112"/>
            <a:ext cx="5015239" cy="4119774"/>
          </a:xfrm>
          <a:solidFill>
            <a:schemeClr val="bg1">
              <a:lumMod val="95000"/>
            </a:schemeClr>
          </a:solidFill>
        </p:spPr>
        <p:txBody>
          <a:bodyPr tIns="16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45" name="Instructie">
            <a:extLst>
              <a:ext uri="{FF2B5EF4-FFF2-40B4-BE49-F238E27FC236}">
                <a16:creationId xmlns:a16="http://schemas.microsoft.com/office/drawing/2014/main" id="{8A0C0D31-D75C-446A-BB9E-A076D8C77657}"/>
              </a:ext>
            </a:extLst>
          </p:cNvPr>
          <p:cNvGrpSpPr/>
          <p:nvPr userDrawn="1"/>
        </p:nvGrpSpPr>
        <p:grpSpPr>
          <a:xfrm>
            <a:off x="12391601" y="0"/>
            <a:ext cx="3183677" cy="2499789"/>
            <a:chOff x="12391601" y="0"/>
            <a:chExt cx="3183677" cy="2499789"/>
          </a:xfrm>
        </p:grpSpPr>
        <p:sp>
          <p:nvSpPr>
            <p:cNvPr id="46" name="Rechthoek 45">
              <a:extLst>
                <a:ext uri="{FF2B5EF4-FFF2-40B4-BE49-F238E27FC236}">
                  <a16:creationId xmlns:a16="http://schemas.microsoft.com/office/drawing/2014/main" id="{B91290DC-856A-433E-BFD5-F7E7E9C60F3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47" name="Ovaal 46">
              <a:extLst>
                <a:ext uri="{FF2B5EF4-FFF2-40B4-BE49-F238E27FC236}">
                  <a16:creationId xmlns:a16="http://schemas.microsoft.com/office/drawing/2014/main" id="{70CC8C3A-960B-4D17-9755-4A2479A43500}"/>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8" name="Rechte verbindingslijn 47">
              <a:extLst>
                <a:ext uri="{FF2B5EF4-FFF2-40B4-BE49-F238E27FC236}">
                  <a16:creationId xmlns:a16="http://schemas.microsoft.com/office/drawing/2014/main" id="{2B36F137-5F0D-4ADC-80FB-927F46A8EA1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9" name="Rechte verbindingslijn 48">
              <a:extLst>
                <a:ext uri="{FF2B5EF4-FFF2-40B4-BE49-F238E27FC236}">
                  <a16:creationId xmlns:a16="http://schemas.microsoft.com/office/drawing/2014/main" id="{B931654A-0EC1-49B4-8053-F30B802B63B1}"/>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50" name="Rechthoek 49">
              <a:extLst>
                <a:ext uri="{FF2B5EF4-FFF2-40B4-BE49-F238E27FC236}">
                  <a16:creationId xmlns:a16="http://schemas.microsoft.com/office/drawing/2014/main" id="{F5CA018A-CCA7-425F-97A0-BD3B72B22C3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51" name="Ovaal 50">
              <a:extLst>
                <a:ext uri="{FF2B5EF4-FFF2-40B4-BE49-F238E27FC236}">
                  <a16:creationId xmlns:a16="http://schemas.microsoft.com/office/drawing/2014/main" id="{C90BF624-314A-4C15-A3AE-64C4AE648F50}"/>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52" name="Rechthoek 51">
              <a:extLst>
                <a:ext uri="{FF2B5EF4-FFF2-40B4-BE49-F238E27FC236}">
                  <a16:creationId xmlns:a16="http://schemas.microsoft.com/office/drawing/2014/main" id="{CB5C31F9-49E1-4FFD-8549-ECA3E5901AC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53" name="Groep 52">
              <a:extLst>
                <a:ext uri="{FF2B5EF4-FFF2-40B4-BE49-F238E27FC236}">
                  <a16:creationId xmlns:a16="http://schemas.microsoft.com/office/drawing/2014/main" id="{30BA01A7-81DD-4656-A23E-F192B0BE5E03}"/>
                </a:ext>
              </a:extLst>
            </p:cNvPr>
            <p:cNvGrpSpPr/>
            <p:nvPr userDrawn="1"/>
          </p:nvGrpSpPr>
          <p:grpSpPr>
            <a:xfrm>
              <a:off x="12757282" y="2184550"/>
              <a:ext cx="825500" cy="209550"/>
              <a:chOff x="13504624" y="2482850"/>
              <a:chExt cx="825500" cy="209550"/>
            </a:xfrm>
          </p:grpSpPr>
          <p:sp>
            <p:nvSpPr>
              <p:cNvPr id="64" name="Rechthoek 63">
                <a:extLst>
                  <a:ext uri="{FF2B5EF4-FFF2-40B4-BE49-F238E27FC236}">
                    <a16:creationId xmlns:a16="http://schemas.microsoft.com/office/drawing/2014/main" id="{1E736A58-EB82-4B13-9BB8-BAFBD0A520D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65" name="Rechte verbindingslijn 64">
                <a:extLst>
                  <a:ext uri="{FF2B5EF4-FFF2-40B4-BE49-F238E27FC236}">
                    <a16:creationId xmlns:a16="http://schemas.microsoft.com/office/drawing/2014/main" id="{8F907CA0-E66A-4404-B31E-EE3522B7D8E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66" name="Gelijkbenige driehoek 65">
                <a:extLst>
                  <a:ext uri="{FF2B5EF4-FFF2-40B4-BE49-F238E27FC236}">
                    <a16:creationId xmlns:a16="http://schemas.microsoft.com/office/drawing/2014/main" id="{5B071A01-3045-476F-BDF5-D617A1657D1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54" name="Rechte verbindingslijn 53">
              <a:extLst>
                <a:ext uri="{FF2B5EF4-FFF2-40B4-BE49-F238E27FC236}">
                  <a16:creationId xmlns:a16="http://schemas.microsoft.com/office/drawing/2014/main" id="{8701935B-ED1E-42CF-BFCB-40C74CDC616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5" name="Tabel icoon">
              <a:extLst>
                <a:ext uri="{FF2B5EF4-FFF2-40B4-BE49-F238E27FC236}">
                  <a16:creationId xmlns:a16="http://schemas.microsoft.com/office/drawing/2014/main" id="{7F103449-72D5-4E5E-A74E-E20BBA11BF27}"/>
                </a:ext>
              </a:extLst>
            </p:cNvPr>
            <p:cNvGrpSpPr/>
            <p:nvPr userDrawn="1"/>
          </p:nvGrpSpPr>
          <p:grpSpPr>
            <a:xfrm>
              <a:off x="12757283" y="1133664"/>
              <a:ext cx="375500" cy="339168"/>
              <a:chOff x="6072040" y="3376043"/>
              <a:chExt cx="1227920" cy="1109109"/>
            </a:xfrm>
          </p:grpSpPr>
          <p:sp>
            <p:nvSpPr>
              <p:cNvPr id="56" name="Rechthoek 55">
                <a:extLst>
                  <a:ext uri="{FF2B5EF4-FFF2-40B4-BE49-F238E27FC236}">
                    <a16:creationId xmlns:a16="http://schemas.microsoft.com/office/drawing/2014/main" id="{F25AF511-6A90-4A1C-95A5-720F9DC59D8F}"/>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57" name="Rechthoek 56">
                <a:extLst>
                  <a:ext uri="{FF2B5EF4-FFF2-40B4-BE49-F238E27FC236}">
                    <a16:creationId xmlns:a16="http://schemas.microsoft.com/office/drawing/2014/main" id="{437D3D54-530E-4568-ACDA-E74DC82FB04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58" name="Rechte verbindingslijn 57">
                <a:extLst>
                  <a:ext uri="{FF2B5EF4-FFF2-40B4-BE49-F238E27FC236}">
                    <a16:creationId xmlns:a16="http://schemas.microsoft.com/office/drawing/2014/main" id="{DF9254E2-11B8-4621-B19A-737008A6D0A3}"/>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9" name="Rechte verbindingslijn 58">
                <a:extLst>
                  <a:ext uri="{FF2B5EF4-FFF2-40B4-BE49-F238E27FC236}">
                    <a16:creationId xmlns:a16="http://schemas.microsoft.com/office/drawing/2014/main" id="{2AD9DDE3-43CC-4A25-9142-864E7BC1A68D}"/>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0E7D6EE7-389B-469B-B664-3F09DA01611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D805E76C-5B31-4B5C-84AA-31CE6A29789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90891540-F250-4BD9-ABE7-74D25A6D2012}"/>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F1B0D6FD-047A-48FB-852A-E861943C4035}"/>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16083485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EL 6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34D46D2F-812F-4989-981C-2673365C7FDB}"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ABEL 6X</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0" y="333899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7828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BAA97654-86F5-45C9-B8DC-C6648BCE9369}"/>
                </a:ext>
              </a:extLst>
            </p:cNvPr>
            <p:cNvSpPr/>
            <p:nvPr userDrawn="1"/>
          </p:nvSpPr>
          <p:spPr>
            <a:xfrm>
              <a:off x="4004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0" name="Tijdelijke aanduiding voor tabel 8">
            <a:extLst>
              <a:ext uri="{FF2B5EF4-FFF2-40B4-BE49-F238E27FC236}">
                <a16:creationId xmlns:a16="http://schemas.microsoft.com/office/drawing/2014/main" id="{80107622-679C-4B64-AA31-F30D636B17F5}"/>
              </a:ext>
            </a:extLst>
          </p:cNvPr>
          <p:cNvSpPr>
            <a:spLocks noGrp="1"/>
          </p:cNvSpPr>
          <p:nvPr>
            <p:ph type="tbl" sz="quarter" idx="17" hasCustomPrompt="1"/>
          </p:nvPr>
        </p:nvSpPr>
        <p:spPr>
          <a:xfrm>
            <a:off x="539748" y="1459112"/>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34" name="Tijdelijke aanduiding voor tabel 8">
            <a:extLst>
              <a:ext uri="{FF2B5EF4-FFF2-40B4-BE49-F238E27FC236}">
                <a16:creationId xmlns:a16="http://schemas.microsoft.com/office/drawing/2014/main" id="{182F6DBE-CDDA-4656-9BC7-F8AE251C1B1B}"/>
              </a:ext>
            </a:extLst>
          </p:cNvPr>
          <p:cNvSpPr>
            <a:spLocks noGrp="1"/>
          </p:cNvSpPr>
          <p:nvPr>
            <p:ph type="tbl" sz="quarter" idx="18" hasCustomPrompt="1"/>
          </p:nvPr>
        </p:nvSpPr>
        <p:spPr>
          <a:xfrm>
            <a:off x="4363747" y="1459112"/>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1" name="Tijdelijke aanduiding voor tabel 8">
            <a:extLst>
              <a:ext uri="{FF2B5EF4-FFF2-40B4-BE49-F238E27FC236}">
                <a16:creationId xmlns:a16="http://schemas.microsoft.com/office/drawing/2014/main" id="{15D495A5-2912-4282-BCD4-3A183BAFFDCB}"/>
              </a:ext>
            </a:extLst>
          </p:cNvPr>
          <p:cNvSpPr>
            <a:spLocks noGrp="1"/>
          </p:cNvSpPr>
          <p:nvPr>
            <p:ph type="tbl" sz="quarter" idx="19" hasCustomPrompt="1"/>
          </p:nvPr>
        </p:nvSpPr>
        <p:spPr>
          <a:xfrm>
            <a:off x="8187745" y="1459112"/>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2" name="Tijdelijke aanduiding voor tabel 8">
            <a:extLst>
              <a:ext uri="{FF2B5EF4-FFF2-40B4-BE49-F238E27FC236}">
                <a16:creationId xmlns:a16="http://schemas.microsoft.com/office/drawing/2014/main" id="{073422C5-11F8-403A-B63D-02CF5E5EC9FE}"/>
              </a:ext>
            </a:extLst>
          </p:cNvPr>
          <p:cNvSpPr>
            <a:spLocks noGrp="1"/>
          </p:cNvSpPr>
          <p:nvPr>
            <p:ph type="tbl" sz="quarter" idx="20" hasCustomPrompt="1"/>
          </p:nvPr>
        </p:nvSpPr>
        <p:spPr>
          <a:xfrm>
            <a:off x="539748" y="3698999"/>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3" name="Tijdelijke aanduiding voor tabel 8">
            <a:extLst>
              <a:ext uri="{FF2B5EF4-FFF2-40B4-BE49-F238E27FC236}">
                <a16:creationId xmlns:a16="http://schemas.microsoft.com/office/drawing/2014/main" id="{0D40636B-2477-4352-B8C2-76C3F881622A}"/>
              </a:ext>
            </a:extLst>
          </p:cNvPr>
          <p:cNvSpPr>
            <a:spLocks noGrp="1"/>
          </p:cNvSpPr>
          <p:nvPr>
            <p:ph type="tbl" sz="quarter" idx="21" hasCustomPrompt="1"/>
          </p:nvPr>
        </p:nvSpPr>
        <p:spPr>
          <a:xfrm>
            <a:off x="4363747" y="3698999"/>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4" name="Tijdelijke aanduiding voor tabel 8">
            <a:extLst>
              <a:ext uri="{FF2B5EF4-FFF2-40B4-BE49-F238E27FC236}">
                <a16:creationId xmlns:a16="http://schemas.microsoft.com/office/drawing/2014/main" id="{AD8194A7-CE39-4217-886D-D9AFC72F0DA9}"/>
              </a:ext>
            </a:extLst>
          </p:cNvPr>
          <p:cNvSpPr>
            <a:spLocks noGrp="1"/>
          </p:cNvSpPr>
          <p:nvPr>
            <p:ph type="tbl" sz="quarter" idx="22" hasCustomPrompt="1"/>
          </p:nvPr>
        </p:nvSpPr>
        <p:spPr>
          <a:xfrm>
            <a:off x="8187745" y="3698999"/>
            <a:ext cx="3464251" cy="1878839"/>
          </a:xfrm>
          <a:solidFill>
            <a:schemeClr val="bg1">
              <a:lumMod val="95000"/>
            </a:schemeClr>
          </a:solidFill>
        </p:spPr>
        <p:txBody>
          <a:bodyPr lIns="720000" tIns="360000" rIns="7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71" name="Instructie">
            <a:extLst>
              <a:ext uri="{FF2B5EF4-FFF2-40B4-BE49-F238E27FC236}">
                <a16:creationId xmlns:a16="http://schemas.microsoft.com/office/drawing/2014/main" id="{EE3F0FC0-35AF-4755-A0CA-49C25EA6A326}"/>
              </a:ext>
            </a:extLst>
          </p:cNvPr>
          <p:cNvGrpSpPr/>
          <p:nvPr userDrawn="1"/>
        </p:nvGrpSpPr>
        <p:grpSpPr>
          <a:xfrm>
            <a:off x="12391601" y="0"/>
            <a:ext cx="3183677" cy="2499789"/>
            <a:chOff x="12391601" y="0"/>
            <a:chExt cx="3183677" cy="2499789"/>
          </a:xfrm>
        </p:grpSpPr>
        <p:sp>
          <p:nvSpPr>
            <p:cNvPr id="72" name="Rechthoek 71">
              <a:extLst>
                <a:ext uri="{FF2B5EF4-FFF2-40B4-BE49-F238E27FC236}">
                  <a16:creationId xmlns:a16="http://schemas.microsoft.com/office/drawing/2014/main" id="{E731DB2F-CC10-4081-99AF-A03609A7342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73" name="Ovaal 72">
              <a:extLst>
                <a:ext uri="{FF2B5EF4-FFF2-40B4-BE49-F238E27FC236}">
                  <a16:creationId xmlns:a16="http://schemas.microsoft.com/office/drawing/2014/main" id="{2E402626-25E7-42AC-9226-03F71DF72111}"/>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74" name="Rechte verbindingslijn 73">
              <a:extLst>
                <a:ext uri="{FF2B5EF4-FFF2-40B4-BE49-F238E27FC236}">
                  <a16:creationId xmlns:a16="http://schemas.microsoft.com/office/drawing/2014/main" id="{63185E89-B85A-4882-9991-56ADB67D2E04}"/>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75" name="Rechte verbindingslijn 74">
              <a:extLst>
                <a:ext uri="{FF2B5EF4-FFF2-40B4-BE49-F238E27FC236}">
                  <a16:creationId xmlns:a16="http://schemas.microsoft.com/office/drawing/2014/main" id="{FE5F08F2-9D3B-4B3C-B5F2-901F91B37D6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76" name="Rechthoek 75">
              <a:extLst>
                <a:ext uri="{FF2B5EF4-FFF2-40B4-BE49-F238E27FC236}">
                  <a16:creationId xmlns:a16="http://schemas.microsoft.com/office/drawing/2014/main" id="{CB281058-440C-4B63-AC05-F320CE1A1C5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77" name="Ovaal 76">
              <a:extLst>
                <a:ext uri="{FF2B5EF4-FFF2-40B4-BE49-F238E27FC236}">
                  <a16:creationId xmlns:a16="http://schemas.microsoft.com/office/drawing/2014/main" id="{DF63A5BD-86BD-40E5-9F7D-D1DD789DED73}"/>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8" name="Rechthoek 77">
              <a:extLst>
                <a:ext uri="{FF2B5EF4-FFF2-40B4-BE49-F238E27FC236}">
                  <a16:creationId xmlns:a16="http://schemas.microsoft.com/office/drawing/2014/main" id="{60E5AA8A-4D01-4A21-BECB-1B65DEFBBFA7}"/>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9" name="Groep 78">
              <a:extLst>
                <a:ext uri="{FF2B5EF4-FFF2-40B4-BE49-F238E27FC236}">
                  <a16:creationId xmlns:a16="http://schemas.microsoft.com/office/drawing/2014/main" id="{F744C072-389E-4370-9918-1814ACC4565C}"/>
                </a:ext>
              </a:extLst>
            </p:cNvPr>
            <p:cNvGrpSpPr/>
            <p:nvPr userDrawn="1"/>
          </p:nvGrpSpPr>
          <p:grpSpPr>
            <a:xfrm>
              <a:off x="12757282" y="2184550"/>
              <a:ext cx="825500" cy="209550"/>
              <a:chOff x="13504624" y="2482850"/>
              <a:chExt cx="825500" cy="209550"/>
            </a:xfrm>
          </p:grpSpPr>
          <p:sp>
            <p:nvSpPr>
              <p:cNvPr id="90" name="Rechthoek 89">
                <a:extLst>
                  <a:ext uri="{FF2B5EF4-FFF2-40B4-BE49-F238E27FC236}">
                    <a16:creationId xmlns:a16="http://schemas.microsoft.com/office/drawing/2014/main" id="{87F12D03-5527-489C-8820-79315F9017B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91" name="Rechte verbindingslijn 90">
                <a:extLst>
                  <a:ext uri="{FF2B5EF4-FFF2-40B4-BE49-F238E27FC236}">
                    <a16:creationId xmlns:a16="http://schemas.microsoft.com/office/drawing/2014/main" id="{694010AB-7F5A-402D-81BA-2786D1D95BA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92" name="Gelijkbenige driehoek 91">
                <a:extLst>
                  <a:ext uri="{FF2B5EF4-FFF2-40B4-BE49-F238E27FC236}">
                    <a16:creationId xmlns:a16="http://schemas.microsoft.com/office/drawing/2014/main" id="{B6A59092-6CEE-4817-AE38-60EEFFCB102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80" name="Rechte verbindingslijn 79">
              <a:extLst>
                <a:ext uri="{FF2B5EF4-FFF2-40B4-BE49-F238E27FC236}">
                  <a16:creationId xmlns:a16="http://schemas.microsoft.com/office/drawing/2014/main" id="{C9013B4A-5641-46AA-8094-5C5A18A2326E}"/>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81" name="Tabel icoon">
              <a:extLst>
                <a:ext uri="{FF2B5EF4-FFF2-40B4-BE49-F238E27FC236}">
                  <a16:creationId xmlns:a16="http://schemas.microsoft.com/office/drawing/2014/main" id="{A84CC061-8ECC-4E9B-8A7A-B6A5644CCF55}"/>
                </a:ext>
              </a:extLst>
            </p:cNvPr>
            <p:cNvGrpSpPr/>
            <p:nvPr userDrawn="1"/>
          </p:nvGrpSpPr>
          <p:grpSpPr>
            <a:xfrm>
              <a:off x="12757283" y="1133664"/>
              <a:ext cx="375500" cy="339168"/>
              <a:chOff x="6072040" y="3376043"/>
              <a:chExt cx="1227920" cy="1109109"/>
            </a:xfrm>
          </p:grpSpPr>
          <p:sp>
            <p:nvSpPr>
              <p:cNvPr id="82" name="Rechthoek 81">
                <a:extLst>
                  <a:ext uri="{FF2B5EF4-FFF2-40B4-BE49-F238E27FC236}">
                    <a16:creationId xmlns:a16="http://schemas.microsoft.com/office/drawing/2014/main" id="{E05CC56B-7646-455D-8CAD-63B57DF1245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83" name="Rechthoek 82">
                <a:extLst>
                  <a:ext uri="{FF2B5EF4-FFF2-40B4-BE49-F238E27FC236}">
                    <a16:creationId xmlns:a16="http://schemas.microsoft.com/office/drawing/2014/main" id="{305CF445-927E-45C9-82BA-54235C8D23A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84" name="Rechte verbindingslijn 83">
                <a:extLst>
                  <a:ext uri="{FF2B5EF4-FFF2-40B4-BE49-F238E27FC236}">
                    <a16:creationId xmlns:a16="http://schemas.microsoft.com/office/drawing/2014/main" id="{4EF85484-F8F0-43DE-84CC-9CC51305D36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5" name="Rechte verbindingslijn 84">
                <a:extLst>
                  <a:ext uri="{FF2B5EF4-FFF2-40B4-BE49-F238E27FC236}">
                    <a16:creationId xmlns:a16="http://schemas.microsoft.com/office/drawing/2014/main" id="{BF2B1DD3-BD4E-4A6A-B961-161E853EC50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6" name="Rechte verbindingslijn 85">
                <a:extLst>
                  <a:ext uri="{FF2B5EF4-FFF2-40B4-BE49-F238E27FC236}">
                    <a16:creationId xmlns:a16="http://schemas.microsoft.com/office/drawing/2014/main" id="{410335EB-C74C-47C4-898D-7B011AECD9FF}"/>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7" name="Rechte verbindingslijn 86">
                <a:extLst>
                  <a:ext uri="{FF2B5EF4-FFF2-40B4-BE49-F238E27FC236}">
                    <a16:creationId xmlns:a16="http://schemas.microsoft.com/office/drawing/2014/main" id="{0321AD66-BF8E-4353-8B9C-12B3BBA1108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88" name="Rechte verbindingslijn 87">
                <a:extLst>
                  <a:ext uri="{FF2B5EF4-FFF2-40B4-BE49-F238E27FC236}">
                    <a16:creationId xmlns:a16="http://schemas.microsoft.com/office/drawing/2014/main" id="{3E678D10-BF29-493C-8A31-1571E6A65867}"/>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89" name="Rechthoek 88">
                <a:extLst>
                  <a:ext uri="{FF2B5EF4-FFF2-40B4-BE49-F238E27FC236}">
                    <a16:creationId xmlns:a16="http://schemas.microsoft.com/office/drawing/2014/main" id="{D794D67A-1AA5-4FEC-AF2C-CF111E2080AD}"/>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34162239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oud van twee - wit">
    <p:spTree>
      <p:nvGrpSpPr>
        <p:cNvPr id="1" name=""/>
        <p:cNvGrpSpPr/>
        <p:nvPr/>
      </p:nvGrpSpPr>
      <p:grpSpPr>
        <a:xfrm>
          <a:off x="0" y="0"/>
          <a:ext cx="0" cy="0"/>
          <a:chOff x="0" y="0"/>
          <a:chExt cx="0" cy="0"/>
        </a:xfrm>
      </p:grpSpPr>
      <p:sp>
        <p:nvSpPr>
          <p:cNvPr id="8" name="Afgeronde rechthoek 7"/>
          <p:cNvSpPr/>
          <p:nvPr userDrawn="1"/>
        </p:nvSpPr>
        <p:spPr>
          <a:xfrm>
            <a:off x="658302" y="1708486"/>
            <a:ext cx="7136801" cy="4268241"/>
          </a:xfrm>
          <a:prstGeom prst="roundRect">
            <a:avLst>
              <a:gd name="adj" fmla="val 3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10" name="Groep 9"/>
          <p:cNvGrpSpPr/>
          <p:nvPr userDrawn="1"/>
        </p:nvGrpSpPr>
        <p:grpSpPr>
          <a:xfrm>
            <a:off x="8026593" y="1534407"/>
            <a:ext cx="3609281" cy="4474402"/>
            <a:chOff x="6014916" y="1914964"/>
            <a:chExt cx="2706961" cy="4474402"/>
          </a:xfrm>
          <a:solidFill>
            <a:schemeClr val="bg1"/>
          </a:solidFill>
        </p:grpSpPr>
        <p:sp>
          <p:nvSpPr>
            <p:cNvPr id="11" name="Vrije vorm 10"/>
            <p:cNvSpPr/>
            <p:nvPr/>
          </p:nvSpPr>
          <p:spPr>
            <a:xfrm>
              <a:off x="8377238" y="1914964"/>
              <a:ext cx="344639" cy="337506"/>
            </a:xfrm>
            <a:custGeom>
              <a:avLst/>
              <a:gdLst>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79937 w 2607128"/>
                <a:gd name="connsiteY7" fmla="*/ 176943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64946 w 2607128"/>
                <a:gd name="connsiteY7" fmla="*/ 181940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264946 w 2607128"/>
                <a:gd name="connsiteY6" fmla="*/ 181940 h 279788"/>
                <a:gd name="connsiteX7" fmla="*/ 2404269 w 2607128"/>
                <a:gd name="connsiteY7" fmla="*/ 111570 h 279788"/>
                <a:gd name="connsiteX8" fmla="*/ 2563503 w 2607128"/>
                <a:gd name="connsiteY8" fmla="*/ 436 h 279788"/>
                <a:gd name="connsiteX9" fmla="*/ 2570319 w 2607128"/>
                <a:gd name="connsiteY9" fmla="*/ 95 h 279788"/>
                <a:gd name="connsiteX0" fmla="*/ 305373 w 342182"/>
                <a:gd name="connsiteY0" fmla="*/ 95 h 279788"/>
                <a:gd name="connsiteX1" fmla="*/ 342182 w 342182"/>
                <a:gd name="connsiteY1" fmla="*/ 76704 h 279788"/>
                <a:gd name="connsiteX2" fmla="*/ 342182 w 342182"/>
                <a:gd name="connsiteY2" fmla="*/ 279788 h 279788"/>
                <a:gd name="connsiteX3" fmla="*/ 339262 w 342182"/>
                <a:gd name="connsiteY3" fmla="*/ 265325 h 279788"/>
                <a:gd name="connsiteX4" fmla="*/ 213326 w 342182"/>
                <a:gd name="connsiteY4" fmla="*/ 181849 h 279788"/>
                <a:gd name="connsiteX5" fmla="*/ 0 w 342182"/>
                <a:gd name="connsiteY5" fmla="*/ 181940 h 279788"/>
                <a:gd name="connsiteX6" fmla="*/ 139323 w 342182"/>
                <a:gd name="connsiteY6" fmla="*/ 111570 h 279788"/>
                <a:gd name="connsiteX7" fmla="*/ 298557 w 342182"/>
                <a:gd name="connsiteY7" fmla="*/ 436 h 279788"/>
                <a:gd name="connsiteX8" fmla="*/ 305373 w 342182"/>
                <a:gd name="connsiteY8" fmla="*/ 95 h 279788"/>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65325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41681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4424 w 347020"/>
                <a:gd name="connsiteY3" fmla="*/ 267744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4639"/>
                <a:gd name="connsiteY0" fmla="*/ 95 h 337506"/>
                <a:gd name="connsiteX1" fmla="*/ 342182 w 344639"/>
                <a:gd name="connsiteY1" fmla="*/ 76704 h 337506"/>
                <a:gd name="connsiteX2" fmla="*/ 344639 w 344639"/>
                <a:gd name="connsiteY2" fmla="*/ 337506 h 337506"/>
                <a:gd name="connsiteX3" fmla="*/ 334424 w 344639"/>
                <a:gd name="connsiteY3" fmla="*/ 267744 h 337506"/>
                <a:gd name="connsiteX4" fmla="*/ 213326 w 344639"/>
                <a:gd name="connsiteY4" fmla="*/ 181849 h 337506"/>
                <a:gd name="connsiteX5" fmla="*/ 0 w 344639"/>
                <a:gd name="connsiteY5" fmla="*/ 181940 h 337506"/>
                <a:gd name="connsiteX6" fmla="*/ 139323 w 344639"/>
                <a:gd name="connsiteY6" fmla="*/ 111570 h 337506"/>
                <a:gd name="connsiteX7" fmla="*/ 298557 w 344639"/>
                <a:gd name="connsiteY7" fmla="*/ 436 h 337506"/>
                <a:gd name="connsiteX8" fmla="*/ 305373 w 344639"/>
                <a:gd name="connsiteY8" fmla="*/ 95 h 33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639" h="337506">
                  <a:moveTo>
                    <a:pt x="305373" y="95"/>
                  </a:moveTo>
                  <a:cubicBezTo>
                    <a:pt x="317643" y="1117"/>
                    <a:pt x="342182" y="11331"/>
                    <a:pt x="342182" y="76704"/>
                  </a:cubicBezTo>
                  <a:cubicBezTo>
                    <a:pt x="343795" y="156494"/>
                    <a:pt x="343026" y="257716"/>
                    <a:pt x="344639" y="337506"/>
                  </a:cubicBezTo>
                  <a:cubicBezTo>
                    <a:pt x="340440" y="321396"/>
                    <a:pt x="338623" y="283854"/>
                    <a:pt x="334424" y="267744"/>
                  </a:cubicBezTo>
                  <a:cubicBezTo>
                    <a:pt x="313676" y="218689"/>
                    <a:pt x="269940" y="181849"/>
                    <a:pt x="213326" y="181849"/>
                  </a:cubicBezTo>
                  <a:lnTo>
                    <a:pt x="0" y="181940"/>
                  </a:lnTo>
                  <a:cubicBezTo>
                    <a:pt x="0" y="181940"/>
                    <a:pt x="100061" y="170406"/>
                    <a:pt x="139323" y="111570"/>
                  </a:cubicBezTo>
                  <a:cubicBezTo>
                    <a:pt x="139323" y="111570"/>
                    <a:pt x="235299" y="436"/>
                    <a:pt x="298557" y="436"/>
                  </a:cubicBezTo>
                  <a:cubicBezTo>
                    <a:pt x="298557" y="436"/>
                    <a:pt x="301284" y="-245"/>
                    <a:pt x="305373" y="9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2" name="Afgeronde rechthoek 11"/>
            <p:cNvSpPr/>
            <p:nvPr/>
          </p:nvSpPr>
          <p:spPr>
            <a:xfrm>
              <a:off x="6014916" y="2088295"/>
              <a:ext cx="2706885" cy="4301071"/>
            </a:xfrm>
            <a:prstGeom prst="roundRect">
              <a:avLst>
                <a:gd name="adj" fmla="val 481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2" name="Title 1"/>
          <p:cNvSpPr>
            <a:spLocks noGrp="1"/>
          </p:cNvSpPr>
          <p:nvPr>
            <p:ph type="title"/>
          </p:nvPr>
        </p:nvSpPr>
        <p:spPr>
          <a:xfrm>
            <a:off x="502652" y="533569"/>
            <a:ext cx="11133221" cy="584775"/>
          </a:xfrm>
        </p:spPr>
        <p:txBody>
          <a:bodyPr>
            <a:spAutoFit/>
          </a:bodyPr>
          <a:lstStyle/>
          <a:p>
            <a:r>
              <a:rPr lang="nl-NL" noProof="0"/>
              <a:t>Klik om de stijl te bewerken</a:t>
            </a:r>
          </a:p>
        </p:txBody>
      </p:sp>
      <p:sp>
        <p:nvSpPr>
          <p:cNvPr id="3" name="Content Placeholder 2"/>
          <p:cNvSpPr>
            <a:spLocks noGrp="1"/>
          </p:cNvSpPr>
          <p:nvPr>
            <p:ph sz="half" idx="1"/>
          </p:nvPr>
        </p:nvSpPr>
        <p:spPr>
          <a:xfrm>
            <a:off x="762066" y="1708486"/>
            <a:ext cx="6916300" cy="389718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4" name="Content Placeholder 3"/>
          <p:cNvSpPr>
            <a:spLocks noGrp="1"/>
          </p:cNvSpPr>
          <p:nvPr>
            <p:ph sz="half" idx="2"/>
          </p:nvPr>
        </p:nvSpPr>
        <p:spPr>
          <a:xfrm>
            <a:off x="8130359" y="1708485"/>
            <a:ext cx="3387191" cy="307777"/>
          </a:xfrm>
        </p:spPr>
        <p:txBody>
          <a:bodyPr>
            <a:spAutoFit/>
          </a:bodyPr>
          <a:lstStyle>
            <a:lvl1pPr>
              <a:defRPr sz="14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p:txBody>
      </p:sp>
      <p:sp>
        <p:nvSpPr>
          <p:cNvPr id="13" name="Tekstvak 12"/>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Inhoud van twee - wit</a:t>
            </a:r>
          </a:p>
        </p:txBody>
      </p:sp>
      <p:sp>
        <p:nvSpPr>
          <p:cNvPr id="46"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48" name="Content Placeholder 3"/>
          <p:cNvSpPr>
            <a:spLocks noGrp="1"/>
          </p:cNvSpPr>
          <p:nvPr>
            <p:ph sz="half" idx="15"/>
          </p:nvPr>
        </p:nvSpPr>
        <p:spPr>
          <a:xfrm>
            <a:off x="8130359" y="2315817"/>
            <a:ext cx="3387191" cy="3766524"/>
          </a:xfrm>
        </p:spPr>
        <p:txBody>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grpSp>
        <p:nvGrpSpPr>
          <p:cNvPr id="70" name="Groep 69"/>
          <p:cNvGrpSpPr/>
          <p:nvPr userDrawn="1"/>
        </p:nvGrpSpPr>
        <p:grpSpPr>
          <a:xfrm>
            <a:off x="-3279573" y="5020705"/>
            <a:ext cx="3086613" cy="1841358"/>
            <a:chOff x="8427776" y="4654945"/>
            <a:chExt cx="2314960" cy="1841358"/>
          </a:xfrm>
        </p:grpSpPr>
        <p:grpSp>
          <p:nvGrpSpPr>
            <p:cNvPr id="71" name="Groep 70"/>
            <p:cNvGrpSpPr/>
            <p:nvPr userDrawn="1"/>
          </p:nvGrpSpPr>
          <p:grpSpPr>
            <a:xfrm>
              <a:off x="8432864" y="4781014"/>
              <a:ext cx="2309872" cy="1592662"/>
              <a:chOff x="-3092517" y="-83840"/>
              <a:chExt cx="3136706" cy="2509126"/>
            </a:xfrm>
          </p:grpSpPr>
          <p:sp>
            <p:nvSpPr>
              <p:cNvPr id="74"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5" name="Ovaal 74"/>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76" name="Ovaal 75"/>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77" name="Ovaal 76"/>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78"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9"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0"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1" name="Ovaal 80"/>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82" name="Ovaal 81"/>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83"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72" name="Rechte verbindingslijn 71"/>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Rechte verbindingslijn 72"/>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4"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85"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sp>
        <p:nvSpPr>
          <p:cNvPr id="86" name="Tijdelijke aanduiding voor tekst 46"/>
          <p:cNvSpPr>
            <a:spLocks noGrp="1"/>
          </p:cNvSpPr>
          <p:nvPr userDrawn="1">
            <p:ph type="body" sz="quarter" idx="14" hasCustomPrompt="1"/>
          </p:nvPr>
        </p:nvSpPr>
        <p:spPr>
          <a:xfrm>
            <a:off x="762066" y="5611213"/>
            <a:ext cx="6916300" cy="476671"/>
          </a:xfrm>
        </p:spPr>
        <p:txBody>
          <a:bodyPr/>
          <a:lstStyle>
            <a:lvl1pPr>
              <a:lnSpc>
                <a:spcPts val="1100"/>
              </a:lnSpc>
              <a:defRPr sz="1000" i="1">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Legenda</a:t>
            </a:r>
          </a:p>
        </p:txBody>
      </p:sp>
      <p:grpSp>
        <p:nvGrpSpPr>
          <p:cNvPr id="87" name="Groep 86"/>
          <p:cNvGrpSpPr/>
          <p:nvPr userDrawn="1"/>
        </p:nvGrpSpPr>
        <p:grpSpPr>
          <a:xfrm>
            <a:off x="-3471145" y="-46322"/>
            <a:ext cx="3471145" cy="3781320"/>
            <a:chOff x="-2603359" y="-46322"/>
            <a:chExt cx="2603359" cy="3781320"/>
          </a:xfrm>
        </p:grpSpPr>
        <p:sp>
          <p:nvSpPr>
            <p:cNvPr id="88" name="Afgeronde rechthoek 87"/>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89"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90"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91"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2"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93" name="Afgeronde rechthoek 92"/>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94" name="Rechthoek 93"/>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95" name="Rechte verbindingslijn 94"/>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97"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98"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99"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0"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01"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02" name="Afgeronde rechthoek 101"/>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03"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4"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5"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06"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07"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24891581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8" name="Tijdelijke aanduiding voor media 7">
            <a:extLst>
              <a:ext uri="{FF2B5EF4-FFF2-40B4-BE49-F238E27FC236}">
                <a16:creationId xmlns:a16="http://schemas.microsoft.com/office/drawing/2014/main" id="{BE6A6D5B-9ECB-44A7-854F-A4E3691CCAC3}"/>
              </a:ext>
            </a:extLst>
          </p:cNvPr>
          <p:cNvSpPr>
            <a:spLocks noGrp="1"/>
          </p:cNvSpPr>
          <p:nvPr>
            <p:ph type="media" sz="quarter" idx="16" hasCustomPrompt="1"/>
          </p:nvPr>
        </p:nvSpPr>
        <p:spPr>
          <a:xfrm>
            <a:off x="0" y="0"/>
            <a:ext cx="12192000" cy="6858000"/>
          </a:xfrm>
          <a:solidFill>
            <a:schemeClr val="bg1">
              <a:lumMod val="95000"/>
            </a:schemeClr>
          </a:solidFill>
        </p:spPr>
        <p:txBody>
          <a:bodyPr tIns="3024000"/>
          <a:lstStyle>
            <a:lvl1pPr marL="0" indent="0" algn="ctr">
              <a:buNone/>
              <a:defRPr sz="1200" i="1">
                <a:solidFill>
                  <a:schemeClr val="bg1">
                    <a:lumMod val="50000"/>
                  </a:schemeClr>
                </a:solidFill>
              </a:defRPr>
            </a:lvl1pPr>
          </a:lstStyle>
          <a:p>
            <a:r>
              <a:rPr lang="nl-NL" noProof="0"/>
              <a:t>Klik op onderstaand pictogram om een video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CB2170DD-3001-4CC7-A277-113A4FBAD773}" type="datetime4">
              <a:rPr lang="nl-NL" noProof="0" smtClean="0"/>
              <a:t>24 oktober 2023</a:t>
            </a:fld>
            <a:endParaRPr lang="nl-NL" noProof="0"/>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a:xfrm>
            <a:off x="7952874" y="7108010"/>
            <a:ext cx="3699126" cy="368122"/>
          </a:xfrm>
        </p:spPr>
        <p:txBody>
          <a:bodyPr/>
          <a:lstStyle>
            <a:lvl1pPr algn="r">
              <a:defRPr sz="1100"/>
            </a:lvl1p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a:xfrm>
            <a:off x="11741399" y="7133798"/>
            <a:ext cx="264977" cy="158273"/>
          </a:xfrm>
        </p:spPr>
        <p:txBody>
          <a:bodyPr/>
          <a:lstStyle>
            <a:lvl1pPr algn="r">
              <a:defRPr/>
            </a:lvl1pPr>
          </a:lstStyle>
          <a:p>
            <a:fld id="{8D374ABD-355D-4B52-8A38-020B3DD5CC75}" type="slidenum">
              <a:rPr lang="nl-NL" smtClean="0"/>
              <a:pPr/>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VIDEO</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nl-NL" noProof="0"/>
              <a:t> </a:t>
            </a:r>
          </a:p>
        </p:txBody>
      </p:sp>
      <p:grpSp>
        <p:nvGrpSpPr>
          <p:cNvPr id="37" name="Instructie">
            <a:extLst>
              <a:ext uri="{FF2B5EF4-FFF2-40B4-BE49-F238E27FC236}">
                <a16:creationId xmlns:a16="http://schemas.microsoft.com/office/drawing/2014/main" id="{B2A2EEEF-6899-43EA-A420-2F27C18CCE18}"/>
              </a:ext>
            </a:extLst>
          </p:cNvPr>
          <p:cNvGrpSpPr/>
          <p:nvPr userDrawn="1"/>
        </p:nvGrpSpPr>
        <p:grpSpPr>
          <a:xfrm>
            <a:off x="12391601" y="0"/>
            <a:ext cx="3183678" cy="3883011"/>
            <a:chOff x="12391601" y="0"/>
            <a:chExt cx="3183678" cy="3883011"/>
          </a:xfrm>
        </p:grpSpPr>
        <p:grpSp>
          <p:nvGrpSpPr>
            <p:cNvPr id="38" name="Groep 37">
              <a:extLst>
                <a:ext uri="{FF2B5EF4-FFF2-40B4-BE49-F238E27FC236}">
                  <a16:creationId xmlns:a16="http://schemas.microsoft.com/office/drawing/2014/main" id="{777F5D38-8845-435C-8625-F82501433ED5}"/>
                </a:ext>
              </a:extLst>
            </p:cNvPr>
            <p:cNvGrpSpPr/>
            <p:nvPr userDrawn="1"/>
          </p:nvGrpSpPr>
          <p:grpSpPr>
            <a:xfrm>
              <a:off x="12757282" y="3100116"/>
              <a:ext cx="1499406" cy="678267"/>
              <a:chOff x="12757283" y="3120781"/>
              <a:chExt cx="1499406" cy="678267"/>
            </a:xfrm>
          </p:grpSpPr>
          <p:sp>
            <p:nvSpPr>
              <p:cNvPr id="62" name="Rechthoek 61">
                <a:extLst>
                  <a:ext uri="{FF2B5EF4-FFF2-40B4-BE49-F238E27FC236}">
                    <a16:creationId xmlns:a16="http://schemas.microsoft.com/office/drawing/2014/main" id="{71F9E537-8C64-4FD1-AA88-58151D5CABCB}"/>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63" name="Rechthoek 62">
                <a:extLst>
                  <a:ext uri="{FF2B5EF4-FFF2-40B4-BE49-F238E27FC236}">
                    <a16:creationId xmlns:a16="http://schemas.microsoft.com/office/drawing/2014/main" id="{FEFFC45A-A206-4EBE-8313-320389848735}"/>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64" name="Tekstvak 63">
                <a:extLst>
                  <a:ext uri="{FF2B5EF4-FFF2-40B4-BE49-F238E27FC236}">
                    <a16:creationId xmlns:a16="http://schemas.microsoft.com/office/drawing/2014/main" id="{180EB770-FA7A-45A2-8B7E-0021C17B03D6}"/>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65" name="Tekstvak 64">
                <a:extLst>
                  <a:ext uri="{FF2B5EF4-FFF2-40B4-BE49-F238E27FC236}">
                    <a16:creationId xmlns:a16="http://schemas.microsoft.com/office/drawing/2014/main" id="{95D1FF77-1B90-464F-9AB4-9D164C639A55}"/>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66" name="Picture 3">
                <a:extLst>
                  <a:ext uri="{FF2B5EF4-FFF2-40B4-BE49-F238E27FC236}">
                    <a16:creationId xmlns:a16="http://schemas.microsoft.com/office/drawing/2014/main" id="{8DEFE058-EE60-456D-876D-9F60956A98EF}"/>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Gelijkbenige driehoek 66">
                <a:extLst>
                  <a:ext uri="{FF2B5EF4-FFF2-40B4-BE49-F238E27FC236}">
                    <a16:creationId xmlns:a16="http://schemas.microsoft.com/office/drawing/2014/main" id="{85ED4A2E-5B7D-4ADF-AA34-41CCC0F3C1CB}"/>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68" name="Groep 67">
                <a:extLst>
                  <a:ext uri="{FF2B5EF4-FFF2-40B4-BE49-F238E27FC236}">
                    <a16:creationId xmlns:a16="http://schemas.microsoft.com/office/drawing/2014/main" id="{501F1A80-AFBE-44E4-8DE0-1587BC6DC44F}"/>
                  </a:ext>
                </a:extLst>
              </p:cNvPr>
              <p:cNvGrpSpPr/>
              <p:nvPr userDrawn="1"/>
            </p:nvGrpSpPr>
            <p:grpSpPr>
              <a:xfrm>
                <a:off x="12822311" y="3178534"/>
                <a:ext cx="182309" cy="163794"/>
                <a:chOff x="12832541" y="3162395"/>
                <a:chExt cx="219532" cy="197236"/>
              </a:xfrm>
            </p:grpSpPr>
            <p:sp>
              <p:nvSpPr>
                <p:cNvPr id="73" name="Rechthoek 72">
                  <a:extLst>
                    <a:ext uri="{FF2B5EF4-FFF2-40B4-BE49-F238E27FC236}">
                      <a16:creationId xmlns:a16="http://schemas.microsoft.com/office/drawing/2014/main" id="{22A2F926-5BF1-4F88-947D-DD978CE25ABA}"/>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74" name="Rechthoek 73">
                  <a:extLst>
                    <a:ext uri="{FF2B5EF4-FFF2-40B4-BE49-F238E27FC236}">
                      <a16:creationId xmlns:a16="http://schemas.microsoft.com/office/drawing/2014/main" id="{8BC638EB-CDD3-4E48-A9A1-6086279A0595}"/>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75" name="Rechthoek 74">
                  <a:extLst>
                    <a:ext uri="{FF2B5EF4-FFF2-40B4-BE49-F238E27FC236}">
                      <a16:creationId xmlns:a16="http://schemas.microsoft.com/office/drawing/2014/main" id="{2F2E1424-81F9-42BF-A20F-F20BD4641436}"/>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nvGrpSpPr>
              <p:cNvPr id="69" name="Groep 68">
                <a:extLst>
                  <a:ext uri="{FF2B5EF4-FFF2-40B4-BE49-F238E27FC236}">
                    <a16:creationId xmlns:a16="http://schemas.microsoft.com/office/drawing/2014/main" id="{A1B093F0-00B4-4923-B76A-129C63B1890C}"/>
                  </a:ext>
                </a:extLst>
              </p:cNvPr>
              <p:cNvGrpSpPr/>
              <p:nvPr userDrawn="1"/>
            </p:nvGrpSpPr>
            <p:grpSpPr>
              <a:xfrm>
                <a:off x="12822311" y="3480352"/>
                <a:ext cx="182309" cy="163794"/>
                <a:chOff x="12832541" y="3162395"/>
                <a:chExt cx="219532" cy="197236"/>
              </a:xfrm>
            </p:grpSpPr>
            <p:sp>
              <p:nvSpPr>
                <p:cNvPr id="70" name="Rechthoek 69">
                  <a:extLst>
                    <a:ext uri="{FF2B5EF4-FFF2-40B4-BE49-F238E27FC236}">
                      <a16:creationId xmlns:a16="http://schemas.microsoft.com/office/drawing/2014/main" id="{229BC8A6-D2B3-4F65-9241-59C2DA929F4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71" name="Rechthoek 70">
                  <a:extLst>
                    <a:ext uri="{FF2B5EF4-FFF2-40B4-BE49-F238E27FC236}">
                      <a16:creationId xmlns:a16="http://schemas.microsoft.com/office/drawing/2014/main" id="{F6D5CA3A-51CD-498E-8746-0869C11EEBAF}"/>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72" name="Rechthoek 71">
                  <a:extLst>
                    <a:ext uri="{FF2B5EF4-FFF2-40B4-BE49-F238E27FC236}">
                      <a16:creationId xmlns:a16="http://schemas.microsoft.com/office/drawing/2014/main" id="{D608BBC9-1001-4E66-A312-6088C407AFB4}"/>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
          <p:nvSpPr>
            <p:cNvPr id="40" name="Rechthoek 39">
              <a:extLst>
                <a:ext uri="{FF2B5EF4-FFF2-40B4-BE49-F238E27FC236}">
                  <a16:creationId xmlns:a16="http://schemas.microsoft.com/office/drawing/2014/main" id="{C0C7C318-3E96-4B81-ACB4-7C36BF46974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Video invoegen/veranderen</a:t>
              </a:r>
            </a:p>
          </p:txBody>
        </p:sp>
        <p:sp>
          <p:nvSpPr>
            <p:cNvPr id="41" name="Ovaal 40">
              <a:extLst>
                <a:ext uri="{FF2B5EF4-FFF2-40B4-BE49-F238E27FC236}">
                  <a16:creationId xmlns:a16="http://schemas.microsoft.com/office/drawing/2014/main" id="{D0743919-FB33-451B-8DC4-F2B387D8CEF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2" name="Rechte verbindingslijn 41">
              <a:extLst>
                <a:ext uri="{FF2B5EF4-FFF2-40B4-BE49-F238E27FC236}">
                  <a16:creationId xmlns:a16="http://schemas.microsoft.com/office/drawing/2014/main" id="{A1EB5A75-89AB-4158-BF50-215212A08A01}"/>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3" name="Rechte verbindingslijn 42">
              <a:extLst>
                <a:ext uri="{FF2B5EF4-FFF2-40B4-BE49-F238E27FC236}">
                  <a16:creationId xmlns:a16="http://schemas.microsoft.com/office/drawing/2014/main" id="{B0B3092D-0DFD-4D6E-9146-A41AA2C4735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4" name="Rechthoek 43">
              <a:extLst>
                <a:ext uri="{FF2B5EF4-FFF2-40B4-BE49-F238E27FC236}">
                  <a16:creationId xmlns:a16="http://schemas.microsoft.com/office/drawing/2014/main" id="{D1F3E125-8E03-486C-B4D8-8D9811393DEB}"/>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video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video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45" name="Rechte verbindingslijn 44">
              <a:extLst>
                <a:ext uri="{FF2B5EF4-FFF2-40B4-BE49-F238E27FC236}">
                  <a16:creationId xmlns:a16="http://schemas.microsoft.com/office/drawing/2014/main" id="{0E12CFCD-3A49-4E90-AD60-63DF6D637287}"/>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46" name="Ovaal 45">
              <a:extLst>
                <a:ext uri="{FF2B5EF4-FFF2-40B4-BE49-F238E27FC236}">
                  <a16:creationId xmlns:a16="http://schemas.microsoft.com/office/drawing/2014/main" id="{B6877113-4806-4C8A-AF8A-DC1F93F8FBEF}"/>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7" name="Rechthoek 46">
              <a:extLst>
                <a:ext uri="{FF2B5EF4-FFF2-40B4-BE49-F238E27FC236}">
                  <a16:creationId xmlns:a16="http://schemas.microsoft.com/office/drawing/2014/main" id="{F01103AC-E18C-44A5-BA89-6A49E2A01F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video</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 name="Groep 47">
              <a:extLst>
                <a:ext uri="{FF2B5EF4-FFF2-40B4-BE49-F238E27FC236}">
                  <a16:creationId xmlns:a16="http://schemas.microsoft.com/office/drawing/2014/main" id="{C12A0970-B4FD-4023-B57B-3980B33E6B3D}"/>
                </a:ext>
              </a:extLst>
            </p:cNvPr>
            <p:cNvGrpSpPr/>
            <p:nvPr userDrawn="1"/>
          </p:nvGrpSpPr>
          <p:grpSpPr>
            <a:xfrm>
              <a:off x="12757282" y="2184550"/>
              <a:ext cx="825500" cy="209550"/>
              <a:chOff x="13504624" y="2482850"/>
              <a:chExt cx="825500" cy="209550"/>
            </a:xfrm>
          </p:grpSpPr>
          <p:sp>
            <p:nvSpPr>
              <p:cNvPr id="56" name="Rechthoek 55">
                <a:extLst>
                  <a:ext uri="{FF2B5EF4-FFF2-40B4-BE49-F238E27FC236}">
                    <a16:creationId xmlns:a16="http://schemas.microsoft.com/office/drawing/2014/main" id="{36AC0901-09AF-4907-8355-39CA730014D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57" name="Rechte verbindingslijn 56">
                <a:extLst>
                  <a:ext uri="{FF2B5EF4-FFF2-40B4-BE49-F238E27FC236}">
                    <a16:creationId xmlns:a16="http://schemas.microsoft.com/office/drawing/2014/main" id="{2EE6CC0C-00EB-4E2B-A3D5-47B1FADD317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58" name="Gelijkbenige driehoek 57">
                <a:extLst>
                  <a:ext uri="{FF2B5EF4-FFF2-40B4-BE49-F238E27FC236}">
                    <a16:creationId xmlns:a16="http://schemas.microsoft.com/office/drawing/2014/main" id="{E6CDECED-9158-47AD-9032-44003A5B8C1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49" name="Ovaal 48">
              <a:extLst>
                <a:ext uri="{FF2B5EF4-FFF2-40B4-BE49-F238E27FC236}">
                  <a16:creationId xmlns:a16="http://schemas.microsoft.com/office/drawing/2014/main" id="{78BCD690-05FD-4530-813A-8676AE32715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50" name="Rechthoek 49">
              <a:extLst>
                <a:ext uri="{FF2B5EF4-FFF2-40B4-BE49-F238E27FC236}">
                  <a16:creationId xmlns:a16="http://schemas.microsoft.com/office/drawing/2014/main" id="{1C57B8CD-55B0-4BE8-9A34-4803A8723C58}"/>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video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51" name="Rechte verbindingslijn 50">
              <a:extLst>
                <a:ext uri="{FF2B5EF4-FFF2-40B4-BE49-F238E27FC236}">
                  <a16:creationId xmlns:a16="http://schemas.microsoft.com/office/drawing/2014/main" id="{761C4B32-44A6-4B00-805F-C7B6DB018D5F}"/>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2" name="Video icoon">
              <a:extLst>
                <a:ext uri="{FF2B5EF4-FFF2-40B4-BE49-F238E27FC236}">
                  <a16:creationId xmlns:a16="http://schemas.microsoft.com/office/drawing/2014/main" id="{91A37CCC-AF39-465F-BEA1-73B0A456E011}"/>
                </a:ext>
              </a:extLst>
            </p:cNvPr>
            <p:cNvGrpSpPr/>
            <p:nvPr userDrawn="1"/>
          </p:nvGrpSpPr>
          <p:grpSpPr>
            <a:xfrm>
              <a:off x="12757282" y="1122460"/>
              <a:ext cx="326087" cy="328143"/>
              <a:chOff x="8066315" y="1676399"/>
              <a:chExt cx="1371600" cy="1380253"/>
            </a:xfrm>
          </p:grpSpPr>
          <p:sp>
            <p:nvSpPr>
              <p:cNvPr id="53" name="Rechthoek 52">
                <a:extLst>
                  <a:ext uri="{FF2B5EF4-FFF2-40B4-BE49-F238E27FC236}">
                    <a16:creationId xmlns:a16="http://schemas.microsoft.com/office/drawing/2014/main" id="{8ECF6D49-2487-49C3-B7E5-83526196CF45}"/>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54" name="Vrije vorm 112">
                <a:extLst>
                  <a:ext uri="{FF2B5EF4-FFF2-40B4-BE49-F238E27FC236}">
                    <a16:creationId xmlns:a16="http://schemas.microsoft.com/office/drawing/2014/main" id="{412C8A5D-7A14-4590-B55F-183B23A72F12}"/>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55" name="Vrije vorm 113">
                <a:extLst>
                  <a:ext uri="{FF2B5EF4-FFF2-40B4-BE49-F238E27FC236}">
                    <a16:creationId xmlns:a16="http://schemas.microsoft.com/office/drawing/2014/main" id="{E67C5FB5-833D-438E-A7D8-2E3FFB73E3E2}"/>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nvGrpSpPr>
          <p:cNvPr id="7" name="Groep 6">
            <a:extLst>
              <a:ext uri="{FF2B5EF4-FFF2-40B4-BE49-F238E27FC236}">
                <a16:creationId xmlns:a16="http://schemas.microsoft.com/office/drawing/2014/main" id="{BEFF6C6F-6B4A-4D33-A5D7-E56B6DFBFF7A}"/>
              </a:ext>
            </a:extLst>
          </p:cNvPr>
          <p:cNvGrpSpPr/>
          <p:nvPr userDrawn="1"/>
        </p:nvGrpSpPr>
        <p:grpSpPr>
          <a:xfrm>
            <a:off x="12391601" y="3998810"/>
            <a:ext cx="3183677" cy="2859190"/>
            <a:chOff x="12391601" y="3998810"/>
            <a:chExt cx="3183677" cy="2859190"/>
          </a:xfrm>
        </p:grpSpPr>
        <p:sp>
          <p:nvSpPr>
            <p:cNvPr id="80" name="Rechthoek 79">
              <a:extLst>
                <a:ext uri="{FF2B5EF4-FFF2-40B4-BE49-F238E27FC236}">
                  <a16:creationId xmlns:a16="http://schemas.microsoft.com/office/drawing/2014/main" id="{9D5C4836-49E1-437D-A0AC-11DEE1B33CAE}"/>
                </a:ext>
              </a:extLst>
            </p:cNvPr>
            <p:cNvSpPr/>
            <p:nvPr userDrawn="1"/>
          </p:nvSpPr>
          <p:spPr>
            <a:xfrm>
              <a:off x="12397262" y="399881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Video automatisch laten afspelen</a:t>
              </a:r>
            </a:p>
          </p:txBody>
        </p:sp>
        <p:sp>
          <p:nvSpPr>
            <p:cNvPr id="81" name="Ovaal 80">
              <a:extLst>
                <a:ext uri="{FF2B5EF4-FFF2-40B4-BE49-F238E27FC236}">
                  <a16:creationId xmlns:a16="http://schemas.microsoft.com/office/drawing/2014/main" id="{F4410F6C-0971-4B24-A4E0-A9F0C8FC1665}"/>
                </a:ext>
              </a:extLst>
            </p:cNvPr>
            <p:cNvSpPr/>
            <p:nvPr userDrawn="1"/>
          </p:nvSpPr>
          <p:spPr>
            <a:xfrm>
              <a:off x="12391601" y="436530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2" name="Rechte verbindingslijn 81">
              <a:extLst>
                <a:ext uri="{FF2B5EF4-FFF2-40B4-BE49-F238E27FC236}">
                  <a16:creationId xmlns:a16="http://schemas.microsoft.com/office/drawing/2014/main" id="{223CA539-791E-464C-8AF4-4FF2D5BB1978}"/>
                </a:ext>
              </a:extLst>
            </p:cNvPr>
            <p:cNvCxnSpPr>
              <a:cxnSpLocks/>
            </p:cNvCxnSpPr>
            <p:nvPr userDrawn="1"/>
          </p:nvCxnSpPr>
          <p:spPr>
            <a:xfrm>
              <a:off x="12397261" y="4240445"/>
              <a:ext cx="3178017" cy="0"/>
            </a:xfrm>
            <a:prstGeom prst="line">
              <a:avLst/>
            </a:prstGeom>
            <a:noFill/>
            <a:ln w="3175" cap="flat" cmpd="sng" algn="ctr">
              <a:solidFill>
                <a:schemeClr val="bg1">
                  <a:lumMod val="50000"/>
                </a:schemeClr>
              </a:solidFill>
              <a:prstDash val="solid"/>
            </a:ln>
            <a:effectLst/>
          </p:spPr>
        </p:cxnSp>
        <p:sp>
          <p:nvSpPr>
            <p:cNvPr id="84" name="Rechthoek 83">
              <a:extLst>
                <a:ext uri="{FF2B5EF4-FFF2-40B4-BE49-F238E27FC236}">
                  <a16:creationId xmlns:a16="http://schemas.microsoft.com/office/drawing/2014/main" id="{AD26DEDE-987C-4ABA-B8EC-8D14D6B40409}"/>
                </a:ext>
              </a:extLst>
            </p:cNvPr>
            <p:cNvSpPr/>
            <p:nvPr userDrawn="1"/>
          </p:nvSpPr>
          <p:spPr>
            <a:xfrm>
              <a:off x="12757282" y="443136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video door er op te klikk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video – Afspel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bij ‘Begin’ het keuze menu open door op het pijltje naar beneden te klikken.</a:t>
              </a:r>
            </a:p>
          </p:txBody>
        </p:sp>
        <p:pic>
          <p:nvPicPr>
            <p:cNvPr id="2" name="Afbeelding 1">
              <a:extLst>
                <a:ext uri="{FF2B5EF4-FFF2-40B4-BE49-F238E27FC236}">
                  <a16:creationId xmlns:a16="http://schemas.microsoft.com/office/drawing/2014/main" id="{09DAFE33-AC6E-4D6F-B14F-56F3A9758AF4}"/>
                </a:ext>
              </a:extLst>
            </p:cNvPr>
            <p:cNvPicPr>
              <a:picLocks noChangeAspect="1"/>
            </p:cNvPicPr>
            <p:nvPr userDrawn="1"/>
          </p:nvPicPr>
          <p:blipFill rotWithShape="1">
            <a:blip r:embed="rId3"/>
            <a:srcRect l="1140" r="1773" b="3305"/>
            <a:stretch/>
          </p:blipFill>
          <p:spPr>
            <a:xfrm>
              <a:off x="12757281" y="5888445"/>
              <a:ext cx="1518277" cy="860372"/>
            </a:xfrm>
            <a:prstGeom prst="rect">
              <a:avLst/>
            </a:prstGeom>
          </p:spPr>
        </p:pic>
        <p:pic>
          <p:nvPicPr>
            <p:cNvPr id="3" name="Afbeelding 2">
              <a:extLst>
                <a:ext uri="{FF2B5EF4-FFF2-40B4-BE49-F238E27FC236}">
                  <a16:creationId xmlns:a16="http://schemas.microsoft.com/office/drawing/2014/main" id="{60153270-ACD1-4483-9549-881A0264CEA9}"/>
                </a:ext>
              </a:extLst>
            </p:cNvPr>
            <p:cNvPicPr>
              <a:picLocks noChangeAspect="1"/>
            </p:cNvPicPr>
            <p:nvPr userDrawn="1"/>
          </p:nvPicPr>
          <p:blipFill rotWithShape="1">
            <a:blip r:embed="rId4"/>
            <a:srcRect l="9571" t="19546" r="12230" b="24211"/>
            <a:stretch/>
          </p:blipFill>
          <p:spPr>
            <a:xfrm>
              <a:off x="12761416" y="5127585"/>
              <a:ext cx="628605" cy="206109"/>
            </a:xfrm>
            <a:prstGeom prst="rect">
              <a:avLst/>
            </a:prstGeom>
          </p:spPr>
        </p:pic>
        <p:sp>
          <p:nvSpPr>
            <p:cNvPr id="113" name="Ovaal 112">
              <a:extLst>
                <a:ext uri="{FF2B5EF4-FFF2-40B4-BE49-F238E27FC236}">
                  <a16:creationId xmlns:a16="http://schemas.microsoft.com/office/drawing/2014/main" id="{6D67AD96-9036-4375-9159-F3D26402DB8E}"/>
                </a:ext>
              </a:extLst>
            </p:cNvPr>
            <p:cNvSpPr/>
            <p:nvPr userDrawn="1"/>
          </p:nvSpPr>
          <p:spPr>
            <a:xfrm>
              <a:off x="12391601" y="557995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cxnSp>
          <p:nvCxnSpPr>
            <p:cNvPr id="114" name="Rechte verbindingslijn 113">
              <a:extLst>
                <a:ext uri="{FF2B5EF4-FFF2-40B4-BE49-F238E27FC236}">
                  <a16:creationId xmlns:a16="http://schemas.microsoft.com/office/drawing/2014/main" id="{6B105775-15A2-4253-BF55-3E264D54FD11}"/>
                </a:ext>
              </a:extLst>
            </p:cNvPr>
            <p:cNvCxnSpPr>
              <a:cxnSpLocks/>
            </p:cNvCxnSpPr>
            <p:nvPr userDrawn="1"/>
          </p:nvCxnSpPr>
          <p:spPr>
            <a:xfrm>
              <a:off x="12397261" y="5455095"/>
              <a:ext cx="3178017" cy="0"/>
            </a:xfrm>
            <a:prstGeom prst="line">
              <a:avLst/>
            </a:prstGeom>
            <a:noFill/>
            <a:ln w="3175" cap="flat" cmpd="sng" algn="ctr">
              <a:solidFill>
                <a:schemeClr val="bg1">
                  <a:lumMod val="50000"/>
                </a:schemeClr>
              </a:solidFill>
              <a:prstDash val="solid"/>
            </a:ln>
            <a:effectLst/>
          </p:spPr>
        </p:cxnSp>
        <p:sp>
          <p:nvSpPr>
            <p:cNvPr id="115" name="Rechthoek 114">
              <a:extLst>
                <a:ext uri="{FF2B5EF4-FFF2-40B4-BE49-F238E27FC236}">
                  <a16:creationId xmlns:a16="http://schemas.microsoft.com/office/drawing/2014/main" id="{E70B9610-5594-43B7-93B3-ECE3B8E0C0FE}"/>
                </a:ext>
              </a:extLst>
            </p:cNvPr>
            <p:cNvSpPr/>
            <p:nvPr userDrawn="1"/>
          </p:nvSpPr>
          <p:spPr>
            <a:xfrm>
              <a:off x="12757282" y="5646012"/>
              <a:ext cx="2817995" cy="16794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in het keuze menu op ‘Automatisch’ </a:t>
              </a:r>
            </a:p>
          </p:txBody>
        </p:sp>
        <p:cxnSp>
          <p:nvCxnSpPr>
            <p:cNvPr id="116" name="Rechte verbindingslijn 115">
              <a:extLst>
                <a:ext uri="{FF2B5EF4-FFF2-40B4-BE49-F238E27FC236}">
                  <a16:creationId xmlns:a16="http://schemas.microsoft.com/office/drawing/2014/main" id="{425F5135-4E4D-46DC-AA50-6C6D60AB5276}"/>
                </a:ext>
              </a:extLst>
            </p:cNvPr>
            <p:cNvCxnSpPr>
              <a:cxnSpLocks/>
            </p:cNvCxnSpPr>
            <p:nvPr userDrawn="1"/>
          </p:nvCxnSpPr>
          <p:spPr>
            <a:xfrm>
              <a:off x="12397261" y="6858000"/>
              <a:ext cx="3178017" cy="0"/>
            </a:xfrm>
            <a:prstGeom prst="line">
              <a:avLst/>
            </a:prstGeom>
            <a:noFill/>
            <a:ln w="3175" cap="flat" cmpd="sng" algn="ctr">
              <a:solidFill>
                <a:schemeClr val="bg1">
                  <a:lumMod val="50000"/>
                </a:schemeClr>
              </a:solidFill>
              <a:prstDash val="solid"/>
            </a:ln>
            <a:effectLst/>
          </p:spPr>
        </p:cxnSp>
      </p:grpSp>
    </p:spTree>
    <p:extLst>
      <p:ext uri="{BB962C8B-B14F-4D97-AF65-F5344CB8AC3E}">
        <p14:creationId xmlns:p14="http://schemas.microsoft.com/office/powerpoint/2010/main" val="36931892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7E85E3C-7F64-48DE-AE59-AF0186AA5C0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ALLEEN TITEL</a:t>
            </a:r>
          </a:p>
        </p:txBody>
      </p:sp>
      <p:sp>
        <p:nvSpPr>
          <p:cNvPr id="19" name="Tijdelijke aanduiding voor tekst 43">
            <a:extLst>
              <a:ext uri="{FF2B5EF4-FFF2-40B4-BE49-F238E27FC236}">
                <a16:creationId xmlns:a16="http://schemas.microsoft.com/office/drawing/2014/main" id="{10D5AB53-53B8-4CBF-8A13-9A3F3A740454}"/>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Tree>
    <p:extLst>
      <p:ext uri="{BB962C8B-B14F-4D97-AF65-F5344CB8AC3E}">
        <p14:creationId xmlns:p14="http://schemas.microsoft.com/office/powerpoint/2010/main" val="35090225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ELDIA/AFSLUITIN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104BC9A4-C991-4F53-A0A7-889E630CFEAA}"/>
              </a:ext>
            </a:extLst>
          </p:cNvPr>
          <p:cNvSpPr/>
          <p:nvPr userDrawn="1"/>
        </p:nvSpPr>
        <p:spPr>
          <a:xfrm>
            <a:off x="-2" y="0"/>
            <a:ext cx="1219200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noProof="0"/>
          </a:p>
        </p:txBody>
      </p:sp>
      <p:sp>
        <p:nvSpPr>
          <p:cNvPr id="25" name="Tijdelijke aanduiding voor tekst 9">
            <a:extLst>
              <a:ext uri="{FF2B5EF4-FFF2-40B4-BE49-F238E27FC236}">
                <a16:creationId xmlns:a16="http://schemas.microsoft.com/office/drawing/2014/main" id="{C75CE4DD-58C0-4779-ADB1-4FC233CAB26A}"/>
              </a:ext>
            </a:extLst>
          </p:cNvPr>
          <p:cNvSpPr>
            <a:spLocks noGrp="1"/>
          </p:cNvSpPr>
          <p:nvPr>
            <p:ph type="body" sz="quarter" idx="19" hasCustomPrompt="1"/>
          </p:nvPr>
        </p:nvSpPr>
        <p:spPr>
          <a:xfrm>
            <a:off x="10670998" y="6457938"/>
            <a:ext cx="1353982" cy="255682"/>
          </a:xfrm>
          <a:prstGeom prst="rect">
            <a:avLst/>
          </a:prstGeom>
          <a:blipFill>
            <a:blip r:embed="rId2"/>
            <a:srcRect/>
            <a:stretch>
              <a:fillRect t="782" b="782"/>
            </a:stretch>
          </a:blipFill>
          <a:ln w="9525">
            <a:noFill/>
          </a:ln>
        </p:spPr>
        <p:txBody>
          <a:bodyPr anchor="ctr"/>
          <a:lstStyle>
            <a:lvl1pPr marL="0" indent="0" algn="ctr">
              <a:buNone/>
              <a:defRPr sz="100">
                <a:solidFill>
                  <a:schemeClr val="bg1"/>
                </a:solidFill>
              </a:defRPr>
            </a:lvl1pPr>
            <a:lvl2pPr algn="ctr">
              <a:defRPr/>
            </a:lvl2pPr>
            <a:lvl3pPr algn="ctr">
              <a:defRPr/>
            </a:lvl3pPr>
            <a:lvl4pPr algn="ctr">
              <a:defRPr/>
            </a:lvl4pPr>
            <a:lvl5pPr algn="ctr">
              <a:defRPr/>
            </a:lvl5pPr>
          </a:lstStyle>
          <a:p>
            <a:pPr lvl="0"/>
            <a:r>
              <a:rPr lang="nl-NL" noProof="0"/>
              <a:t> </a:t>
            </a:r>
          </a:p>
        </p:txBody>
      </p:sp>
      <p:sp>
        <p:nvSpPr>
          <p:cNvPr id="8" name="Tijdelijke aanduiding voor afbeelding 16">
            <a:extLst>
              <a:ext uri="{FF2B5EF4-FFF2-40B4-BE49-F238E27FC236}">
                <a16:creationId xmlns:a16="http://schemas.microsoft.com/office/drawing/2014/main" id="{1AE1DD67-91EA-45BC-A069-9AC4D021582E}"/>
              </a:ext>
            </a:extLst>
          </p:cNvPr>
          <p:cNvSpPr>
            <a:spLocks noGrp="1"/>
          </p:cNvSpPr>
          <p:nvPr>
            <p:ph type="pic" sz="quarter" idx="13" hasCustomPrompt="1"/>
          </p:nvPr>
        </p:nvSpPr>
        <p:spPr>
          <a:xfrm>
            <a:off x="-2" y="-1"/>
            <a:ext cx="12192000" cy="4900042"/>
          </a:xfrm>
          <a:solidFill>
            <a:schemeClr val="bg1">
              <a:lumMod val="95000"/>
            </a:schemeClr>
          </a:solidFill>
        </p:spPr>
        <p:txBody>
          <a:bodyPr tIns="2016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 name="Titel 1">
            <a:extLst>
              <a:ext uri="{FF2B5EF4-FFF2-40B4-BE49-F238E27FC236}">
                <a16:creationId xmlns:a16="http://schemas.microsoft.com/office/drawing/2014/main" id="{2A71DEDF-37F1-4689-8FA1-5E743C7DD6C0}"/>
              </a:ext>
            </a:extLst>
          </p:cNvPr>
          <p:cNvSpPr>
            <a:spLocks noGrp="1"/>
          </p:cNvSpPr>
          <p:nvPr>
            <p:ph type="ctrTitle" hasCustomPrompt="1"/>
          </p:nvPr>
        </p:nvSpPr>
        <p:spPr>
          <a:xfrm>
            <a:off x="1080015" y="5315717"/>
            <a:ext cx="10031970" cy="477864"/>
          </a:xfrm>
        </p:spPr>
        <p:txBody>
          <a:bodyPr anchor="b"/>
          <a:lstStyle>
            <a:lvl1pPr algn="ctr">
              <a:defRPr sz="4000"/>
            </a:lvl1pPr>
          </a:lstStyle>
          <a:p>
            <a:r>
              <a:rPr lang="nl-NL" noProof="0"/>
              <a:t>Titel van de presentatie van max. 1 regel</a:t>
            </a:r>
          </a:p>
        </p:txBody>
      </p:sp>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1080015" y="5954917"/>
            <a:ext cx="10031970" cy="255682"/>
          </a:xfrm>
        </p:spPr>
        <p:txBody>
          <a:bodyPr anchor="b"/>
          <a:lstStyle>
            <a:lvl1pPr marL="0" indent="0" algn="ctr">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noProof="0"/>
              <a:t>Naam spreker  |  Plaats  |  Datum</a:t>
            </a:r>
          </a:p>
        </p:txBody>
      </p:sp>
      <p:sp>
        <p:nvSpPr>
          <p:cNvPr id="5" name="Tijdelijke aanduiding voor voettekst 4">
            <a:extLst>
              <a:ext uri="{FF2B5EF4-FFF2-40B4-BE49-F238E27FC236}">
                <a16:creationId xmlns:a16="http://schemas.microsoft.com/office/drawing/2014/main" id="{9494CA00-555D-4751-8668-226BC887CEBE}"/>
              </a:ext>
            </a:extLst>
          </p:cNvPr>
          <p:cNvSpPr>
            <a:spLocks noGrp="1"/>
          </p:cNvSpPr>
          <p:nvPr>
            <p:ph type="ftr" sz="quarter" idx="11"/>
          </p:nvPr>
        </p:nvSpPr>
        <p:spPr>
          <a:xfrm>
            <a:off x="7910180" y="7182853"/>
            <a:ext cx="4114800" cy="360000"/>
          </a:xfrm>
        </p:spPr>
        <p:txBody>
          <a:bodyPr/>
          <a:lstStyle>
            <a:lvl1pPr algn="r">
              <a:defRPr sz="1050"/>
            </a:lvl1p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2D1BBC6E-F9BF-4357-8F2F-8FFB4D00068A}"/>
              </a:ext>
            </a:extLst>
          </p:cNvPr>
          <p:cNvSpPr>
            <a:spLocks noGrp="1"/>
          </p:cNvSpPr>
          <p:nvPr>
            <p:ph type="sldNum" sz="quarter" idx="12"/>
          </p:nvPr>
        </p:nvSpPr>
        <p:spPr>
          <a:xfrm>
            <a:off x="11740383" y="7001401"/>
            <a:ext cx="284597" cy="151790"/>
          </a:xfrm>
        </p:spPr>
        <p:txBody>
          <a:bodyPr/>
          <a:lstStyle/>
          <a:p>
            <a:fld id="{D7B5DC5B-6873-43DB-ADC7-B15ACCE0DFDB}" type="slidenum">
              <a:rPr lang="nl-NL" noProof="0" smtClean="0"/>
              <a:t>‹#›</a:t>
            </a:fld>
            <a:endParaRPr lang="nl-NL" noProof="0"/>
          </a:p>
        </p:txBody>
      </p:sp>
      <p:sp>
        <p:nvSpPr>
          <p:cNvPr id="7" name="Rechthoek: afgeronde hoeken 6">
            <a:extLst>
              <a:ext uri="{FF2B5EF4-FFF2-40B4-BE49-F238E27FC236}">
                <a16:creationId xmlns:a16="http://schemas.microsoft.com/office/drawing/2014/main" id="{7D3AA19E-3DC8-4556-BC42-05B65FEB6237}"/>
              </a:ext>
            </a:extLst>
          </p:cNvPr>
          <p:cNvSpPr/>
          <p:nvPr userDrawn="1"/>
        </p:nvSpPr>
        <p:spPr>
          <a:xfrm>
            <a:off x="3048000" y="-491317"/>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sz="2800" b="0" cap="all" baseline="0" noProof="0">
                <a:solidFill>
                  <a:schemeClr val="accent1"/>
                </a:solidFill>
                <a:latin typeface="+mn-lt"/>
              </a:rPr>
              <a:t>TITELDIA/Afsluiting</a:t>
            </a:r>
          </a:p>
        </p:txBody>
      </p:sp>
      <p:sp>
        <p:nvSpPr>
          <p:cNvPr id="21" name="Tijdelijke aanduiding voor tekst 9">
            <a:extLst>
              <a:ext uri="{FF2B5EF4-FFF2-40B4-BE49-F238E27FC236}">
                <a16:creationId xmlns:a16="http://schemas.microsoft.com/office/drawing/2014/main" id="{D162A0BC-575D-4DA1-806F-F51EC72B72CA}"/>
              </a:ext>
            </a:extLst>
          </p:cNvPr>
          <p:cNvSpPr>
            <a:spLocks noGrp="1"/>
          </p:cNvSpPr>
          <p:nvPr>
            <p:ph type="body" sz="quarter" idx="15" hasCustomPrompt="1"/>
          </p:nvPr>
        </p:nvSpPr>
        <p:spPr>
          <a:xfrm>
            <a:off x="5556000" y="4900421"/>
            <a:ext cx="1080000" cy="72000"/>
          </a:xfrm>
          <a:prstGeom prst="rect">
            <a:avLst/>
          </a:prstGeom>
          <a:solidFill>
            <a:schemeClr val="accent1"/>
          </a:solidFill>
          <a:ln w="9525">
            <a:noFill/>
          </a:ln>
        </p:spPr>
        <p:txBody>
          <a:bodyPr anchor="ctr"/>
          <a:lstStyle>
            <a:lvl1pPr marL="0" indent="0" algn="ctr">
              <a:buNone/>
              <a:defRPr sz="100">
                <a:solidFill>
                  <a:schemeClr val="accent1"/>
                </a:solidFill>
              </a:defRPr>
            </a:lvl1pPr>
            <a:lvl2pPr algn="ctr">
              <a:defRPr/>
            </a:lvl2pPr>
            <a:lvl3pPr algn="ctr">
              <a:defRPr/>
            </a:lvl3pPr>
            <a:lvl4pPr algn="ctr">
              <a:defRPr/>
            </a:lvl4pPr>
            <a:lvl5pPr algn="ctr">
              <a:defRPr/>
            </a:lvl5pPr>
          </a:lstStyle>
          <a:p>
            <a:pPr lvl="0"/>
            <a:r>
              <a:rPr lang="nl-NL" noProof="0"/>
              <a:t> </a:t>
            </a:r>
          </a:p>
        </p:txBody>
      </p:sp>
      <p:sp>
        <p:nvSpPr>
          <p:cNvPr id="26" name="Tijdelijke aanduiding voor tekst 9">
            <a:extLst>
              <a:ext uri="{FF2B5EF4-FFF2-40B4-BE49-F238E27FC236}">
                <a16:creationId xmlns:a16="http://schemas.microsoft.com/office/drawing/2014/main" id="{B1B4D0D6-0979-4945-8789-95A2B294D691}"/>
              </a:ext>
            </a:extLst>
          </p:cNvPr>
          <p:cNvSpPr>
            <a:spLocks noGrp="1"/>
          </p:cNvSpPr>
          <p:nvPr>
            <p:ph type="body" sz="quarter" idx="16" hasCustomPrompt="1"/>
          </p:nvPr>
        </p:nvSpPr>
        <p:spPr>
          <a:xfrm>
            <a:off x="4147865" y="4285399"/>
            <a:ext cx="3896297" cy="421928"/>
          </a:xfrm>
          <a:prstGeom prst="roundRect">
            <a:avLst>
              <a:gd name="adj" fmla="val 13596"/>
            </a:avLst>
          </a:prstGeom>
          <a:solidFill>
            <a:schemeClr val="accent1"/>
          </a:solidFill>
          <a:ln w="9525">
            <a:noFill/>
          </a:ln>
        </p:spPr>
        <p:txBody>
          <a:bodyPr wrap="none" lIns="108000" tIns="72000" rIns="108000" bIns="72000" anchor="ctr">
            <a:spAutoFit/>
          </a:bodyPr>
          <a:lstStyle>
            <a:lvl1pPr marL="0" indent="0" algn="ctr">
              <a:buNone/>
              <a:defRPr sz="1600">
                <a:solidFill>
                  <a:schemeClr val="bg1"/>
                </a:solidFill>
              </a:defRPr>
            </a:lvl1pPr>
            <a:lvl2pPr algn="ctr">
              <a:defRPr/>
            </a:lvl2pPr>
            <a:lvl3pPr algn="ctr">
              <a:defRPr/>
            </a:lvl3pPr>
            <a:lvl4pPr algn="ctr">
              <a:defRPr/>
            </a:lvl4pPr>
            <a:lvl5pPr algn="ctr">
              <a:defRPr/>
            </a:lvl5pPr>
          </a:lstStyle>
          <a:p>
            <a:pPr lvl="0"/>
            <a:r>
              <a:rPr lang="nl-NL" noProof="0"/>
              <a:t>Vul hier de naam van je bedrijfsonderdeel in</a:t>
            </a:r>
          </a:p>
        </p:txBody>
      </p:sp>
      <p:sp>
        <p:nvSpPr>
          <p:cNvPr id="24" name="Tijdelijke aanduiding voor tekst 9">
            <a:extLst>
              <a:ext uri="{FF2B5EF4-FFF2-40B4-BE49-F238E27FC236}">
                <a16:creationId xmlns:a16="http://schemas.microsoft.com/office/drawing/2014/main" id="{B90DCB3A-5392-4CF4-8622-F077FEB7E798}"/>
              </a:ext>
            </a:extLst>
          </p:cNvPr>
          <p:cNvSpPr>
            <a:spLocks noGrp="1"/>
          </p:cNvSpPr>
          <p:nvPr>
            <p:ph type="body" sz="quarter" idx="17" hasCustomPrompt="1"/>
          </p:nvPr>
        </p:nvSpPr>
        <p:spPr>
          <a:xfrm>
            <a:off x="-2" y="6786000"/>
            <a:ext cx="12192000" cy="72000"/>
          </a:xfrm>
          <a:prstGeom prst="rect">
            <a:avLst/>
          </a:prstGeom>
          <a:solidFill>
            <a:srgbClr val="417FA2"/>
          </a:solidFill>
          <a:ln w="9525">
            <a:noFill/>
          </a:ln>
        </p:spPr>
        <p:txBody>
          <a:bodyPr anchor="ctr"/>
          <a:lstStyle>
            <a:lvl1pPr marL="0" indent="0" algn="ctr">
              <a:buNone/>
              <a:defRPr sz="100">
                <a:solidFill>
                  <a:schemeClr val="bg1"/>
                </a:solidFill>
              </a:defRPr>
            </a:lvl1pPr>
            <a:lvl2pPr algn="ctr">
              <a:defRPr/>
            </a:lvl2pPr>
            <a:lvl3pPr algn="ctr">
              <a:defRPr/>
            </a:lvl3pPr>
            <a:lvl4pPr algn="ctr">
              <a:defRPr/>
            </a:lvl4pPr>
            <a:lvl5pPr algn="ctr">
              <a:defRPr/>
            </a:lvl5pPr>
          </a:lstStyle>
          <a:p>
            <a:pPr lvl="0"/>
            <a:r>
              <a:rPr lang="nl-NL" noProof="0"/>
              <a:t> </a:t>
            </a:r>
          </a:p>
        </p:txBody>
      </p:sp>
      <p:grpSp>
        <p:nvGrpSpPr>
          <p:cNvPr id="59" name="GRID" hidden="1">
            <a:extLst>
              <a:ext uri="{FF2B5EF4-FFF2-40B4-BE49-F238E27FC236}">
                <a16:creationId xmlns:a16="http://schemas.microsoft.com/office/drawing/2014/main" id="{E4C2A759-8F26-4F33-B83B-C40BE60F085F}"/>
              </a:ext>
            </a:extLst>
          </p:cNvPr>
          <p:cNvGrpSpPr/>
          <p:nvPr userDrawn="1"/>
        </p:nvGrpSpPr>
        <p:grpSpPr>
          <a:xfrm>
            <a:off x="0" y="0"/>
            <a:ext cx="12192000" cy="6858000"/>
            <a:chOff x="0" y="0"/>
            <a:chExt cx="12192000" cy="6858000"/>
          </a:xfrm>
          <a:solidFill>
            <a:schemeClr val="tx1">
              <a:alpha val="30000"/>
            </a:schemeClr>
          </a:solidFill>
        </p:grpSpPr>
        <p:sp>
          <p:nvSpPr>
            <p:cNvPr id="60" name="Rechthoek 59">
              <a:extLst>
                <a:ext uri="{FF2B5EF4-FFF2-40B4-BE49-F238E27FC236}">
                  <a16:creationId xmlns:a16="http://schemas.microsoft.com/office/drawing/2014/main" id="{B34F9F53-D2D3-4D8E-A83D-3B954A176349}"/>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4E03818F-4B22-4B19-A092-A2F8C97EBBC1}"/>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D8D3F0EC-420E-48DC-AFD1-32B337B33BEA}"/>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3" name="Rechthoek 62">
              <a:extLst>
                <a:ext uri="{FF2B5EF4-FFF2-40B4-BE49-F238E27FC236}">
                  <a16:creationId xmlns:a16="http://schemas.microsoft.com/office/drawing/2014/main" id="{0571A95A-D1C2-4221-94DA-22CEB80F9B52}"/>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4" name="Rechthoek 63">
              <a:extLst>
                <a:ext uri="{FF2B5EF4-FFF2-40B4-BE49-F238E27FC236}">
                  <a16:creationId xmlns:a16="http://schemas.microsoft.com/office/drawing/2014/main" id="{3AA57B5A-A3CF-4D53-BDDF-A09CD9FC28B8}"/>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5" name="Rechthoek 64">
              <a:extLst>
                <a:ext uri="{FF2B5EF4-FFF2-40B4-BE49-F238E27FC236}">
                  <a16:creationId xmlns:a16="http://schemas.microsoft.com/office/drawing/2014/main" id="{45BE349D-76A4-4C5E-8712-6532587820F9}"/>
                </a:ext>
              </a:extLst>
            </p:cNvPr>
            <p:cNvSpPr/>
            <p:nvPr userDrawn="1"/>
          </p:nvSpPr>
          <p:spPr>
            <a:xfrm>
              <a:off x="0" y="6426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8" name="Rechthoek 67">
              <a:extLst>
                <a:ext uri="{FF2B5EF4-FFF2-40B4-BE49-F238E27FC236}">
                  <a16:creationId xmlns:a16="http://schemas.microsoft.com/office/drawing/2014/main" id="{1F721CCE-28AF-4770-A966-48719EA5DD36}"/>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9" name="Rechthoek 68">
              <a:extLst>
                <a:ext uri="{FF2B5EF4-FFF2-40B4-BE49-F238E27FC236}">
                  <a16:creationId xmlns:a16="http://schemas.microsoft.com/office/drawing/2014/main" id="{652CC678-784F-447B-B4D7-B10F5335906A}"/>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70" name="Rechthoek 69">
              <a:extLst>
                <a:ext uri="{FF2B5EF4-FFF2-40B4-BE49-F238E27FC236}">
                  <a16:creationId xmlns:a16="http://schemas.microsoft.com/office/drawing/2014/main" id="{D5BC6CEE-7574-4A92-92B5-AD22648B1A96}"/>
                </a:ext>
              </a:extLst>
            </p:cNvPr>
            <p:cNvSpPr/>
            <p:nvPr userDrawn="1"/>
          </p:nvSpPr>
          <p:spPr>
            <a:xfrm>
              <a:off x="0" y="497242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76" name="Instructie">
            <a:extLst>
              <a:ext uri="{FF2B5EF4-FFF2-40B4-BE49-F238E27FC236}">
                <a16:creationId xmlns:a16="http://schemas.microsoft.com/office/drawing/2014/main" id="{A7C5DCED-18A8-4BCA-88A6-26A48943BA7B}"/>
              </a:ext>
            </a:extLst>
          </p:cNvPr>
          <p:cNvGrpSpPr/>
          <p:nvPr userDrawn="1"/>
        </p:nvGrpSpPr>
        <p:grpSpPr>
          <a:xfrm>
            <a:off x="12391601" y="0"/>
            <a:ext cx="3183678" cy="3883011"/>
            <a:chOff x="12391601" y="0"/>
            <a:chExt cx="3183678" cy="3883011"/>
          </a:xfrm>
        </p:grpSpPr>
        <p:grpSp>
          <p:nvGrpSpPr>
            <p:cNvPr id="80" name="Groep 79">
              <a:extLst>
                <a:ext uri="{FF2B5EF4-FFF2-40B4-BE49-F238E27FC236}">
                  <a16:creationId xmlns:a16="http://schemas.microsoft.com/office/drawing/2014/main" id="{B2FD0359-C487-4235-8B0B-4F8441D51C3E}"/>
                </a:ext>
              </a:extLst>
            </p:cNvPr>
            <p:cNvGrpSpPr/>
            <p:nvPr userDrawn="1"/>
          </p:nvGrpSpPr>
          <p:grpSpPr>
            <a:xfrm>
              <a:off x="12757282" y="3100116"/>
              <a:ext cx="1499406" cy="678267"/>
              <a:chOff x="12757283" y="3120781"/>
              <a:chExt cx="1499406" cy="678267"/>
            </a:xfrm>
          </p:grpSpPr>
          <p:sp>
            <p:nvSpPr>
              <p:cNvPr id="103" name="Rechthoek 102">
                <a:extLst>
                  <a:ext uri="{FF2B5EF4-FFF2-40B4-BE49-F238E27FC236}">
                    <a16:creationId xmlns:a16="http://schemas.microsoft.com/office/drawing/2014/main" id="{30339959-42BF-44BD-9B32-446D1EDF5D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4" name="Rechthoek 103">
                <a:extLst>
                  <a:ext uri="{FF2B5EF4-FFF2-40B4-BE49-F238E27FC236}">
                    <a16:creationId xmlns:a16="http://schemas.microsoft.com/office/drawing/2014/main" id="{5B4BA334-5B96-4122-A9DE-CC3D57E9B95C}"/>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5" name="Tekstvak 104">
                <a:extLst>
                  <a:ext uri="{FF2B5EF4-FFF2-40B4-BE49-F238E27FC236}">
                    <a16:creationId xmlns:a16="http://schemas.microsoft.com/office/drawing/2014/main" id="{7F6D4F7E-978D-4740-9136-0C46F575BEFB}"/>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106" name="Tekstvak 105">
                <a:extLst>
                  <a:ext uri="{FF2B5EF4-FFF2-40B4-BE49-F238E27FC236}">
                    <a16:creationId xmlns:a16="http://schemas.microsoft.com/office/drawing/2014/main" id="{34A034C6-50DE-4BFE-952B-32B7F38C7FA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107" name="Picture 3">
                <a:extLst>
                  <a:ext uri="{FF2B5EF4-FFF2-40B4-BE49-F238E27FC236}">
                    <a16:creationId xmlns:a16="http://schemas.microsoft.com/office/drawing/2014/main" id="{F0977799-6EC4-45FE-BFE7-98A224CBF11A}"/>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 name="Gelijkbenige driehoek 107">
                <a:extLst>
                  <a:ext uri="{FF2B5EF4-FFF2-40B4-BE49-F238E27FC236}">
                    <a16:creationId xmlns:a16="http://schemas.microsoft.com/office/drawing/2014/main" id="{7D08ACEE-7813-4912-B1B0-96C65D6A464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109" name="Groep 108">
                <a:extLst>
                  <a:ext uri="{FF2B5EF4-FFF2-40B4-BE49-F238E27FC236}">
                    <a16:creationId xmlns:a16="http://schemas.microsoft.com/office/drawing/2014/main" id="{9242D21B-8D47-4460-BFC3-999A110474CC}"/>
                  </a:ext>
                </a:extLst>
              </p:cNvPr>
              <p:cNvGrpSpPr/>
              <p:nvPr userDrawn="1"/>
            </p:nvGrpSpPr>
            <p:grpSpPr>
              <a:xfrm>
                <a:off x="12822311" y="3178534"/>
                <a:ext cx="182309" cy="163794"/>
                <a:chOff x="12832541" y="3162395"/>
                <a:chExt cx="219532" cy="197236"/>
              </a:xfrm>
            </p:grpSpPr>
            <p:sp>
              <p:nvSpPr>
                <p:cNvPr id="114" name="Rechthoek 113">
                  <a:extLst>
                    <a:ext uri="{FF2B5EF4-FFF2-40B4-BE49-F238E27FC236}">
                      <a16:creationId xmlns:a16="http://schemas.microsoft.com/office/drawing/2014/main" id="{D236EB61-5263-4D5F-8FD7-9E9F2B1BCBEC}"/>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5" name="Rechthoek 114">
                  <a:extLst>
                    <a:ext uri="{FF2B5EF4-FFF2-40B4-BE49-F238E27FC236}">
                      <a16:creationId xmlns:a16="http://schemas.microsoft.com/office/drawing/2014/main" id="{7BCC57FF-07F3-44A6-BDDA-18FF86611859}"/>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6" name="Rechthoek 115">
                  <a:extLst>
                    <a:ext uri="{FF2B5EF4-FFF2-40B4-BE49-F238E27FC236}">
                      <a16:creationId xmlns:a16="http://schemas.microsoft.com/office/drawing/2014/main" id="{E5D57E57-89A7-4E8E-8268-3046F6A94D44}"/>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nvGrpSpPr>
              <p:cNvPr id="110" name="Groep 109">
                <a:extLst>
                  <a:ext uri="{FF2B5EF4-FFF2-40B4-BE49-F238E27FC236}">
                    <a16:creationId xmlns:a16="http://schemas.microsoft.com/office/drawing/2014/main" id="{CE64DD25-4A21-48E9-BA5B-742A72C00E87}"/>
                  </a:ext>
                </a:extLst>
              </p:cNvPr>
              <p:cNvGrpSpPr/>
              <p:nvPr userDrawn="1"/>
            </p:nvGrpSpPr>
            <p:grpSpPr>
              <a:xfrm>
                <a:off x="12822311" y="3480352"/>
                <a:ext cx="182309" cy="163794"/>
                <a:chOff x="12832541" y="3162395"/>
                <a:chExt cx="219532" cy="197236"/>
              </a:xfrm>
            </p:grpSpPr>
            <p:sp>
              <p:nvSpPr>
                <p:cNvPr id="111" name="Rechthoek 110">
                  <a:extLst>
                    <a:ext uri="{FF2B5EF4-FFF2-40B4-BE49-F238E27FC236}">
                      <a16:creationId xmlns:a16="http://schemas.microsoft.com/office/drawing/2014/main" id="{D9A03206-EC98-4032-A2BA-F307061D1DA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2" name="Rechthoek 111">
                  <a:extLst>
                    <a:ext uri="{FF2B5EF4-FFF2-40B4-BE49-F238E27FC236}">
                      <a16:creationId xmlns:a16="http://schemas.microsoft.com/office/drawing/2014/main" id="{5B162F1D-7353-4CE6-A1B0-E1E071915FC0}"/>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3" name="Rechthoek 112">
                  <a:extLst>
                    <a:ext uri="{FF2B5EF4-FFF2-40B4-BE49-F238E27FC236}">
                      <a16:creationId xmlns:a16="http://schemas.microsoft.com/office/drawing/2014/main" id="{91B8FD5F-CC8C-47E1-BC4E-423EEBCCD7AC}"/>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
          <p:nvSpPr>
            <p:cNvPr id="81" name="Rechthoek 80">
              <a:extLst>
                <a:ext uri="{FF2B5EF4-FFF2-40B4-BE49-F238E27FC236}">
                  <a16:creationId xmlns:a16="http://schemas.microsoft.com/office/drawing/2014/main" id="{00B59C7E-193F-4D0B-A955-FCD17B9AABE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82" name="Ovaal 81">
              <a:extLst>
                <a:ext uri="{FF2B5EF4-FFF2-40B4-BE49-F238E27FC236}">
                  <a16:creationId xmlns:a16="http://schemas.microsoft.com/office/drawing/2014/main" id="{C88F2BFE-1EBD-4088-8F39-6534E79E23A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3" name="Rechte verbindingslijn 82">
              <a:extLst>
                <a:ext uri="{FF2B5EF4-FFF2-40B4-BE49-F238E27FC236}">
                  <a16:creationId xmlns:a16="http://schemas.microsoft.com/office/drawing/2014/main" id="{76CB2299-2B62-4F43-BA2C-96DCFFE8C528}"/>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84" name="Rechte verbindingslijn 83">
              <a:extLst>
                <a:ext uri="{FF2B5EF4-FFF2-40B4-BE49-F238E27FC236}">
                  <a16:creationId xmlns:a16="http://schemas.microsoft.com/office/drawing/2014/main" id="{057D3894-88C4-4C83-8F87-599712FFABD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85" name="Rechthoek 84">
              <a:extLst>
                <a:ext uri="{FF2B5EF4-FFF2-40B4-BE49-F238E27FC236}">
                  <a16:creationId xmlns:a16="http://schemas.microsoft.com/office/drawing/2014/main" id="{1495C823-2C18-4951-B86A-749D9631FEF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86" name="Rechte verbindingslijn 85">
              <a:extLst>
                <a:ext uri="{FF2B5EF4-FFF2-40B4-BE49-F238E27FC236}">
                  <a16:creationId xmlns:a16="http://schemas.microsoft.com/office/drawing/2014/main" id="{E802DE7B-E1F2-4686-87CD-4AF993D27E9E}"/>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87" name="Ovaal 86">
              <a:extLst>
                <a:ext uri="{FF2B5EF4-FFF2-40B4-BE49-F238E27FC236}">
                  <a16:creationId xmlns:a16="http://schemas.microsoft.com/office/drawing/2014/main" id="{26DDAD4D-4022-4A00-8486-8F987CB3847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88" name="Rechthoek 87">
              <a:extLst>
                <a:ext uri="{FF2B5EF4-FFF2-40B4-BE49-F238E27FC236}">
                  <a16:creationId xmlns:a16="http://schemas.microsoft.com/office/drawing/2014/main" id="{F057954F-8C77-4E11-9DB0-51F7FA70896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89" name="Groep 88">
              <a:extLst>
                <a:ext uri="{FF2B5EF4-FFF2-40B4-BE49-F238E27FC236}">
                  <a16:creationId xmlns:a16="http://schemas.microsoft.com/office/drawing/2014/main" id="{033A4A22-69F6-43DF-99D3-71C402EF6A17}"/>
                </a:ext>
              </a:extLst>
            </p:cNvPr>
            <p:cNvGrpSpPr/>
            <p:nvPr userDrawn="1"/>
          </p:nvGrpSpPr>
          <p:grpSpPr>
            <a:xfrm>
              <a:off x="12757282" y="2184550"/>
              <a:ext cx="825500" cy="209550"/>
              <a:chOff x="13504624" y="2482850"/>
              <a:chExt cx="825500" cy="209550"/>
            </a:xfrm>
          </p:grpSpPr>
          <p:sp>
            <p:nvSpPr>
              <p:cNvPr id="100" name="Rechthoek 99">
                <a:extLst>
                  <a:ext uri="{FF2B5EF4-FFF2-40B4-BE49-F238E27FC236}">
                    <a16:creationId xmlns:a16="http://schemas.microsoft.com/office/drawing/2014/main" id="{EF286B8A-5D47-43BE-8E5D-AD52C28E312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01" name="Rechte verbindingslijn 100">
                <a:extLst>
                  <a:ext uri="{FF2B5EF4-FFF2-40B4-BE49-F238E27FC236}">
                    <a16:creationId xmlns:a16="http://schemas.microsoft.com/office/drawing/2014/main" id="{69C398AB-B347-40EF-9457-D1299C60B64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02" name="Gelijkbenige driehoek 101">
                <a:extLst>
                  <a:ext uri="{FF2B5EF4-FFF2-40B4-BE49-F238E27FC236}">
                    <a16:creationId xmlns:a16="http://schemas.microsoft.com/office/drawing/2014/main" id="{FF708588-A9DE-4739-8F50-C24064DF259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90" name="Groep 89">
              <a:extLst>
                <a:ext uri="{FF2B5EF4-FFF2-40B4-BE49-F238E27FC236}">
                  <a16:creationId xmlns:a16="http://schemas.microsoft.com/office/drawing/2014/main" id="{45EA5EB3-AA32-4BA2-95F3-261E7B7754D6}"/>
                </a:ext>
              </a:extLst>
            </p:cNvPr>
            <p:cNvGrpSpPr/>
            <p:nvPr userDrawn="1"/>
          </p:nvGrpSpPr>
          <p:grpSpPr>
            <a:xfrm>
              <a:off x="12757282" y="1141626"/>
              <a:ext cx="294789" cy="318834"/>
              <a:chOff x="14466489" y="1001522"/>
              <a:chExt cx="290627" cy="314333"/>
            </a:xfrm>
          </p:grpSpPr>
          <p:sp>
            <p:nvSpPr>
              <p:cNvPr id="94" name="Rechthoek 93">
                <a:extLst>
                  <a:ext uri="{FF2B5EF4-FFF2-40B4-BE49-F238E27FC236}">
                    <a16:creationId xmlns:a16="http://schemas.microsoft.com/office/drawing/2014/main" id="{273118CE-989E-42B3-9023-6090BCE5D1D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95" name="Ovaal 94">
                <a:extLst>
                  <a:ext uri="{FF2B5EF4-FFF2-40B4-BE49-F238E27FC236}">
                    <a16:creationId xmlns:a16="http://schemas.microsoft.com/office/drawing/2014/main" id="{EFF5EAE8-1B89-422E-A5AD-78F52E3348A3}"/>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6" name="Vrije vorm: vorm 95">
                <a:extLst>
                  <a:ext uri="{FF2B5EF4-FFF2-40B4-BE49-F238E27FC236}">
                    <a16:creationId xmlns:a16="http://schemas.microsoft.com/office/drawing/2014/main" id="{1941F0BB-D4B4-4BA2-8B19-9BE4186761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7" name="Rechthoek: afgeronde hoeken 96">
                <a:extLst>
                  <a:ext uri="{FF2B5EF4-FFF2-40B4-BE49-F238E27FC236}">
                    <a16:creationId xmlns:a16="http://schemas.microsoft.com/office/drawing/2014/main" id="{D4D148B3-B787-46A7-9F7A-3E7C332CCFF0}"/>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98" name="Rechte verbindingslijn 97">
                <a:extLst>
                  <a:ext uri="{FF2B5EF4-FFF2-40B4-BE49-F238E27FC236}">
                    <a16:creationId xmlns:a16="http://schemas.microsoft.com/office/drawing/2014/main" id="{0814D724-37D2-42AA-983F-CBB36268F35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99" name="Rechte verbindingslijn 98">
                <a:extLst>
                  <a:ext uri="{FF2B5EF4-FFF2-40B4-BE49-F238E27FC236}">
                    <a16:creationId xmlns:a16="http://schemas.microsoft.com/office/drawing/2014/main" id="{F3A4A562-A36D-49D4-BD61-8826010E2FF8}"/>
                  </a:ext>
                </a:extLst>
              </p:cNvPr>
              <p:cNvCxnSpPr>
                <a:cxnSpLocks/>
                <a:stCxn id="9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91" name="Ovaal 90">
              <a:extLst>
                <a:ext uri="{FF2B5EF4-FFF2-40B4-BE49-F238E27FC236}">
                  <a16:creationId xmlns:a16="http://schemas.microsoft.com/office/drawing/2014/main" id="{EA084D35-F4AE-403C-B8A9-EF038E119193}"/>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92" name="Rechthoek 91">
              <a:extLst>
                <a:ext uri="{FF2B5EF4-FFF2-40B4-BE49-F238E27FC236}">
                  <a16:creationId xmlns:a16="http://schemas.microsoft.com/office/drawing/2014/main" id="{F2A9A87D-41CE-4E32-BB70-B049CD6381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93" name="Rechte verbindingslijn 92">
              <a:extLst>
                <a:ext uri="{FF2B5EF4-FFF2-40B4-BE49-F238E27FC236}">
                  <a16:creationId xmlns:a16="http://schemas.microsoft.com/office/drawing/2014/main" id="{F9BD3C04-532C-47B1-A6A5-35552C24B529}"/>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grpSp>
        <p:nvGrpSpPr>
          <p:cNvPr id="66" name="OVERIGE KLEUREN">
            <a:extLst>
              <a:ext uri="{FF2B5EF4-FFF2-40B4-BE49-F238E27FC236}">
                <a16:creationId xmlns:a16="http://schemas.microsoft.com/office/drawing/2014/main" id="{A9E92F5D-FAD6-4072-AD98-E4EA30EDD3C3}"/>
              </a:ext>
            </a:extLst>
          </p:cNvPr>
          <p:cNvGrpSpPr/>
          <p:nvPr userDrawn="1"/>
        </p:nvGrpSpPr>
        <p:grpSpPr>
          <a:xfrm>
            <a:off x="3241700" y="6925672"/>
            <a:ext cx="1028611" cy="333473"/>
            <a:chOff x="8419153" y="176531"/>
            <a:chExt cx="1028611" cy="333473"/>
          </a:xfrm>
        </p:grpSpPr>
        <p:grpSp>
          <p:nvGrpSpPr>
            <p:cNvPr id="67" name="Groep 66">
              <a:extLst>
                <a:ext uri="{FF2B5EF4-FFF2-40B4-BE49-F238E27FC236}">
                  <a16:creationId xmlns:a16="http://schemas.microsoft.com/office/drawing/2014/main" id="{6F026B88-B312-4053-8A72-13C4BC91F3E8}"/>
                </a:ext>
              </a:extLst>
            </p:cNvPr>
            <p:cNvGrpSpPr/>
            <p:nvPr userDrawn="1"/>
          </p:nvGrpSpPr>
          <p:grpSpPr>
            <a:xfrm rot="16200000">
              <a:off x="8707994" y="78045"/>
              <a:ext cx="143119" cy="720800"/>
              <a:chOff x="8410390" y="426075"/>
              <a:chExt cx="212651" cy="1070988"/>
            </a:xfrm>
          </p:grpSpPr>
          <p:sp>
            <p:nvSpPr>
              <p:cNvPr id="72" name="Rechthoek: afgeronde hoeken 71">
                <a:extLst>
                  <a:ext uri="{FF2B5EF4-FFF2-40B4-BE49-F238E27FC236}">
                    <a16:creationId xmlns:a16="http://schemas.microsoft.com/office/drawing/2014/main" id="{BFF93C64-43D0-42EC-B88A-2AF477B79ED8}"/>
                  </a:ext>
                </a:extLst>
              </p:cNvPr>
              <p:cNvSpPr/>
              <p:nvPr userDrawn="1"/>
            </p:nvSpPr>
            <p:spPr>
              <a:xfrm>
                <a:off x="8410390" y="705813"/>
                <a:ext cx="212649" cy="212649"/>
              </a:xfrm>
              <a:prstGeom prst="roundRect">
                <a:avLst>
                  <a:gd name="adj" fmla="val 26722"/>
                </a:avLst>
              </a:prstGeom>
              <a:solidFill>
                <a:srgbClr val="00B33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74" name="Rechthoek: afgeronde hoeken 73">
                <a:extLst>
                  <a:ext uri="{FF2B5EF4-FFF2-40B4-BE49-F238E27FC236}">
                    <a16:creationId xmlns:a16="http://schemas.microsoft.com/office/drawing/2014/main" id="{94035C6F-389D-4FFC-B8C3-618061F2D8A1}"/>
                  </a:ext>
                </a:extLst>
              </p:cNvPr>
              <p:cNvSpPr/>
              <p:nvPr userDrawn="1"/>
            </p:nvSpPr>
            <p:spPr>
              <a:xfrm>
                <a:off x="8410390" y="426075"/>
                <a:ext cx="212649" cy="212649"/>
              </a:xfrm>
              <a:prstGeom prst="roundRect">
                <a:avLst>
                  <a:gd name="adj" fmla="val 26722"/>
                </a:avLst>
              </a:prstGeom>
              <a:solidFill>
                <a:srgbClr val="0BA29C"/>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75" name="Rechthoek: afgeronde hoeken 74">
                <a:extLst>
                  <a:ext uri="{FF2B5EF4-FFF2-40B4-BE49-F238E27FC236}">
                    <a16:creationId xmlns:a16="http://schemas.microsoft.com/office/drawing/2014/main" id="{3E3BA818-DACD-46D3-A515-24BF4C7BAB1B}"/>
                  </a:ext>
                </a:extLst>
              </p:cNvPr>
              <p:cNvSpPr/>
              <p:nvPr userDrawn="1"/>
            </p:nvSpPr>
            <p:spPr>
              <a:xfrm>
                <a:off x="8410391" y="1014997"/>
                <a:ext cx="212650" cy="212648"/>
              </a:xfrm>
              <a:prstGeom prst="roundRect">
                <a:avLst>
                  <a:gd name="adj" fmla="val 26722"/>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77" name="Rechthoek: afgeronde hoeken 76">
                <a:extLst>
                  <a:ext uri="{FF2B5EF4-FFF2-40B4-BE49-F238E27FC236}">
                    <a16:creationId xmlns:a16="http://schemas.microsoft.com/office/drawing/2014/main" id="{C2B9051C-C2DE-4560-A352-7DE5260B1D9D}"/>
                  </a:ext>
                </a:extLst>
              </p:cNvPr>
              <p:cNvSpPr/>
              <p:nvPr userDrawn="1"/>
            </p:nvSpPr>
            <p:spPr>
              <a:xfrm>
                <a:off x="8410391" y="1284415"/>
                <a:ext cx="212650" cy="212648"/>
              </a:xfrm>
              <a:prstGeom prst="roundRect">
                <a:avLst>
                  <a:gd name="adj" fmla="val 26722"/>
                </a:avLst>
              </a:prstGeom>
              <a:solidFill>
                <a:srgbClr val="E1321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grpSp>
        <p:sp>
          <p:nvSpPr>
            <p:cNvPr id="71" name="Tekstvak 70">
              <a:extLst>
                <a:ext uri="{FF2B5EF4-FFF2-40B4-BE49-F238E27FC236}">
                  <a16:creationId xmlns:a16="http://schemas.microsoft.com/office/drawing/2014/main" id="{936A3CF1-4B0B-4125-8651-D406A8889996}"/>
                </a:ext>
              </a:extLst>
            </p:cNvPr>
            <p:cNvSpPr txBox="1"/>
            <p:nvPr userDrawn="1"/>
          </p:nvSpPr>
          <p:spPr>
            <a:xfrm>
              <a:off x="8419153" y="176531"/>
              <a:ext cx="1028611" cy="143117"/>
            </a:xfrm>
            <a:prstGeom prst="rect">
              <a:avLst/>
            </a:prstGeom>
            <a:noFill/>
          </p:spPr>
          <p:txBody>
            <a:bodyPr wrap="square" lIns="0" tIns="0" rIns="0" bIns="0" rtlCol="0">
              <a:noAutofit/>
            </a:bodyPr>
            <a:lstStyle/>
            <a:p>
              <a:pPr algn="l"/>
              <a:r>
                <a:rPr lang="nl-NL" sz="1000" b="1" u="none" noProof="0">
                  <a:latin typeface="+mj-lt"/>
                </a:rPr>
                <a:t>Merk kleuren</a:t>
              </a:r>
            </a:p>
          </p:txBody>
        </p:sp>
      </p:grpSp>
      <p:pic>
        <p:nvPicPr>
          <p:cNvPr id="73" name="Afbeelding 72">
            <a:extLst>
              <a:ext uri="{FF2B5EF4-FFF2-40B4-BE49-F238E27FC236}">
                <a16:creationId xmlns:a16="http://schemas.microsoft.com/office/drawing/2014/main" id="{8FCDD18C-5F2E-5147-83A8-51B53E3D43D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7105" y="6226329"/>
            <a:ext cx="3179346" cy="562716"/>
          </a:xfrm>
          <a:prstGeom prst="rect">
            <a:avLst/>
          </a:prstGeom>
        </p:spPr>
      </p:pic>
    </p:spTree>
    <p:extLst>
      <p:ext uri="{BB962C8B-B14F-4D97-AF65-F5344CB8AC3E}">
        <p14:creationId xmlns:p14="http://schemas.microsoft.com/office/powerpoint/2010/main" val="15398075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outVertical)">
                                      <p:cBhvr>
                                        <p:cTn id="7" dur="600"/>
                                        <p:tgtEl>
                                          <p:spTgt spid="24"/>
                                        </p:tgtEl>
                                      </p:cBhvr>
                                    </p:animEffect>
                                  </p:childTnLst>
                                </p:cTn>
                              </p:par>
                              <p:par>
                                <p:cTn id="8" presetID="17" presetClass="entr" presetSubtype="10" fill="hold" grpId="1" nodeType="withEffect">
                                  <p:stCondLst>
                                    <p:cond delay="0"/>
                                  </p:stCondLst>
                                  <p:childTnLst>
                                    <p:set>
                                      <p:cBhvr>
                                        <p:cTn id="9" dur="1" fill="hold">
                                          <p:stCondLst>
                                            <p:cond delay="0"/>
                                          </p:stCondLst>
                                        </p:cTn>
                                        <p:tgtEl>
                                          <p:spTgt spid="24"/>
                                        </p:tgtEl>
                                        <p:attrNameLst>
                                          <p:attrName>style.visibility</p:attrName>
                                        </p:attrNameLst>
                                      </p:cBhvr>
                                      <p:to>
                                        <p:strVal val="visible"/>
                                      </p:to>
                                    </p:set>
                                    <p:anim calcmode="lin" valueType="num">
                                      <p:cBhvr>
                                        <p:cTn id="10" dur="600" fill="hold"/>
                                        <p:tgtEl>
                                          <p:spTgt spid="24"/>
                                        </p:tgtEl>
                                        <p:attrNameLst>
                                          <p:attrName>ppt_w</p:attrName>
                                        </p:attrNameLst>
                                      </p:cBhvr>
                                      <p:tavLst>
                                        <p:tav tm="0">
                                          <p:val>
                                            <p:fltVal val="0"/>
                                          </p:val>
                                        </p:tav>
                                        <p:tav tm="100000">
                                          <p:val>
                                            <p:strVal val="#ppt_w"/>
                                          </p:val>
                                        </p:tav>
                                      </p:tavLst>
                                    </p:anim>
                                    <p:anim calcmode="lin" valueType="num">
                                      <p:cBhvr>
                                        <p:cTn id="11" dur="600" fill="hold"/>
                                        <p:tgtEl>
                                          <p:spTgt spid="24"/>
                                        </p:tgtEl>
                                        <p:attrNameLst>
                                          <p:attrName>ppt_h</p:attrName>
                                        </p:attrNameLst>
                                      </p:cBhvr>
                                      <p:tavLst>
                                        <p:tav tm="0">
                                          <p:val>
                                            <p:strVal val="#ppt_h"/>
                                          </p:val>
                                        </p:tav>
                                        <p:tav tm="100000">
                                          <p:val>
                                            <p:strVal val="#ppt_h"/>
                                          </p:val>
                                        </p:tav>
                                      </p:tavLst>
                                    </p:anim>
                                  </p:childTnLst>
                                </p:cTn>
                              </p:par>
                              <p:par>
                                <p:cTn id="12" presetID="2" presetClass="entr" presetSubtype="1" decel="10000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750" fill="hold"/>
                                        <p:tgtEl>
                                          <p:spTgt spid="8"/>
                                        </p:tgtEl>
                                        <p:attrNameLst>
                                          <p:attrName>ppt_x</p:attrName>
                                        </p:attrNameLst>
                                      </p:cBhvr>
                                      <p:tavLst>
                                        <p:tav tm="0">
                                          <p:val>
                                            <p:strVal val="#ppt_x"/>
                                          </p:val>
                                        </p:tav>
                                        <p:tav tm="100000">
                                          <p:val>
                                            <p:strVal val="#ppt_x"/>
                                          </p:val>
                                        </p:tav>
                                      </p:tavLst>
                                    </p:anim>
                                    <p:anim calcmode="lin" valueType="num">
                                      <p:cBhvr additive="base">
                                        <p:cTn id="15" dur="750" fill="hold"/>
                                        <p:tgtEl>
                                          <p:spTgt spid="8"/>
                                        </p:tgtEl>
                                        <p:attrNameLst>
                                          <p:attrName>ppt_y</p:attrName>
                                        </p:attrNameLst>
                                      </p:cBhvr>
                                      <p:tavLst>
                                        <p:tav tm="0">
                                          <p:val>
                                            <p:strVal val="0-#ppt_h/2"/>
                                          </p:val>
                                        </p:tav>
                                        <p:tav tm="100000">
                                          <p:val>
                                            <p:strVal val="#ppt_y"/>
                                          </p:val>
                                        </p:tav>
                                      </p:tavLst>
                                    </p:anim>
                                  </p:childTnLst>
                                </p:cTn>
                              </p:par>
                              <p:par>
                                <p:cTn id="16" presetID="2" presetClass="entr" presetSubtype="4" decel="10000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additive="base">
                                        <p:cTn id="18" dur="750" fill="hold"/>
                                        <p:tgtEl>
                                          <p:spTgt spid="25"/>
                                        </p:tgtEl>
                                        <p:attrNameLst>
                                          <p:attrName>ppt_x</p:attrName>
                                        </p:attrNameLst>
                                      </p:cBhvr>
                                      <p:tavLst>
                                        <p:tav tm="0">
                                          <p:val>
                                            <p:strVal val="#ppt_x"/>
                                          </p:val>
                                        </p:tav>
                                        <p:tav tm="100000">
                                          <p:val>
                                            <p:strVal val="#ppt_x"/>
                                          </p:val>
                                        </p:tav>
                                      </p:tavLst>
                                    </p:anim>
                                    <p:anim calcmode="lin" valueType="num">
                                      <p:cBhvr additive="base">
                                        <p:cTn id="19" dur="750" fill="hold"/>
                                        <p:tgtEl>
                                          <p:spTgt spid="25"/>
                                        </p:tgtEl>
                                        <p:attrNameLst>
                                          <p:attrName>ppt_y</p:attrName>
                                        </p:attrNameLst>
                                      </p:cBhvr>
                                      <p:tavLst>
                                        <p:tav tm="0">
                                          <p:val>
                                            <p:strVal val="1+#ppt_h/2"/>
                                          </p:val>
                                        </p:tav>
                                        <p:tav tm="100000">
                                          <p:val>
                                            <p:strVal val="#ppt_y"/>
                                          </p:val>
                                        </p:tav>
                                      </p:tavLst>
                                    </p:anim>
                                  </p:childTnLst>
                                </p:cTn>
                              </p:par>
                              <p:par>
                                <p:cTn id="20" presetID="16" presetClass="entr" presetSubtype="37" fill="hold" grpId="0" nodeType="withEffect">
                                  <p:stCondLst>
                                    <p:cond delay="750"/>
                                  </p:stCondLst>
                                  <p:childTnLst>
                                    <p:set>
                                      <p:cBhvr>
                                        <p:cTn id="21" dur="1" fill="hold">
                                          <p:stCondLst>
                                            <p:cond delay="0"/>
                                          </p:stCondLst>
                                        </p:cTn>
                                        <p:tgtEl>
                                          <p:spTgt spid="21"/>
                                        </p:tgtEl>
                                        <p:attrNameLst>
                                          <p:attrName>style.visibility</p:attrName>
                                        </p:attrNameLst>
                                      </p:cBhvr>
                                      <p:to>
                                        <p:strVal val="visible"/>
                                      </p:to>
                                    </p:set>
                                    <p:animEffect transition="in" filter="barn(outVertical)">
                                      <p:cBhvr>
                                        <p:cTn id="22" dur="300"/>
                                        <p:tgtEl>
                                          <p:spTgt spid="21"/>
                                        </p:tgtEl>
                                      </p:cBhvr>
                                    </p:animEffect>
                                  </p:childTnLst>
                                </p:cTn>
                              </p:par>
                              <p:par>
                                <p:cTn id="23" presetID="17" presetClass="entr" presetSubtype="10" fill="hold" grpId="1" nodeType="withEffect">
                                  <p:stCondLst>
                                    <p:cond delay="750"/>
                                  </p:stCondLst>
                                  <p:childTnLst>
                                    <p:set>
                                      <p:cBhvr>
                                        <p:cTn id="24" dur="1" fill="hold">
                                          <p:stCondLst>
                                            <p:cond delay="0"/>
                                          </p:stCondLst>
                                        </p:cTn>
                                        <p:tgtEl>
                                          <p:spTgt spid="21"/>
                                        </p:tgtEl>
                                        <p:attrNameLst>
                                          <p:attrName>style.visibility</p:attrName>
                                        </p:attrNameLst>
                                      </p:cBhvr>
                                      <p:to>
                                        <p:strVal val="visible"/>
                                      </p:to>
                                    </p:set>
                                    <p:anim calcmode="lin" valueType="num">
                                      <p:cBhvr>
                                        <p:cTn id="25" dur="300" fill="hold"/>
                                        <p:tgtEl>
                                          <p:spTgt spid="21"/>
                                        </p:tgtEl>
                                        <p:attrNameLst>
                                          <p:attrName>ppt_w</p:attrName>
                                        </p:attrNameLst>
                                      </p:cBhvr>
                                      <p:tavLst>
                                        <p:tav tm="0">
                                          <p:val>
                                            <p:fltVal val="0"/>
                                          </p:val>
                                        </p:tav>
                                        <p:tav tm="100000">
                                          <p:val>
                                            <p:strVal val="#ppt_w"/>
                                          </p:val>
                                        </p:tav>
                                      </p:tavLst>
                                    </p:anim>
                                    <p:anim calcmode="lin" valueType="num">
                                      <p:cBhvr>
                                        <p:cTn id="26" dur="300" fill="hold"/>
                                        <p:tgtEl>
                                          <p:spTgt spid="21"/>
                                        </p:tgtEl>
                                        <p:attrNameLst>
                                          <p:attrName>ppt_h</p:attrName>
                                        </p:attrNameLst>
                                      </p:cBhvr>
                                      <p:tavLst>
                                        <p:tav tm="0">
                                          <p:val>
                                            <p:strVal val="#ppt_h"/>
                                          </p:val>
                                        </p:tav>
                                        <p:tav tm="100000">
                                          <p:val>
                                            <p:strVal val="#ppt_h"/>
                                          </p:val>
                                        </p:tav>
                                      </p:tavLst>
                                    </p:anim>
                                  </p:childTnLst>
                                </p:cTn>
                              </p:par>
                              <p:par>
                                <p:cTn id="27" presetID="16" presetClass="entr" presetSubtype="37" fill="hold" grpId="0" nodeType="withEffect">
                                  <p:stCondLst>
                                    <p:cond delay="1000"/>
                                  </p:stCondLst>
                                  <p:childTnLst>
                                    <p:set>
                                      <p:cBhvr>
                                        <p:cTn id="28" dur="1" fill="hold">
                                          <p:stCondLst>
                                            <p:cond delay="0"/>
                                          </p:stCondLst>
                                        </p:cTn>
                                        <p:tgtEl>
                                          <p:spTgt spid="26"/>
                                        </p:tgtEl>
                                        <p:attrNameLst>
                                          <p:attrName>style.visibility</p:attrName>
                                        </p:attrNameLst>
                                      </p:cBhvr>
                                      <p:to>
                                        <p:strVal val="visible"/>
                                      </p:to>
                                    </p:set>
                                    <p:animEffect transition="in" filter="barn(outVertical)">
                                      <p:cBhvr>
                                        <p:cTn id="29" dur="300"/>
                                        <p:tgtEl>
                                          <p:spTgt spid="26"/>
                                        </p:tgtEl>
                                      </p:cBhvr>
                                    </p:animEffect>
                                  </p:childTnLst>
                                </p:cTn>
                              </p:par>
                              <p:par>
                                <p:cTn id="30" presetID="17" presetClass="entr" presetSubtype="10" fill="hold" grpId="1" nodeType="withEffect">
                                  <p:stCondLst>
                                    <p:cond delay="1000"/>
                                  </p:stCondLst>
                                  <p:childTnLst>
                                    <p:set>
                                      <p:cBhvr>
                                        <p:cTn id="31" dur="1" fill="hold">
                                          <p:stCondLst>
                                            <p:cond delay="0"/>
                                          </p:stCondLst>
                                        </p:cTn>
                                        <p:tgtEl>
                                          <p:spTgt spid="26"/>
                                        </p:tgtEl>
                                        <p:attrNameLst>
                                          <p:attrName>style.visibility</p:attrName>
                                        </p:attrNameLst>
                                      </p:cBhvr>
                                      <p:to>
                                        <p:strVal val="visible"/>
                                      </p:to>
                                    </p:set>
                                    <p:anim calcmode="lin" valueType="num">
                                      <p:cBhvr>
                                        <p:cTn id="32" dur="300" fill="hold"/>
                                        <p:tgtEl>
                                          <p:spTgt spid="26"/>
                                        </p:tgtEl>
                                        <p:attrNameLst>
                                          <p:attrName>ppt_w</p:attrName>
                                        </p:attrNameLst>
                                      </p:cBhvr>
                                      <p:tavLst>
                                        <p:tav tm="0">
                                          <p:val>
                                            <p:fltVal val="0"/>
                                          </p:val>
                                        </p:tav>
                                        <p:tav tm="100000">
                                          <p:val>
                                            <p:strVal val="#ppt_w"/>
                                          </p:val>
                                        </p:tav>
                                      </p:tavLst>
                                    </p:anim>
                                    <p:anim calcmode="lin" valueType="num">
                                      <p:cBhvr>
                                        <p:cTn id="33" dur="300" fill="hold"/>
                                        <p:tgtEl>
                                          <p:spTgt spid="26"/>
                                        </p:tgtEl>
                                        <p:attrNameLst>
                                          <p:attrName>ppt_h</p:attrName>
                                        </p:attrNameLst>
                                      </p:cBhvr>
                                      <p:tavLst>
                                        <p:tav tm="0">
                                          <p:val>
                                            <p:strVal val="#ppt_h"/>
                                          </p:val>
                                        </p:tav>
                                        <p:tav tm="100000">
                                          <p:val>
                                            <p:strVal val="#ppt_h"/>
                                          </p:val>
                                        </p:tav>
                                      </p:tavLst>
                                    </p:anim>
                                  </p:childTnLst>
                                </p:cTn>
                              </p:par>
                              <p:par>
                                <p:cTn id="34" presetID="10" presetClass="entr" presetSubtype="0" fill="hold" grpId="0" nodeType="withEffect">
                                  <p:stCondLst>
                                    <p:cond delay="1250"/>
                                  </p:stCondLst>
                                  <p:childTnLst>
                                    <p:set>
                                      <p:cBhvr>
                                        <p:cTn id="35" dur="1" fill="hold">
                                          <p:stCondLst>
                                            <p:cond delay="0"/>
                                          </p:stCondLst>
                                        </p:cTn>
                                        <p:tgtEl>
                                          <p:spTgt spid="2"/>
                                        </p:tgtEl>
                                        <p:attrNameLst>
                                          <p:attrName>style.visibility</p:attrName>
                                        </p:attrNameLst>
                                      </p:cBhvr>
                                      <p:to>
                                        <p:strVal val="visible"/>
                                      </p:to>
                                    </p:set>
                                    <p:animEffect transition="in" filter="fade">
                                      <p:cBhvr>
                                        <p:cTn id="36" dur="1000"/>
                                        <p:tgtEl>
                                          <p:spTgt spid="2"/>
                                        </p:tgtEl>
                                      </p:cBhvr>
                                    </p:animEffect>
                                  </p:childTnLst>
                                </p:cTn>
                              </p:par>
                              <p:par>
                                <p:cTn id="37" presetID="10" presetClass="entr" presetSubtype="0" fill="hold" grpId="0" nodeType="withEffect">
                                  <p:stCondLst>
                                    <p:cond delay="175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tmplLst>
          <p:tmpl>
            <p:tnLst>
              <p:par>
                <p:cTn presetID="2" presetClass="entr" presetSubtype="4" decel="10000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 calcmode="lin" valueType="num">
                      <p:cBhvr additive="base">
                        <p:cTn dur="750" fill="hold"/>
                        <p:tgtEl>
                          <p:spTgt spid="25"/>
                        </p:tgtEl>
                        <p:attrNameLst>
                          <p:attrName>ppt_x</p:attrName>
                        </p:attrNameLst>
                      </p:cBhvr>
                      <p:tavLst>
                        <p:tav tm="0">
                          <p:val>
                            <p:strVal val="#ppt_x"/>
                          </p:val>
                        </p:tav>
                        <p:tav tm="100000">
                          <p:val>
                            <p:strVal val="#ppt_x"/>
                          </p:val>
                        </p:tav>
                      </p:tavLst>
                    </p:anim>
                    <p:anim calcmode="lin" valueType="num">
                      <p:cBhvr additive="base">
                        <p:cTn dur="750" fill="hold"/>
                        <p:tgtEl>
                          <p:spTgt spid="25"/>
                        </p:tgtEl>
                        <p:attrNameLst>
                          <p:attrName>ppt_y</p:attrName>
                        </p:attrNameLst>
                      </p:cBhvr>
                      <p:tavLst>
                        <p:tav tm="0">
                          <p:val>
                            <p:strVal val="1+#ppt_h/2"/>
                          </p:val>
                        </p:tav>
                        <p:tav tm="100000">
                          <p:val>
                            <p:strVal val="#ppt_y"/>
                          </p:val>
                        </p:tav>
                      </p:tavLst>
                    </p:anim>
                  </p:childTnLst>
                </p:cTn>
              </p:par>
            </p:tnLst>
          </p:tmpl>
        </p:tmplLst>
      </p:bldP>
      <p:bldP spid="8" grpId="0" animBg="1"/>
      <p:bldP spid="2" grpId="0"/>
      <p:bldP spid="3" grpId="0">
        <p:tmplLst>
          <p:tmpl>
            <p:tnLst>
              <p:par>
                <p:cTn presetID="10" presetClass="entr" presetSubtype="0" fill="hold" nodeType="withEffect">
                  <p:stCondLst>
                    <p:cond delay="175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21" grpId="0" animBg="1">
        <p:tmplLst>
          <p:tmpl>
            <p:tnLst>
              <p:par>
                <p:cTn presetID="16" presetClass="entr" presetSubtype="37" fill="hold" nodeType="withEffect">
                  <p:stCondLst>
                    <p:cond delay="750"/>
                  </p:stCondLst>
                  <p:childTnLst>
                    <p:set>
                      <p:cBhvr>
                        <p:cTn dur="1" fill="hold">
                          <p:stCondLst>
                            <p:cond delay="0"/>
                          </p:stCondLst>
                        </p:cTn>
                        <p:tgtEl>
                          <p:spTgt spid="21"/>
                        </p:tgtEl>
                        <p:attrNameLst>
                          <p:attrName>style.visibility</p:attrName>
                        </p:attrNameLst>
                      </p:cBhvr>
                      <p:to>
                        <p:strVal val="visible"/>
                      </p:to>
                    </p:set>
                    <p:animEffect transition="in" filter="barn(outVertical)">
                      <p:cBhvr>
                        <p:cTn dur="300"/>
                        <p:tgtEl>
                          <p:spTgt spid="21"/>
                        </p:tgtEl>
                      </p:cBhvr>
                    </p:animEffect>
                  </p:childTnLst>
                </p:cTn>
              </p:par>
            </p:tnLst>
          </p:tmpl>
        </p:tmplLst>
      </p:bldP>
      <p:bldP spid="21" grpId="1" animBg="1"/>
      <p:bldP spid="26" grpId="0" animBg="1">
        <p:tmplLst>
          <p:tmpl>
            <p:tnLst>
              <p:par>
                <p:cTn presetID="16" presetClass="entr" presetSubtype="37" fill="hold" nodeType="withEffect">
                  <p:stCondLst>
                    <p:cond delay="1000"/>
                  </p:stCondLst>
                  <p:childTnLst>
                    <p:set>
                      <p:cBhvr>
                        <p:cTn dur="1" fill="hold">
                          <p:stCondLst>
                            <p:cond delay="0"/>
                          </p:stCondLst>
                        </p:cTn>
                        <p:tgtEl>
                          <p:spTgt spid="26"/>
                        </p:tgtEl>
                        <p:attrNameLst>
                          <p:attrName>style.visibility</p:attrName>
                        </p:attrNameLst>
                      </p:cBhvr>
                      <p:to>
                        <p:strVal val="visible"/>
                      </p:to>
                    </p:set>
                    <p:animEffect transition="in" filter="barn(outVertical)">
                      <p:cBhvr>
                        <p:cTn dur="300"/>
                        <p:tgtEl>
                          <p:spTgt spid="26"/>
                        </p:tgtEl>
                      </p:cBhvr>
                    </p:animEffect>
                  </p:childTnLst>
                </p:cTn>
              </p:par>
            </p:tnLst>
          </p:tmpl>
        </p:tmplLst>
      </p:bldP>
      <p:bldP spid="26" grpId="1" animBg="1"/>
      <p:bldP spid="24" grpId="0" animBg="1">
        <p:tmplLst>
          <p:tmpl>
            <p:tnLst>
              <p:par>
                <p:cTn presetID="16" presetClass="entr" presetSubtype="37" fill="hold" nodeType="with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barn(outVertical)">
                      <p:cBhvr>
                        <p:cTn dur="600"/>
                        <p:tgtEl>
                          <p:spTgt spid="24"/>
                        </p:tgtEl>
                      </p:cBhvr>
                    </p:animEffect>
                  </p:childTnLst>
                </p:cTn>
              </p:par>
            </p:tnLst>
          </p:tmpl>
        </p:tmplLst>
      </p:bldP>
      <p:bldP spid="24" grpId="1" animBg="1">
        <p:tmplLst>
          <p:tmpl>
            <p:tnLst>
              <p:par>
                <p:cTn presetID="17" presetClass="entr" presetSubtype="10" fill="hold" nodeType="withEffect">
                  <p:stCondLst>
                    <p:cond delay="0"/>
                  </p:stCondLst>
                  <p:childTnLst>
                    <p:set>
                      <p:cBhvr>
                        <p:cTn dur="1" fill="hold">
                          <p:stCondLst>
                            <p:cond delay="0"/>
                          </p:stCondLst>
                        </p:cTn>
                        <p:tgtEl>
                          <p:spTgt spid="24"/>
                        </p:tgtEl>
                        <p:attrNameLst>
                          <p:attrName>style.visibility</p:attrName>
                        </p:attrNameLst>
                      </p:cBhvr>
                      <p:to>
                        <p:strVal val="visible"/>
                      </p:to>
                    </p:set>
                    <p:anim calcmode="lin" valueType="num">
                      <p:cBhvr>
                        <p:cTn dur="600" fill="hold"/>
                        <p:tgtEl>
                          <p:spTgt spid="24"/>
                        </p:tgtEl>
                        <p:attrNameLst>
                          <p:attrName>ppt_w</p:attrName>
                        </p:attrNameLst>
                      </p:cBhvr>
                      <p:tavLst>
                        <p:tav tm="0">
                          <p:val>
                            <p:fltVal val="0"/>
                          </p:val>
                        </p:tav>
                        <p:tav tm="100000">
                          <p:val>
                            <p:strVal val="#ppt_w"/>
                          </p:val>
                        </p:tav>
                      </p:tavLst>
                    </p:anim>
                    <p:anim calcmode="lin" valueType="num">
                      <p:cBhvr>
                        <p:cTn dur="600" fill="hold"/>
                        <p:tgtEl>
                          <p:spTgt spid="24"/>
                        </p:tgtEl>
                        <p:attrNameLst>
                          <p:attrName>ppt_h</p:attrName>
                        </p:attrNameLst>
                      </p:cBhvr>
                      <p:tavLst>
                        <p:tav tm="0">
                          <p:val>
                            <p:strVal val="#ppt_h"/>
                          </p:val>
                        </p:tav>
                        <p:tav tm="100000">
                          <p:val>
                            <p:strVal val="#ppt_h"/>
                          </p:val>
                        </p:tav>
                      </p:tavLst>
                    </p:anim>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3"/>
            <a:ext cx="11112000" cy="301139"/>
          </a:xfrm>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E2129CCF-E02E-4AC4-A1D0-782CC290AD42}"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Vul hier een bron in (of laat dit </a:t>
            </a:r>
            <a:r>
              <a:rPr lang="nl-NL" noProof="0" err="1"/>
              <a:t>tekstvak</a:t>
            </a:r>
            <a:r>
              <a:rPr lang="nl-NL" noProof="0"/>
              <a:t> leeg wanneer een bron ontbreekt)</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a:t>
            </a:r>
          </a:p>
        </p:txBody>
      </p:sp>
      <p:sp>
        <p:nvSpPr>
          <p:cNvPr id="44" name="Tijdelijke aanduiding voor tekst 43">
            <a:extLst>
              <a:ext uri="{FF2B5EF4-FFF2-40B4-BE49-F238E27FC236}">
                <a16:creationId xmlns:a16="http://schemas.microsoft.com/office/drawing/2014/main" id="{C39606EC-1987-41D2-AE51-A1A79674F48D}"/>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8" name="Instructie">
            <a:extLst>
              <a:ext uri="{FF2B5EF4-FFF2-40B4-BE49-F238E27FC236}">
                <a16:creationId xmlns:a16="http://schemas.microsoft.com/office/drawing/2014/main" id="{CE3C711D-2017-404E-847B-AB4DEB87F028}"/>
              </a:ext>
            </a:extLst>
          </p:cNvPr>
          <p:cNvGrpSpPr/>
          <p:nvPr userDrawn="1"/>
        </p:nvGrpSpPr>
        <p:grpSpPr>
          <a:xfrm>
            <a:off x="-3437547" y="1434"/>
            <a:ext cx="3201327" cy="6041867"/>
            <a:chOff x="-3437547" y="1434"/>
            <a:chExt cx="3201327" cy="6041867"/>
          </a:xfrm>
        </p:grpSpPr>
        <p:cxnSp>
          <p:nvCxnSpPr>
            <p:cNvPr id="23" name="Rechte verbindingslijn 22">
              <a:extLst>
                <a:ext uri="{FF2B5EF4-FFF2-40B4-BE49-F238E27FC236}">
                  <a16:creationId xmlns:a16="http://schemas.microsoft.com/office/drawing/2014/main" id="{B573ECE5-8B26-421E-B340-85DC5FBC5D3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4" name="Ovaal 23">
              <a:extLst>
                <a:ext uri="{FF2B5EF4-FFF2-40B4-BE49-F238E27FC236}">
                  <a16:creationId xmlns:a16="http://schemas.microsoft.com/office/drawing/2014/main" id="{7F69DEA5-422C-4E20-9D82-F332E3A683A8}"/>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5" name="Rechthoek 24">
              <a:extLst>
                <a:ext uri="{FF2B5EF4-FFF2-40B4-BE49-F238E27FC236}">
                  <a16:creationId xmlns:a16="http://schemas.microsoft.com/office/drawing/2014/main" id="{A25A09AD-A11B-4C29-AC8E-9F7F34618732}"/>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 name="Ovaal 25">
              <a:extLst>
                <a:ext uri="{FF2B5EF4-FFF2-40B4-BE49-F238E27FC236}">
                  <a16:creationId xmlns:a16="http://schemas.microsoft.com/office/drawing/2014/main" id="{0E7B5A5A-CDF9-400A-9597-9EAC1A4986B6}"/>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7" name="Rechthoek 26">
              <a:extLst>
                <a:ext uri="{FF2B5EF4-FFF2-40B4-BE49-F238E27FC236}">
                  <a16:creationId xmlns:a16="http://schemas.microsoft.com/office/drawing/2014/main" id="{ED506BF8-3B02-4DC7-B980-DA7A16229F08}"/>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8" name="Ovaal 27">
              <a:extLst>
                <a:ext uri="{FF2B5EF4-FFF2-40B4-BE49-F238E27FC236}">
                  <a16:creationId xmlns:a16="http://schemas.microsoft.com/office/drawing/2014/main" id="{29C6A98D-11CD-48B6-9127-DAC0D53A1849}"/>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9" name="Rechthoek 28">
              <a:extLst>
                <a:ext uri="{FF2B5EF4-FFF2-40B4-BE49-F238E27FC236}">
                  <a16:creationId xmlns:a16="http://schemas.microsoft.com/office/drawing/2014/main" id="{7770311C-EF99-4E7F-840A-B800D333C699}"/>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0" name="Ovaal 29">
              <a:extLst>
                <a:ext uri="{FF2B5EF4-FFF2-40B4-BE49-F238E27FC236}">
                  <a16:creationId xmlns:a16="http://schemas.microsoft.com/office/drawing/2014/main" id="{6C1F6DEA-553B-410A-9A95-8C3DD7FCA4EA}"/>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1" name="Rechthoek 30">
              <a:extLst>
                <a:ext uri="{FF2B5EF4-FFF2-40B4-BE49-F238E27FC236}">
                  <a16:creationId xmlns:a16="http://schemas.microsoft.com/office/drawing/2014/main" id="{FCF75767-3FEF-4250-A5B4-7C160D3444B7}"/>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45" name="Rechthoek 44">
              <a:extLst>
                <a:ext uri="{FF2B5EF4-FFF2-40B4-BE49-F238E27FC236}">
                  <a16:creationId xmlns:a16="http://schemas.microsoft.com/office/drawing/2014/main" id="{3B276D92-7A41-49DF-8C88-185CB47BA65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46" name="Ovaal 45">
              <a:extLst>
                <a:ext uri="{FF2B5EF4-FFF2-40B4-BE49-F238E27FC236}">
                  <a16:creationId xmlns:a16="http://schemas.microsoft.com/office/drawing/2014/main" id="{48C479DB-B8BC-4506-9181-30DF60A1539A}"/>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 name="Rechte verbindingslijn 46">
              <a:extLst>
                <a:ext uri="{FF2B5EF4-FFF2-40B4-BE49-F238E27FC236}">
                  <a16:creationId xmlns:a16="http://schemas.microsoft.com/office/drawing/2014/main" id="{3052ED36-84F4-48FF-B422-49B9578D7FB0}"/>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48" name="Groep 47">
              <a:extLst>
                <a:ext uri="{FF2B5EF4-FFF2-40B4-BE49-F238E27FC236}">
                  <a16:creationId xmlns:a16="http://schemas.microsoft.com/office/drawing/2014/main" id="{2B7D56E9-EEB3-4AF4-BC5B-4BFF6F083B90}"/>
                </a:ext>
              </a:extLst>
            </p:cNvPr>
            <p:cNvGrpSpPr/>
            <p:nvPr userDrawn="1"/>
          </p:nvGrpSpPr>
          <p:grpSpPr>
            <a:xfrm>
              <a:off x="-3437547" y="1295337"/>
              <a:ext cx="2933825" cy="558875"/>
              <a:chOff x="-3419346" y="368233"/>
              <a:chExt cx="3904920" cy="743862"/>
            </a:xfrm>
          </p:grpSpPr>
          <p:sp>
            <p:nvSpPr>
              <p:cNvPr id="60" name="Rechthoek 59">
                <a:extLst>
                  <a:ext uri="{FF2B5EF4-FFF2-40B4-BE49-F238E27FC236}">
                    <a16:creationId xmlns:a16="http://schemas.microsoft.com/office/drawing/2014/main" id="{61E16074-F3FA-4189-ADBD-C927E78887B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61" name="Rechte verbindingslijn 60">
                <a:extLst>
                  <a:ext uri="{FF2B5EF4-FFF2-40B4-BE49-F238E27FC236}">
                    <a16:creationId xmlns:a16="http://schemas.microsoft.com/office/drawing/2014/main" id="{AC9D2FE3-7A38-4D0F-B5D8-D4B088A87F1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ACA54EBA-22C4-4EB3-AD0C-97610A1785D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96BB71A8-82F1-4422-A5A1-C3391CDECF4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64" name="Groep 63">
                <a:extLst>
                  <a:ext uri="{FF2B5EF4-FFF2-40B4-BE49-F238E27FC236}">
                    <a16:creationId xmlns:a16="http://schemas.microsoft.com/office/drawing/2014/main" id="{780219A5-8C04-42C6-A4D0-881DA7D5E459}"/>
                  </a:ext>
                </a:extLst>
              </p:cNvPr>
              <p:cNvGrpSpPr/>
              <p:nvPr userDrawn="1"/>
            </p:nvGrpSpPr>
            <p:grpSpPr>
              <a:xfrm>
                <a:off x="-3002834" y="720303"/>
                <a:ext cx="182598" cy="143759"/>
                <a:chOff x="-3310843" y="700986"/>
                <a:chExt cx="182598" cy="143759"/>
              </a:xfrm>
            </p:grpSpPr>
            <p:grpSp>
              <p:nvGrpSpPr>
                <p:cNvPr id="103" name="Groep 102">
                  <a:extLst>
                    <a:ext uri="{FF2B5EF4-FFF2-40B4-BE49-F238E27FC236}">
                      <a16:creationId xmlns:a16="http://schemas.microsoft.com/office/drawing/2014/main" id="{FC7CC685-AA38-4D4E-B2C4-F90C521D0CF9}"/>
                    </a:ext>
                  </a:extLst>
                </p:cNvPr>
                <p:cNvGrpSpPr/>
                <p:nvPr userDrawn="1"/>
              </p:nvGrpSpPr>
              <p:grpSpPr>
                <a:xfrm>
                  <a:off x="-3310843" y="700986"/>
                  <a:ext cx="182598" cy="143759"/>
                  <a:chOff x="-3310843" y="700986"/>
                  <a:chExt cx="182598" cy="143759"/>
                </a:xfrm>
              </p:grpSpPr>
              <p:cxnSp>
                <p:nvCxnSpPr>
                  <p:cNvPr id="107" name="Rechte verbindingslijn 106">
                    <a:extLst>
                      <a:ext uri="{FF2B5EF4-FFF2-40B4-BE49-F238E27FC236}">
                        <a16:creationId xmlns:a16="http://schemas.microsoft.com/office/drawing/2014/main" id="{2D694759-A192-42AC-A457-14D6A864265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08" name="Rechte verbindingslijn 107">
                    <a:extLst>
                      <a:ext uri="{FF2B5EF4-FFF2-40B4-BE49-F238E27FC236}">
                        <a16:creationId xmlns:a16="http://schemas.microsoft.com/office/drawing/2014/main" id="{CC7F71B4-EACA-4BE8-A865-1E7CFA95D6B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09" name="Rechte verbindingslijn 108">
                    <a:extLst>
                      <a:ext uri="{FF2B5EF4-FFF2-40B4-BE49-F238E27FC236}">
                        <a16:creationId xmlns:a16="http://schemas.microsoft.com/office/drawing/2014/main" id="{B2831E05-563B-4742-B07B-E78E166CB65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10" name="Rechte verbindingslijn 109">
                    <a:extLst>
                      <a:ext uri="{FF2B5EF4-FFF2-40B4-BE49-F238E27FC236}">
                        <a16:creationId xmlns:a16="http://schemas.microsoft.com/office/drawing/2014/main" id="{F795F7FC-258B-4EC6-9B7E-EAD57CF93A1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11" name="Rechte verbindingslijn 110">
                    <a:extLst>
                      <a:ext uri="{FF2B5EF4-FFF2-40B4-BE49-F238E27FC236}">
                        <a16:creationId xmlns:a16="http://schemas.microsoft.com/office/drawing/2014/main" id="{1DBD846C-E37C-4635-A8CD-660F6D9FA634}"/>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04" name="Groep 103">
                  <a:extLst>
                    <a:ext uri="{FF2B5EF4-FFF2-40B4-BE49-F238E27FC236}">
                      <a16:creationId xmlns:a16="http://schemas.microsoft.com/office/drawing/2014/main" id="{3D97D966-D71A-4FA8-AE20-3105BFDC3B66}"/>
                    </a:ext>
                  </a:extLst>
                </p:cNvPr>
                <p:cNvGrpSpPr/>
                <p:nvPr userDrawn="1"/>
              </p:nvGrpSpPr>
              <p:grpSpPr>
                <a:xfrm flipH="1">
                  <a:off x="-3310774" y="735854"/>
                  <a:ext cx="88801" cy="72568"/>
                  <a:chOff x="-2091059" y="1395403"/>
                  <a:chExt cx="157316" cy="128558"/>
                </a:xfrm>
              </p:grpSpPr>
              <p:sp>
                <p:nvSpPr>
                  <p:cNvPr id="105" name="Rechthoek 104">
                    <a:extLst>
                      <a:ext uri="{FF2B5EF4-FFF2-40B4-BE49-F238E27FC236}">
                        <a16:creationId xmlns:a16="http://schemas.microsoft.com/office/drawing/2014/main" id="{0689700D-B843-4EAC-92D9-758AC881AB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6" name="Pijl: punthaak 105">
                    <a:extLst>
                      <a:ext uri="{FF2B5EF4-FFF2-40B4-BE49-F238E27FC236}">
                        <a16:creationId xmlns:a16="http://schemas.microsoft.com/office/drawing/2014/main" id="{2CFA9A02-7131-4E8B-B7CE-35CE98E8065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65" name="Groep 64">
                <a:extLst>
                  <a:ext uri="{FF2B5EF4-FFF2-40B4-BE49-F238E27FC236}">
                    <a16:creationId xmlns:a16="http://schemas.microsoft.com/office/drawing/2014/main" id="{5C288CB5-A6DD-4AAA-84E4-2D67A2F0924D}"/>
                  </a:ext>
                </a:extLst>
              </p:cNvPr>
              <p:cNvGrpSpPr/>
              <p:nvPr userDrawn="1"/>
            </p:nvGrpSpPr>
            <p:grpSpPr>
              <a:xfrm>
                <a:off x="-3326107" y="720303"/>
                <a:ext cx="182598" cy="143759"/>
                <a:chOff x="-3634116" y="700986"/>
                <a:chExt cx="182598" cy="143759"/>
              </a:xfrm>
            </p:grpSpPr>
            <p:grpSp>
              <p:nvGrpSpPr>
                <p:cNvPr id="94" name="Groep 93">
                  <a:extLst>
                    <a:ext uri="{FF2B5EF4-FFF2-40B4-BE49-F238E27FC236}">
                      <a16:creationId xmlns:a16="http://schemas.microsoft.com/office/drawing/2014/main" id="{3A8AECE4-060D-4703-8A8A-444C4CA93266}"/>
                    </a:ext>
                  </a:extLst>
                </p:cNvPr>
                <p:cNvGrpSpPr/>
                <p:nvPr userDrawn="1"/>
              </p:nvGrpSpPr>
              <p:grpSpPr>
                <a:xfrm>
                  <a:off x="-3634116" y="700986"/>
                  <a:ext cx="182598" cy="143759"/>
                  <a:chOff x="-3634116" y="700986"/>
                  <a:chExt cx="182598" cy="143759"/>
                </a:xfrm>
              </p:grpSpPr>
              <p:cxnSp>
                <p:nvCxnSpPr>
                  <p:cNvPr id="98" name="Rechte verbindingslijn 97">
                    <a:extLst>
                      <a:ext uri="{FF2B5EF4-FFF2-40B4-BE49-F238E27FC236}">
                        <a16:creationId xmlns:a16="http://schemas.microsoft.com/office/drawing/2014/main" id="{1544CA00-C208-445C-BB6B-F5CC9C3DAF5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99" name="Rechte verbindingslijn 98">
                    <a:extLst>
                      <a:ext uri="{FF2B5EF4-FFF2-40B4-BE49-F238E27FC236}">
                        <a16:creationId xmlns:a16="http://schemas.microsoft.com/office/drawing/2014/main" id="{3257705F-AA56-47A0-B282-4E57BC000EB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00" name="Rechte verbindingslijn 99">
                    <a:extLst>
                      <a:ext uri="{FF2B5EF4-FFF2-40B4-BE49-F238E27FC236}">
                        <a16:creationId xmlns:a16="http://schemas.microsoft.com/office/drawing/2014/main" id="{46701D0E-2CE2-4806-BE99-A872AE17BB4F}"/>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01" name="Rechte verbindingslijn 100">
                    <a:extLst>
                      <a:ext uri="{FF2B5EF4-FFF2-40B4-BE49-F238E27FC236}">
                        <a16:creationId xmlns:a16="http://schemas.microsoft.com/office/drawing/2014/main" id="{1BE5CA17-AEB5-4192-B144-365F5F03963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02" name="Rechte verbindingslijn 101">
                    <a:extLst>
                      <a:ext uri="{FF2B5EF4-FFF2-40B4-BE49-F238E27FC236}">
                        <a16:creationId xmlns:a16="http://schemas.microsoft.com/office/drawing/2014/main" id="{6BB58DAA-BFD4-493A-8826-A11AAD309D7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95" name="Groep 94">
                  <a:extLst>
                    <a:ext uri="{FF2B5EF4-FFF2-40B4-BE49-F238E27FC236}">
                      <a16:creationId xmlns:a16="http://schemas.microsoft.com/office/drawing/2014/main" id="{297D8323-6433-463C-BA17-485A6998634F}"/>
                    </a:ext>
                  </a:extLst>
                </p:cNvPr>
                <p:cNvGrpSpPr/>
                <p:nvPr userDrawn="1"/>
              </p:nvGrpSpPr>
              <p:grpSpPr>
                <a:xfrm>
                  <a:off x="-3634047" y="735854"/>
                  <a:ext cx="88801" cy="72568"/>
                  <a:chOff x="-2091059" y="1395403"/>
                  <a:chExt cx="157316" cy="128558"/>
                </a:xfrm>
              </p:grpSpPr>
              <p:sp>
                <p:nvSpPr>
                  <p:cNvPr id="96" name="Rechthoek 95">
                    <a:extLst>
                      <a:ext uri="{FF2B5EF4-FFF2-40B4-BE49-F238E27FC236}">
                        <a16:creationId xmlns:a16="http://schemas.microsoft.com/office/drawing/2014/main" id="{9FCE541F-2D4F-4633-BDC6-6E1DBED57B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7" name="Pijl: punthaak 96">
                    <a:extLst>
                      <a:ext uri="{FF2B5EF4-FFF2-40B4-BE49-F238E27FC236}">
                        <a16:creationId xmlns:a16="http://schemas.microsoft.com/office/drawing/2014/main" id="{FBFA69ED-5FD5-4EEE-9432-20F41D0BD65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66" name="Rechte verbindingslijn 65">
                <a:extLst>
                  <a:ext uri="{FF2B5EF4-FFF2-40B4-BE49-F238E27FC236}">
                    <a16:creationId xmlns:a16="http://schemas.microsoft.com/office/drawing/2014/main" id="{F2AE5A10-0BC9-4045-AA22-F2029F4F78EB}"/>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67" name="Rechte verbindingslijn 66">
                <a:extLst>
                  <a:ext uri="{FF2B5EF4-FFF2-40B4-BE49-F238E27FC236}">
                    <a16:creationId xmlns:a16="http://schemas.microsoft.com/office/drawing/2014/main" id="{C72928FC-A8D8-4CD5-8766-B5992A5DE907}"/>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68" name="Groep 67">
                <a:extLst>
                  <a:ext uri="{FF2B5EF4-FFF2-40B4-BE49-F238E27FC236}">
                    <a16:creationId xmlns:a16="http://schemas.microsoft.com/office/drawing/2014/main" id="{FBB251F0-9219-4686-B399-B49D07BB0635}"/>
                  </a:ext>
                </a:extLst>
              </p:cNvPr>
              <p:cNvGrpSpPr/>
              <p:nvPr userDrawn="1"/>
            </p:nvGrpSpPr>
            <p:grpSpPr>
              <a:xfrm>
                <a:off x="-2425037" y="370226"/>
                <a:ext cx="357690" cy="330595"/>
                <a:chOff x="-2721817" y="347336"/>
                <a:chExt cx="432805" cy="400021"/>
              </a:xfrm>
            </p:grpSpPr>
            <p:sp>
              <p:nvSpPr>
                <p:cNvPr id="83" name="Rechthoek 82">
                  <a:extLst>
                    <a:ext uri="{FF2B5EF4-FFF2-40B4-BE49-F238E27FC236}">
                      <a16:creationId xmlns:a16="http://schemas.microsoft.com/office/drawing/2014/main" id="{87C7F542-D348-4FFA-BCBB-D4537D135E2F}"/>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84" name="Groep 83">
                  <a:extLst>
                    <a:ext uri="{FF2B5EF4-FFF2-40B4-BE49-F238E27FC236}">
                      <a16:creationId xmlns:a16="http://schemas.microsoft.com/office/drawing/2014/main" id="{C34001F2-0355-4A0A-A00C-0117C894376B}"/>
                    </a:ext>
                  </a:extLst>
                </p:cNvPr>
                <p:cNvGrpSpPr/>
                <p:nvPr userDrawn="1"/>
              </p:nvGrpSpPr>
              <p:grpSpPr>
                <a:xfrm>
                  <a:off x="-2652453" y="431583"/>
                  <a:ext cx="294076" cy="231526"/>
                  <a:chOff x="-3634116" y="700986"/>
                  <a:chExt cx="182598" cy="143759"/>
                </a:xfrm>
              </p:grpSpPr>
              <p:grpSp>
                <p:nvGrpSpPr>
                  <p:cNvPr id="85" name="Groep 84">
                    <a:extLst>
                      <a:ext uri="{FF2B5EF4-FFF2-40B4-BE49-F238E27FC236}">
                        <a16:creationId xmlns:a16="http://schemas.microsoft.com/office/drawing/2014/main" id="{D435672E-7DF7-4A7A-B665-6589B0458185}"/>
                      </a:ext>
                    </a:extLst>
                  </p:cNvPr>
                  <p:cNvGrpSpPr/>
                  <p:nvPr userDrawn="1"/>
                </p:nvGrpSpPr>
                <p:grpSpPr>
                  <a:xfrm>
                    <a:off x="-3634116" y="700986"/>
                    <a:ext cx="182598" cy="143759"/>
                    <a:chOff x="-3634116" y="700986"/>
                    <a:chExt cx="182598" cy="143759"/>
                  </a:xfrm>
                </p:grpSpPr>
                <p:cxnSp>
                  <p:nvCxnSpPr>
                    <p:cNvPr id="89" name="Rechte verbindingslijn 88">
                      <a:extLst>
                        <a:ext uri="{FF2B5EF4-FFF2-40B4-BE49-F238E27FC236}">
                          <a16:creationId xmlns:a16="http://schemas.microsoft.com/office/drawing/2014/main" id="{745800E6-675C-494B-8BFD-1AE7A355CC87}"/>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90" name="Rechte verbindingslijn 89">
                      <a:extLst>
                        <a:ext uri="{FF2B5EF4-FFF2-40B4-BE49-F238E27FC236}">
                          <a16:creationId xmlns:a16="http://schemas.microsoft.com/office/drawing/2014/main" id="{1F91FCC2-E719-4097-80F5-859B56F4CC5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91" name="Rechte verbindingslijn 90">
                      <a:extLst>
                        <a:ext uri="{FF2B5EF4-FFF2-40B4-BE49-F238E27FC236}">
                          <a16:creationId xmlns:a16="http://schemas.microsoft.com/office/drawing/2014/main" id="{62BD121F-23B2-44BF-922F-4F8EA024C3E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92" name="Rechte verbindingslijn 91">
                      <a:extLst>
                        <a:ext uri="{FF2B5EF4-FFF2-40B4-BE49-F238E27FC236}">
                          <a16:creationId xmlns:a16="http://schemas.microsoft.com/office/drawing/2014/main" id="{6A4C6646-0A84-4002-9739-0FF0C3524A1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93" name="Rechte verbindingslijn 92">
                      <a:extLst>
                        <a:ext uri="{FF2B5EF4-FFF2-40B4-BE49-F238E27FC236}">
                          <a16:creationId xmlns:a16="http://schemas.microsoft.com/office/drawing/2014/main" id="{68960CA0-FFCC-40E2-B850-7D3F57D7E72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86" name="Groep 85">
                    <a:extLst>
                      <a:ext uri="{FF2B5EF4-FFF2-40B4-BE49-F238E27FC236}">
                        <a16:creationId xmlns:a16="http://schemas.microsoft.com/office/drawing/2014/main" id="{31404A9F-D1D2-47B1-8FAC-FA1EC574D479}"/>
                      </a:ext>
                    </a:extLst>
                  </p:cNvPr>
                  <p:cNvGrpSpPr/>
                  <p:nvPr userDrawn="1"/>
                </p:nvGrpSpPr>
                <p:grpSpPr>
                  <a:xfrm>
                    <a:off x="-3634047" y="735854"/>
                    <a:ext cx="88801" cy="72568"/>
                    <a:chOff x="-2091059" y="1395403"/>
                    <a:chExt cx="157316" cy="128558"/>
                  </a:xfrm>
                </p:grpSpPr>
                <p:sp>
                  <p:nvSpPr>
                    <p:cNvPr id="87" name="Rechthoek 86">
                      <a:extLst>
                        <a:ext uri="{FF2B5EF4-FFF2-40B4-BE49-F238E27FC236}">
                          <a16:creationId xmlns:a16="http://schemas.microsoft.com/office/drawing/2014/main" id="{52C12336-DBED-487E-9DB9-55716F7131D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8" name="Pijl: punthaak 87">
                      <a:extLst>
                        <a:ext uri="{FF2B5EF4-FFF2-40B4-BE49-F238E27FC236}">
                          <a16:creationId xmlns:a16="http://schemas.microsoft.com/office/drawing/2014/main" id="{BF8C35BE-093E-4EEA-88EC-8EB2A4B4D1B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69" name="Groep 68">
                <a:extLst>
                  <a:ext uri="{FF2B5EF4-FFF2-40B4-BE49-F238E27FC236}">
                    <a16:creationId xmlns:a16="http://schemas.microsoft.com/office/drawing/2014/main" id="{EB33B0E1-8595-4B3C-B366-F927E2668600}"/>
                  </a:ext>
                </a:extLst>
              </p:cNvPr>
              <p:cNvGrpSpPr/>
              <p:nvPr userDrawn="1"/>
            </p:nvGrpSpPr>
            <p:grpSpPr>
              <a:xfrm>
                <a:off x="-2425037" y="781500"/>
                <a:ext cx="357690" cy="330595"/>
                <a:chOff x="-2721817" y="782525"/>
                <a:chExt cx="432805" cy="400021"/>
              </a:xfrm>
            </p:grpSpPr>
            <p:sp>
              <p:nvSpPr>
                <p:cNvPr id="72" name="Rechthoek 71">
                  <a:extLst>
                    <a:ext uri="{FF2B5EF4-FFF2-40B4-BE49-F238E27FC236}">
                      <a16:creationId xmlns:a16="http://schemas.microsoft.com/office/drawing/2014/main" id="{A1C1434C-A92C-4573-B044-C0918AB0153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73" name="Groep 72">
                  <a:extLst>
                    <a:ext uri="{FF2B5EF4-FFF2-40B4-BE49-F238E27FC236}">
                      <a16:creationId xmlns:a16="http://schemas.microsoft.com/office/drawing/2014/main" id="{59B5C24E-4E39-4035-A9D5-9939099BCD1F}"/>
                    </a:ext>
                  </a:extLst>
                </p:cNvPr>
                <p:cNvGrpSpPr/>
                <p:nvPr userDrawn="1"/>
              </p:nvGrpSpPr>
              <p:grpSpPr>
                <a:xfrm>
                  <a:off x="-2652453" y="866772"/>
                  <a:ext cx="294076" cy="231526"/>
                  <a:chOff x="-3310843" y="700986"/>
                  <a:chExt cx="182598" cy="143759"/>
                </a:xfrm>
              </p:grpSpPr>
              <p:grpSp>
                <p:nvGrpSpPr>
                  <p:cNvPr id="74" name="Groep 73">
                    <a:extLst>
                      <a:ext uri="{FF2B5EF4-FFF2-40B4-BE49-F238E27FC236}">
                        <a16:creationId xmlns:a16="http://schemas.microsoft.com/office/drawing/2014/main" id="{00F30649-8E2B-4D33-8DB7-D44568F091C5}"/>
                      </a:ext>
                    </a:extLst>
                  </p:cNvPr>
                  <p:cNvGrpSpPr/>
                  <p:nvPr userDrawn="1"/>
                </p:nvGrpSpPr>
                <p:grpSpPr>
                  <a:xfrm>
                    <a:off x="-3310843" y="700986"/>
                    <a:ext cx="182598" cy="143759"/>
                    <a:chOff x="-3310843" y="700986"/>
                    <a:chExt cx="182598" cy="143759"/>
                  </a:xfrm>
                </p:grpSpPr>
                <p:cxnSp>
                  <p:nvCxnSpPr>
                    <p:cNvPr id="78" name="Rechte verbindingslijn 77">
                      <a:extLst>
                        <a:ext uri="{FF2B5EF4-FFF2-40B4-BE49-F238E27FC236}">
                          <a16:creationId xmlns:a16="http://schemas.microsoft.com/office/drawing/2014/main" id="{D54BD9AB-84B1-4B65-85E0-1FAAB9306A7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79" name="Rechte verbindingslijn 78">
                      <a:extLst>
                        <a:ext uri="{FF2B5EF4-FFF2-40B4-BE49-F238E27FC236}">
                          <a16:creationId xmlns:a16="http://schemas.microsoft.com/office/drawing/2014/main" id="{A0E7457C-DE2A-4B72-AD61-FFCCA98ED24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80" name="Rechte verbindingslijn 79">
                      <a:extLst>
                        <a:ext uri="{FF2B5EF4-FFF2-40B4-BE49-F238E27FC236}">
                          <a16:creationId xmlns:a16="http://schemas.microsoft.com/office/drawing/2014/main" id="{488DB9A3-7F63-430D-B96E-ED623B73C8C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81" name="Rechte verbindingslijn 80">
                      <a:extLst>
                        <a:ext uri="{FF2B5EF4-FFF2-40B4-BE49-F238E27FC236}">
                          <a16:creationId xmlns:a16="http://schemas.microsoft.com/office/drawing/2014/main" id="{309B7B97-CF8D-46A3-90EB-146C74828C94}"/>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id="{0AF1B1C8-2209-46A3-BDB8-3FFE0C809C9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75" name="Groep 74">
                    <a:extLst>
                      <a:ext uri="{FF2B5EF4-FFF2-40B4-BE49-F238E27FC236}">
                        <a16:creationId xmlns:a16="http://schemas.microsoft.com/office/drawing/2014/main" id="{192BD7C2-A853-444E-A97E-6BACAFEEEBC4}"/>
                      </a:ext>
                    </a:extLst>
                  </p:cNvPr>
                  <p:cNvGrpSpPr/>
                  <p:nvPr userDrawn="1"/>
                </p:nvGrpSpPr>
                <p:grpSpPr>
                  <a:xfrm flipH="1">
                    <a:off x="-3310774" y="735854"/>
                    <a:ext cx="88801" cy="72568"/>
                    <a:chOff x="-2091059" y="1395403"/>
                    <a:chExt cx="157316" cy="128558"/>
                  </a:xfrm>
                </p:grpSpPr>
                <p:sp>
                  <p:nvSpPr>
                    <p:cNvPr id="76" name="Rechthoek 75">
                      <a:extLst>
                        <a:ext uri="{FF2B5EF4-FFF2-40B4-BE49-F238E27FC236}">
                          <a16:creationId xmlns:a16="http://schemas.microsoft.com/office/drawing/2014/main" id="{57761CCC-86FB-49BE-B283-79EC50F9057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7" name="Pijl: punthaak 76">
                      <a:extLst>
                        <a:ext uri="{FF2B5EF4-FFF2-40B4-BE49-F238E27FC236}">
                          <a16:creationId xmlns:a16="http://schemas.microsoft.com/office/drawing/2014/main" id="{00C6F945-A9E6-4255-9380-35728B81BFE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70" name="Rechthoek 69">
                <a:extLst>
                  <a:ext uri="{FF2B5EF4-FFF2-40B4-BE49-F238E27FC236}">
                    <a16:creationId xmlns:a16="http://schemas.microsoft.com/office/drawing/2014/main" id="{890D8AA0-64AB-4043-B3F0-B691921E5672}"/>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71" name="Rechthoek 70">
                <a:extLst>
                  <a:ext uri="{FF2B5EF4-FFF2-40B4-BE49-F238E27FC236}">
                    <a16:creationId xmlns:a16="http://schemas.microsoft.com/office/drawing/2014/main" id="{C5941298-1B59-4D9A-95A5-B0CC3F6EB492}"/>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49" name="Rechte verbindingslijn 48">
              <a:extLst>
                <a:ext uri="{FF2B5EF4-FFF2-40B4-BE49-F238E27FC236}">
                  <a16:creationId xmlns:a16="http://schemas.microsoft.com/office/drawing/2014/main" id="{C70D9F50-006D-407B-A606-7C360CEDF871}"/>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50" name="Rechthoek 49">
              <a:extLst>
                <a:ext uri="{FF2B5EF4-FFF2-40B4-BE49-F238E27FC236}">
                  <a16:creationId xmlns:a16="http://schemas.microsoft.com/office/drawing/2014/main" id="{0687734F-2B29-42B3-BB6E-308076C71DD7}"/>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51" name="Ovaal 50">
              <a:extLst>
                <a:ext uri="{FF2B5EF4-FFF2-40B4-BE49-F238E27FC236}">
                  <a16:creationId xmlns:a16="http://schemas.microsoft.com/office/drawing/2014/main" id="{B3504BC6-4AAA-43EF-BA98-3B370169C258}"/>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52" name="Rechthoek 51">
              <a:extLst>
                <a:ext uri="{FF2B5EF4-FFF2-40B4-BE49-F238E27FC236}">
                  <a16:creationId xmlns:a16="http://schemas.microsoft.com/office/drawing/2014/main" id="{D0627E6F-A576-4F21-B9DB-7B99382A4AB4}"/>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53" name="Ovaal 52">
              <a:extLst>
                <a:ext uri="{FF2B5EF4-FFF2-40B4-BE49-F238E27FC236}">
                  <a16:creationId xmlns:a16="http://schemas.microsoft.com/office/drawing/2014/main" id="{EE4AE1BC-10AD-44AC-AF59-4F483F57A533}"/>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54" name="Rechthoek 53">
              <a:extLst>
                <a:ext uri="{FF2B5EF4-FFF2-40B4-BE49-F238E27FC236}">
                  <a16:creationId xmlns:a16="http://schemas.microsoft.com/office/drawing/2014/main" id="{5DD1FA82-BD86-4F88-AEBB-9ED96B6F80FC}"/>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55" name="Ovaal 54">
              <a:extLst>
                <a:ext uri="{FF2B5EF4-FFF2-40B4-BE49-F238E27FC236}">
                  <a16:creationId xmlns:a16="http://schemas.microsoft.com/office/drawing/2014/main" id="{DDD44BE1-0C8C-4865-AE12-1D0DC7FC5469}"/>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56" name="Rechthoek 55">
              <a:extLst>
                <a:ext uri="{FF2B5EF4-FFF2-40B4-BE49-F238E27FC236}">
                  <a16:creationId xmlns:a16="http://schemas.microsoft.com/office/drawing/2014/main" id="{E4DF1B2A-C0AE-44F7-8BD4-725DEC68E959}"/>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57" name="Ovaal 56">
              <a:extLst>
                <a:ext uri="{FF2B5EF4-FFF2-40B4-BE49-F238E27FC236}">
                  <a16:creationId xmlns:a16="http://schemas.microsoft.com/office/drawing/2014/main" id="{3EE90AA0-7FC6-4C99-AF8D-27509C732D8A}"/>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58" name="Rechthoek 57">
              <a:extLst>
                <a:ext uri="{FF2B5EF4-FFF2-40B4-BE49-F238E27FC236}">
                  <a16:creationId xmlns:a16="http://schemas.microsoft.com/office/drawing/2014/main" id="{03FAEA6B-B37B-44A8-8D38-02BA04679BAF}"/>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1600" b="1" kern="1200" cap="none" baseline="0" noProof="0">
                  <a:solidFill>
                    <a:schemeClr val="accent1"/>
                  </a:solidFill>
                  <a:latin typeface="+mj-lt"/>
                  <a:ea typeface="+mn-ea"/>
                  <a:cs typeface="+mn-cs"/>
                </a:rPr>
                <a:t>Tussenkop (16pt)</a:t>
              </a:r>
            </a:p>
          </p:txBody>
        </p:sp>
        <p:sp>
          <p:nvSpPr>
            <p:cNvPr id="59" name="Rechthoek 58">
              <a:extLst>
                <a:ext uri="{FF2B5EF4-FFF2-40B4-BE49-F238E27FC236}">
                  <a16:creationId xmlns:a16="http://schemas.microsoft.com/office/drawing/2014/main" id="{122708D6-7122-4019-AA15-1968C668A710}"/>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115" name="Rechte verbindingslijn 114">
              <a:extLst>
                <a:ext uri="{FF2B5EF4-FFF2-40B4-BE49-F238E27FC236}">
                  <a16:creationId xmlns:a16="http://schemas.microsoft.com/office/drawing/2014/main" id="{A79ACEDD-5C11-49B8-BFC2-E66EEA8CA38B}"/>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116" name="Ovaal 115">
              <a:extLst>
                <a:ext uri="{FF2B5EF4-FFF2-40B4-BE49-F238E27FC236}">
                  <a16:creationId xmlns:a16="http://schemas.microsoft.com/office/drawing/2014/main" id="{F5679DC3-CEF2-4772-9ABB-92954717A816}"/>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117" name="Rechthoek 116">
              <a:extLst>
                <a:ext uri="{FF2B5EF4-FFF2-40B4-BE49-F238E27FC236}">
                  <a16:creationId xmlns:a16="http://schemas.microsoft.com/office/drawing/2014/main" id="{211274B4-8E9A-4D55-A35B-57117EE1346E}"/>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118" name="Ovaal 117">
              <a:extLst>
                <a:ext uri="{FF2B5EF4-FFF2-40B4-BE49-F238E27FC236}">
                  <a16:creationId xmlns:a16="http://schemas.microsoft.com/office/drawing/2014/main" id="{5351836F-0472-47FE-AC19-5C60C4F131EF}"/>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9" name="Rechthoek 118">
              <a:extLst>
                <a:ext uri="{FF2B5EF4-FFF2-40B4-BE49-F238E27FC236}">
                  <a16:creationId xmlns:a16="http://schemas.microsoft.com/office/drawing/2014/main" id="{53119B5F-71BF-41C1-AC41-5B54F2BE3FAE}"/>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120" name="GRID" hidden="1">
            <a:extLst>
              <a:ext uri="{FF2B5EF4-FFF2-40B4-BE49-F238E27FC236}">
                <a16:creationId xmlns:a16="http://schemas.microsoft.com/office/drawing/2014/main" id="{5296AF35-F896-43B3-ABCB-C095CFAAB915}"/>
              </a:ext>
            </a:extLst>
          </p:cNvPr>
          <p:cNvGrpSpPr/>
          <p:nvPr userDrawn="1"/>
        </p:nvGrpSpPr>
        <p:grpSpPr>
          <a:xfrm>
            <a:off x="0" y="0"/>
            <a:ext cx="12192000" cy="6858000"/>
            <a:chOff x="0" y="0"/>
            <a:chExt cx="12192000" cy="6858000"/>
          </a:xfrm>
          <a:solidFill>
            <a:schemeClr val="tx1">
              <a:alpha val="30000"/>
            </a:schemeClr>
          </a:solidFill>
        </p:grpSpPr>
        <p:sp>
          <p:nvSpPr>
            <p:cNvPr id="121" name="Rechthoek 120">
              <a:extLst>
                <a:ext uri="{FF2B5EF4-FFF2-40B4-BE49-F238E27FC236}">
                  <a16:creationId xmlns:a16="http://schemas.microsoft.com/office/drawing/2014/main" id="{F2EB2891-3A99-4ED4-8AFD-B438775A0AB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2" name="Rechthoek 121">
              <a:extLst>
                <a:ext uri="{FF2B5EF4-FFF2-40B4-BE49-F238E27FC236}">
                  <a16:creationId xmlns:a16="http://schemas.microsoft.com/office/drawing/2014/main" id="{FA8CC251-260C-48FB-A21A-4064D59E44A3}"/>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3" name="Rechthoek 122">
              <a:extLst>
                <a:ext uri="{FF2B5EF4-FFF2-40B4-BE49-F238E27FC236}">
                  <a16:creationId xmlns:a16="http://schemas.microsoft.com/office/drawing/2014/main" id="{7F3AA528-EF26-4236-99E2-579FAE2766C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4" name="Rechthoek 123">
              <a:extLst>
                <a:ext uri="{FF2B5EF4-FFF2-40B4-BE49-F238E27FC236}">
                  <a16:creationId xmlns:a16="http://schemas.microsoft.com/office/drawing/2014/main" id="{7DC92546-1751-4BAA-AA77-5307E8FACDC5}"/>
                </a:ext>
              </a:extLst>
            </p:cNvPr>
            <p:cNvSpPr/>
            <p:nvPr userDrawn="1"/>
          </p:nvSpPr>
          <p:spPr>
            <a:xfrm>
              <a:off x="0" y="825345"/>
              <a:ext cx="12192000" cy="754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5" name="Rechthoek 124">
              <a:extLst>
                <a:ext uri="{FF2B5EF4-FFF2-40B4-BE49-F238E27FC236}">
                  <a16:creationId xmlns:a16="http://schemas.microsoft.com/office/drawing/2014/main" id="{C45E7145-B912-4200-A331-B4273BB6199F}"/>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6" name="Rechthoek 125">
              <a:extLst>
                <a:ext uri="{FF2B5EF4-FFF2-40B4-BE49-F238E27FC236}">
                  <a16:creationId xmlns:a16="http://schemas.microsoft.com/office/drawing/2014/main" id="{D3D0F0CB-C84E-4062-996E-C129FEC2E3C5}"/>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7" name="Rechthoek 126">
              <a:extLst>
                <a:ext uri="{FF2B5EF4-FFF2-40B4-BE49-F238E27FC236}">
                  <a16:creationId xmlns:a16="http://schemas.microsoft.com/office/drawing/2014/main" id="{838D424E-D3A6-4B95-BFB7-234BCBF65129}"/>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8" name="Rechthoek 127">
              <a:extLst>
                <a:ext uri="{FF2B5EF4-FFF2-40B4-BE49-F238E27FC236}">
                  <a16:creationId xmlns:a16="http://schemas.microsoft.com/office/drawing/2014/main" id="{E0EC2466-F391-4C48-905A-547E5255BBA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9" name="Rechthoek 128">
              <a:extLst>
                <a:ext uri="{FF2B5EF4-FFF2-40B4-BE49-F238E27FC236}">
                  <a16:creationId xmlns:a16="http://schemas.microsoft.com/office/drawing/2014/main" id="{FA3DF976-567F-4CC5-8362-205B3BE176DB}"/>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0" name="Rechthoek 129">
              <a:extLst>
                <a:ext uri="{FF2B5EF4-FFF2-40B4-BE49-F238E27FC236}">
                  <a16:creationId xmlns:a16="http://schemas.microsoft.com/office/drawing/2014/main" id="{A2F401FB-26A6-4D49-A1E7-E09BC52F1A3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1" name="Rechthoek 130">
              <a:extLst>
                <a:ext uri="{FF2B5EF4-FFF2-40B4-BE49-F238E27FC236}">
                  <a16:creationId xmlns:a16="http://schemas.microsoft.com/office/drawing/2014/main" id="{7A917718-DF85-48ED-8424-FC9E59AA36E1}"/>
                </a:ext>
              </a:extLst>
            </p:cNvPr>
            <p:cNvSpPr/>
            <p:nvPr userDrawn="1"/>
          </p:nvSpPr>
          <p:spPr>
            <a:xfrm>
              <a:off x="0" y="1114210"/>
              <a:ext cx="12192000" cy="3423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Tree>
    <p:extLst>
      <p:ext uri="{BB962C8B-B14F-4D97-AF65-F5344CB8AC3E}">
        <p14:creationId xmlns:p14="http://schemas.microsoft.com/office/powerpoint/2010/main" val="1850814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a:xfrm>
            <a:off x="540000" y="538833"/>
            <a:ext cx="11112000" cy="301139"/>
          </a:xfrm>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28600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700AAC8F-DC6C-430E-89AF-57A8CB96221D}"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Vul hier een bron in (of laat dit </a:t>
            </a:r>
            <a:r>
              <a:rPr lang="nl-NL" noProof="0" err="1"/>
              <a:t>tekstvak</a:t>
            </a:r>
            <a:r>
              <a:rPr lang="nl-NL" noProof="0"/>
              <a:t> leeg wanneer een bron ontbreekt)</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2X</a:t>
            </a:r>
          </a:p>
        </p:txBody>
      </p:sp>
      <p:sp>
        <p:nvSpPr>
          <p:cNvPr id="44" name="Tijdelijke aanduiding voor tekst 43">
            <a:extLst>
              <a:ext uri="{FF2B5EF4-FFF2-40B4-BE49-F238E27FC236}">
                <a16:creationId xmlns:a16="http://schemas.microsoft.com/office/drawing/2014/main" id="{C39606EC-1987-41D2-AE51-A1A79674F48D}"/>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22" name="GRID" hidden="1">
            <a:extLst>
              <a:ext uri="{FF2B5EF4-FFF2-40B4-BE49-F238E27FC236}">
                <a16:creationId xmlns:a16="http://schemas.microsoft.com/office/drawing/2014/main" id="{33B8CDDA-3569-43D9-8953-9A57FF3750DF}"/>
              </a:ext>
            </a:extLst>
          </p:cNvPr>
          <p:cNvGrpSpPr/>
          <p:nvPr userDrawn="1"/>
        </p:nvGrpSpPr>
        <p:grpSpPr>
          <a:xfrm>
            <a:off x="0" y="0"/>
            <a:ext cx="12192000" cy="6858000"/>
            <a:chOff x="0" y="0"/>
            <a:chExt cx="12192000" cy="6858000"/>
          </a:xfrm>
          <a:solidFill>
            <a:schemeClr val="tx1">
              <a:alpha val="30000"/>
            </a:schemeClr>
          </a:solidFill>
        </p:grpSpPr>
        <p:sp>
          <p:nvSpPr>
            <p:cNvPr id="23" name="Rechthoek 22">
              <a:extLst>
                <a:ext uri="{FF2B5EF4-FFF2-40B4-BE49-F238E27FC236}">
                  <a16:creationId xmlns:a16="http://schemas.microsoft.com/office/drawing/2014/main" id="{A6538B19-C966-4937-AB93-B157026AFF8C}"/>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77024D41-999B-4242-8677-91ABF0A9E718}"/>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31DBE81E-F298-48AD-9D42-19989D672470}"/>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8DE20BBB-B456-42A9-8832-C7377C8570B3}"/>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E56AFE03-13D0-4E70-965E-27236D5B2FE0}"/>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441DBCA-2CF0-465C-9104-B3831E479CD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C008D542-07D8-43D9-B841-E9558BFC34B1}"/>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0C647EEC-C065-4B5F-8C18-6436515CDB91}"/>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B3E90288-6716-4D55-8093-F74729D589E7}"/>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9C4FE5F3-67DB-4F58-B12D-A654035D116F}"/>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3D223C7A-1192-46B2-A8CA-690AB0004B12}"/>
                </a:ext>
              </a:extLst>
            </p:cNvPr>
            <p:cNvSpPr/>
            <p:nvPr userDrawn="1"/>
          </p:nvSpPr>
          <p:spPr>
            <a:xfrm>
              <a:off x="5826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8" name="Tijdelijke aanduiding voor verticale tekst 2">
            <a:extLst>
              <a:ext uri="{FF2B5EF4-FFF2-40B4-BE49-F238E27FC236}">
                <a16:creationId xmlns:a16="http://schemas.microsoft.com/office/drawing/2014/main" id="{AA81A0BB-4577-42E5-AB0A-8F767EEAD740}"/>
              </a:ext>
            </a:extLst>
          </p:cNvPr>
          <p:cNvSpPr>
            <a:spLocks noGrp="1"/>
          </p:cNvSpPr>
          <p:nvPr>
            <p:ph type="body" orient="vert" idx="16" hasCustomPrompt="1"/>
          </p:nvPr>
        </p:nvSpPr>
        <p:spPr>
          <a:xfrm>
            <a:off x="6365999" y="1459112"/>
            <a:ext cx="528600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grpSp>
        <p:nvGrpSpPr>
          <p:cNvPr id="263" name="Instructie">
            <a:extLst>
              <a:ext uri="{FF2B5EF4-FFF2-40B4-BE49-F238E27FC236}">
                <a16:creationId xmlns:a16="http://schemas.microsoft.com/office/drawing/2014/main" id="{EF3BB778-9E76-4D74-BBFE-D4204D347A1E}"/>
              </a:ext>
            </a:extLst>
          </p:cNvPr>
          <p:cNvGrpSpPr/>
          <p:nvPr userDrawn="1"/>
        </p:nvGrpSpPr>
        <p:grpSpPr>
          <a:xfrm>
            <a:off x="-3437547" y="1434"/>
            <a:ext cx="3201327" cy="6041867"/>
            <a:chOff x="-3437547" y="1434"/>
            <a:chExt cx="3201327" cy="6041867"/>
          </a:xfrm>
        </p:grpSpPr>
        <p:cxnSp>
          <p:nvCxnSpPr>
            <p:cNvPr id="264" name="Rechte verbindingslijn 263">
              <a:extLst>
                <a:ext uri="{FF2B5EF4-FFF2-40B4-BE49-F238E27FC236}">
                  <a16:creationId xmlns:a16="http://schemas.microsoft.com/office/drawing/2014/main" id="{392B897D-5F2F-43B8-8E23-E5B73EEDC55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65" name="Ovaal 264">
              <a:extLst>
                <a:ext uri="{FF2B5EF4-FFF2-40B4-BE49-F238E27FC236}">
                  <a16:creationId xmlns:a16="http://schemas.microsoft.com/office/drawing/2014/main" id="{6F964235-6BF6-413A-A40F-F14B216997A0}"/>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66" name="Rechthoek 265">
              <a:extLst>
                <a:ext uri="{FF2B5EF4-FFF2-40B4-BE49-F238E27FC236}">
                  <a16:creationId xmlns:a16="http://schemas.microsoft.com/office/drawing/2014/main" id="{256F877A-BCE1-4137-B066-4C58B5FA4F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7" name="Ovaal 266">
              <a:extLst>
                <a:ext uri="{FF2B5EF4-FFF2-40B4-BE49-F238E27FC236}">
                  <a16:creationId xmlns:a16="http://schemas.microsoft.com/office/drawing/2014/main" id="{4A0DC972-00D8-4463-A335-765DB247BF89}"/>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68" name="Rechthoek 267">
              <a:extLst>
                <a:ext uri="{FF2B5EF4-FFF2-40B4-BE49-F238E27FC236}">
                  <a16:creationId xmlns:a16="http://schemas.microsoft.com/office/drawing/2014/main" id="{1C6646F3-2D5C-4CA8-A474-27344C6417B9}"/>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69" name="Ovaal 268">
              <a:extLst>
                <a:ext uri="{FF2B5EF4-FFF2-40B4-BE49-F238E27FC236}">
                  <a16:creationId xmlns:a16="http://schemas.microsoft.com/office/drawing/2014/main" id="{EB04172F-A4FD-4F2C-99F9-976CB129EFD1}"/>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70" name="Rechthoek 269">
              <a:extLst>
                <a:ext uri="{FF2B5EF4-FFF2-40B4-BE49-F238E27FC236}">
                  <a16:creationId xmlns:a16="http://schemas.microsoft.com/office/drawing/2014/main" id="{9731FC4C-9150-4ADC-B5A7-CF014FB8EC39}"/>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71" name="Ovaal 270">
              <a:extLst>
                <a:ext uri="{FF2B5EF4-FFF2-40B4-BE49-F238E27FC236}">
                  <a16:creationId xmlns:a16="http://schemas.microsoft.com/office/drawing/2014/main" id="{F6C474F7-AF0A-43C6-8C27-3785E9F01B1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72" name="Rechthoek 271">
              <a:extLst>
                <a:ext uri="{FF2B5EF4-FFF2-40B4-BE49-F238E27FC236}">
                  <a16:creationId xmlns:a16="http://schemas.microsoft.com/office/drawing/2014/main" id="{C3D60B33-2931-42FD-8166-B8E1C453FE32}"/>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273" name="Rechthoek 272">
              <a:extLst>
                <a:ext uri="{FF2B5EF4-FFF2-40B4-BE49-F238E27FC236}">
                  <a16:creationId xmlns:a16="http://schemas.microsoft.com/office/drawing/2014/main" id="{6FC200D5-4097-497F-B1F9-91EC66ABD6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74" name="Ovaal 273">
              <a:extLst>
                <a:ext uri="{FF2B5EF4-FFF2-40B4-BE49-F238E27FC236}">
                  <a16:creationId xmlns:a16="http://schemas.microsoft.com/office/drawing/2014/main" id="{A27AE375-3903-47DC-B136-BA70E5096E59}"/>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75" name="Rechte verbindingslijn 274">
              <a:extLst>
                <a:ext uri="{FF2B5EF4-FFF2-40B4-BE49-F238E27FC236}">
                  <a16:creationId xmlns:a16="http://schemas.microsoft.com/office/drawing/2014/main" id="{8E45F979-7172-4C5F-91B1-BBD6FA77F8B0}"/>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76" name="Groep 275">
              <a:extLst>
                <a:ext uri="{FF2B5EF4-FFF2-40B4-BE49-F238E27FC236}">
                  <a16:creationId xmlns:a16="http://schemas.microsoft.com/office/drawing/2014/main" id="{BD256BF7-9FE6-4995-AAA9-0F3757A44E27}"/>
                </a:ext>
              </a:extLst>
            </p:cNvPr>
            <p:cNvGrpSpPr/>
            <p:nvPr userDrawn="1"/>
          </p:nvGrpSpPr>
          <p:grpSpPr>
            <a:xfrm>
              <a:off x="-3437547" y="1295337"/>
              <a:ext cx="2933825" cy="558875"/>
              <a:chOff x="-3419346" y="368233"/>
              <a:chExt cx="3904920" cy="743862"/>
            </a:xfrm>
          </p:grpSpPr>
          <p:sp>
            <p:nvSpPr>
              <p:cNvPr id="293" name="Rechthoek 292">
                <a:extLst>
                  <a:ext uri="{FF2B5EF4-FFF2-40B4-BE49-F238E27FC236}">
                    <a16:creationId xmlns:a16="http://schemas.microsoft.com/office/drawing/2014/main" id="{4DDFA3F8-52D7-46E4-BB6E-4E69DDA368C6}"/>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94" name="Rechte verbindingslijn 293">
                <a:extLst>
                  <a:ext uri="{FF2B5EF4-FFF2-40B4-BE49-F238E27FC236}">
                    <a16:creationId xmlns:a16="http://schemas.microsoft.com/office/drawing/2014/main" id="{1EC53019-59A8-4F13-AB7F-9B51FAB120C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5" name="Rechte verbindingslijn 294">
                <a:extLst>
                  <a:ext uri="{FF2B5EF4-FFF2-40B4-BE49-F238E27FC236}">
                    <a16:creationId xmlns:a16="http://schemas.microsoft.com/office/drawing/2014/main" id="{EF866EC5-8C43-4641-8C07-121783C98E7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6" name="Rechthoek 295">
                <a:extLst>
                  <a:ext uri="{FF2B5EF4-FFF2-40B4-BE49-F238E27FC236}">
                    <a16:creationId xmlns:a16="http://schemas.microsoft.com/office/drawing/2014/main" id="{C81D7799-2C86-43C7-AF86-9D024562EA4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97" name="Groep 296">
                <a:extLst>
                  <a:ext uri="{FF2B5EF4-FFF2-40B4-BE49-F238E27FC236}">
                    <a16:creationId xmlns:a16="http://schemas.microsoft.com/office/drawing/2014/main" id="{BF041B03-8905-4E3B-9920-215572BFD70A}"/>
                  </a:ext>
                </a:extLst>
              </p:cNvPr>
              <p:cNvGrpSpPr/>
              <p:nvPr userDrawn="1"/>
            </p:nvGrpSpPr>
            <p:grpSpPr>
              <a:xfrm>
                <a:off x="-3002834" y="720303"/>
                <a:ext cx="182598" cy="143759"/>
                <a:chOff x="-3310843" y="700986"/>
                <a:chExt cx="182598" cy="143759"/>
              </a:xfrm>
            </p:grpSpPr>
            <p:grpSp>
              <p:nvGrpSpPr>
                <p:cNvPr id="336" name="Groep 335">
                  <a:extLst>
                    <a:ext uri="{FF2B5EF4-FFF2-40B4-BE49-F238E27FC236}">
                      <a16:creationId xmlns:a16="http://schemas.microsoft.com/office/drawing/2014/main" id="{52B9466E-5AEE-499C-9FD9-4BAE0A59774B}"/>
                    </a:ext>
                  </a:extLst>
                </p:cNvPr>
                <p:cNvGrpSpPr/>
                <p:nvPr userDrawn="1"/>
              </p:nvGrpSpPr>
              <p:grpSpPr>
                <a:xfrm>
                  <a:off x="-3310843" y="700986"/>
                  <a:ext cx="182598" cy="143759"/>
                  <a:chOff x="-3310843" y="700986"/>
                  <a:chExt cx="182598" cy="143759"/>
                </a:xfrm>
              </p:grpSpPr>
              <p:cxnSp>
                <p:nvCxnSpPr>
                  <p:cNvPr id="340" name="Rechte verbindingslijn 339">
                    <a:extLst>
                      <a:ext uri="{FF2B5EF4-FFF2-40B4-BE49-F238E27FC236}">
                        <a16:creationId xmlns:a16="http://schemas.microsoft.com/office/drawing/2014/main" id="{E44E01CD-A705-4072-BDA8-CCE21D79F6B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9535731-2CA7-48B0-8E69-7524CEB0CBD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2" name="Rechte verbindingslijn 341">
                    <a:extLst>
                      <a:ext uri="{FF2B5EF4-FFF2-40B4-BE49-F238E27FC236}">
                        <a16:creationId xmlns:a16="http://schemas.microsoft.com/office/drawing/2014/main" id="{13763057-EDA6-45C5-844C-32B5A15D6AE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25B65B46-60F7-40BF-9102-5EB5694B7CF8}"/>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076DBE8-051B-467A-A3DD-194DFDBF8FD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7" name="Groep 336">
                  <a:extLst>
                    <a:ext uri="{FF2B5EF4-FFF2-40B4-BE49-F238E27FC236}">
                      <a16:creationId xmlns:a16="http://schemas.microsoft.com/office/drawing/2014/main" id="{F574182C-74B0-4356-8719-8D6143061DDA}"/>
                    </a:ext>
                  </a:extLst>
                </p:cNvPr>
                <p:cNvGrpSpPr/>
                <p:nvPr userDrawn="1"/>
              </p:nvGrpSpPr>
              <p:grpSpPr>
                <a:xfrm flipH="1">
                  <a:off x="-3310774" y="735854"/>
                  <a:ext cx="88801" cy="72568"/>
                  <a:chOff x="-2091059" y="1395403"/>
                  <a:chExt cx="157316" cy="128558"/>
                </a:xfrm>
              </p:grpSpPr>
              <p:sp>
                <p:nvSpPr>
                  <p:cNvPr id="338" name="Rechthoek 337">
                    <a:extLst>
                      <a:ext uri="{FF2B5EF4-FFF2-40B4-BE49-F238E27FC236}">
                        <a16:creationId xmlns:a16="http://schemas.microsoft.com/office/drawing/2014/main" id="{11383763-CAC0-48EF-835D-EDAA1AFA57C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39" name="Pijl: punthaak 338">
                    <a:extLst>
                      <a:ext uri="{FF2B5EF4-FFF2-40B4-BE49-F238E27FC236}">
                        <a16:creationId xmlns:a16="http://schemas.microsoft.com/office/drawing/2014/main" id="{BD078BBF-6495-48ED-A9C1-9DEE0DA955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98" name="Groep 297">
                <a:extLst>
                  <a:ext uri="{FF2B5EF4-FFF2-40B4-BE49-F238E27FC236}">
                    <a16:creationId xmlns:a16="http://schemas.microsoft.com/office/drawing/2014/main" id="{E64F86A5-23CC-4132-947F-7BB8C182FA28}"/>
                  </a:ext>
                </a:extLst>
              </p:cNvPr>
              <p:cNvGrpSpPr/>
              <p:nvPr userDrawn="1"/>
            </p:nvGrpSpPr>
            <p:grpSpPr>
              <a:xfrm>
                <a:off x="-3326107" y="720303"/>
                <a:ext cx="182598" cy="143759"/>
                <a:chOff x="-3634116" y="700986"/>
                <a:chExt cx="182598" cy="143759"/>
              </a:xfrm>
            </p:grpSpPr>
            <p:grpSp>
              <p:nvGrpSpPr>
                <p:cNvPr id="327" name="Groep 326">
                  <a:extLst>
                    <a:ext uri="{FF2B5EF4-FFF2-40B4-BE49-F238E27FC236}">
                      <a16:creationId xmlns:a16="http://schemas.microsoft.com/office/drawing/2014/main" id="{D67E7A46-DE9C-4D0A-AEE0-BEEC1685DCDA}"/>
                    </a:ext>
                  </a:extLst>
                </p:cNvPr>
                <p:cNvGrpSpPr/>
                <p:nvPr userDrawn="1"/>
              </p:nvGrpSpPr>
              <p:grpSpPr>
                <a:xfrm>
                  <a:off x="-3634116" y="700986"/>
                  <a:ext cx="182598" cy="143759"/>
                  <a:chOff x="-3634116" y="700986"/>
                  <a:chExt cx="182598" cy="143759"/>
                </a:xfrm>
              </p:grpSpPr>
              <p:cxnSp>
                <p:nvCxnSpPr>
                  <p:cNvPr id="331" name="Rechte verbindingslijn 330">
                    <a:extLst>
                      <a:ext uri="{FF2B5EF4-FFF2-40B4-BE49-F238E27FC236}">
                        <a16:creationId xmlns:a16="http://schemas.microsoft.com/office/drawing/2014/main" id="{6104EABB-E647-4380-BC8D-4735501847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71FC7BD7-238C-4901-906D-C16229B47EF0}"/>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6E626D8-0D5B-479D-A164-63570F35F44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5AD47799-5A26-4B9E-AB95-14F514293F9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5" name="Rechte verbindingslijn 334">
                    <a:extLst>
                      <a:ext uri="{FF2B5EF4-FFF2-40B4-BE49-F238E27FC236}">
                        <a16:creationId xmlns:a16="http://schemas.microsoft.com/office/drawing/2014/main" id="{699F819B-BABF-4D77-BFAA-10E13C0CF606}"/>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28" name="Groep 327">
                  <a:extLst>
                    <a:ext uri="{FF2B5EF4-FFF2-40B4-BE49-F238E27FC236}">
                      <a16:creationId xmlns:a16="http://schemas.microsoft.com/office/drawing/2014/main" id="{057E89C5-21EC-4E99-BBD6-538CA09E4268}"/>
                    </a:ext>
                  </a:extLst>
                </p:cNvPr>
                <p:cNvGrpSpPr/>
                <p:nvPr userDrawn="1"/>
              </p:nvGrpSpPr>
              <p:grpSpPr>
                <a:xfrm>
                  <a:off x="-3634047" y="735854"/>
                  <a:ext cx="88801" cy="72568"/>
                  <a:chOff x="-2091059" y="1395403"/>
                  <a:chExt cx="157316" cy="128558"/>
                </a:xfrm>
              </p:grpSpPr>
              <p:sp>
                <p:nvSpPr>
                  <p:cNvPr id="329" name="Rechthoek 328">
                    <a:extLst>
                      <a:ext uri="{FF2B5EF4-FFF2-40B4-BE49-F238E27FC236}">
                        <a16:creationId xmlns:a16="http://schemas.microsoft.com/office/drawing/2014/main" id="{7F38C0D4-8DFC-4692-84BC-20484B54CA6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30" name="Pijl: punthaak 329">
                    <a:extLst>
                      <a:ext uri="{FF2B5EF4-FFF2-40B4-BE49-F238E27FC236}">
                        <a16:creationId xmlns:a16="http://schemas.microsoft.com/office/drawing/2014/main" id="{CA109E9F-7AD9-49D6-AB21-452F30FB0D9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99" name="Rechte verbindingslijn 298">
                <a:extLst>
                  <a:ext uri="{FF2B5EF4-FFF2-40B4-BE49-F238E27FC236}">
                    <a16:creationId xmlns:a16="http://schemas.microsoft.com/office/drawing/2014/main" id="{7245F918-BD1E-4AA7-AF34-B34807AA5B4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00" name="Rechte verbindingslijn 299">
                <a:extLst>
                  <a:ext uri="{FF2B5EF4-FFF2-40B4-BE49-F238E27FC236}">
                    <a16:creationId xmlns:a16="http://schemas.microsoft.com/office/drawing/2014/main" id="{42204135-130C-4482-8FF4-C457BA30B918}"/>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01" name="Groep 300">
                <a:extLst>
                  <a:ext uri="{FF2B5EF4-FFF2-40B4-BE49-F238E27FC236}">
                    <a16:creationId xmlns:a16="http://schemas.microsoft.com/office/drawing/2014/main" id="{C5620457-BC11-44A1-B35E-8070DAA50D35}"/>
                  </a:ext>
                </a:extLst>
              </p:cNvPr>
              <p:cNvGrpSpPr/>
              <p:nvPr userDrawn="1"/>
            </p:nvGrpSpPr>
            <p:grpSpPr>
              <a:xfrm>
                <a:off x="-2425037" y="370226"/>
                <a:ext cx="357690" cy="330595"/>
                <a:chOff x="-2721817" y="347336"/>
                <a:chExt cx="432805" cy="400021"/>
              </a:xfrm>
            </p:grpSpPr>
            <p:sp>
              <p:nvSpPr>
                <p:cNvPr id="316" name="Rechthoek 315">
                  <a:extLst>
                    <a:ext uri="{FF2B5EF4-FFF2-40B4-BE49-F238E27FC236}">
                      <a16:creationId xmlns:a16="http://schemas.microsoft.com/office/drawing/2014/main" id="{4F12A523-C4D3-4A22-833E-31EC8E567922}"/>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17" name="Groep 316">
                  <a:extLst>
                    <a:ext uri="{FF2B5EF4-FFF2-40B4-BE49-F238E27FC236}">
                      <a16:creationId xmlns:a16="http://schemas.microsoft.com/office/drawing/2014/main" id="{B7ABD13A-1CA0-425C-8716-9975579BA484}"/>
                    </a:ext>
                  </a:extLst>
                </p:cNvPr>
                <p:cNvGrpSpPr/>
                <p:nvPr userDrawn="1"/>
              </p:nvGrpSpPr>
              <p:grpSpPr>
                <a:xfrm>
                  <a:off x="-2652453" y="431583"/>
                  <a:ext cx="294076" cy="231526"/>
                  <a:chOff x="-3634116" y="700986"/>
                  <a:chExt cx="182598" cy="143759"/>
                </a:xfrm>
              </p:grpSpPr>
              <p:grpSp>
                <p:nvGrpSpPr>
                  <p:cNvPr id="318" name="Groep 317">
                    <a:extLst>
                      <a:ext uri="{FF2B5EF4-FFF2-40B4-BE49-F238E27FC236}">
                        <a16:creationId xmlns:a16="http://schemas.microsoft.com/office/drawing/2014/main" id="{CAB27CAE-2F72-4CB7-A34E-D9F827C00955}"/>
                      </a:ext>
                    </a:extLst>
                  </p:cNvPr>
                  <p:cNvGrpSpPr/>
                  <p:nvPr userDrawn="1"/>
                </p:nvGrpSpPr>
                <p:grpSpPr>
                  <a:xfrm>
                    <a:off x="-3634116" y="700986"/>
                    <a:ext cx="182598" cy="143759"/>
                    <a:chOff x="-3634116" y="700986"/>
                    <a:chExt cx="182598" cy="143759"/>
                  </a:xfrm>
                </p:grpSpPr>
                <p:cxnSp>
                  <p:nvCxnSpPr>
                    <p:cNvPr id="322" name="Rechte verbindingslijn 321">
                      <a:extLst>
                        <a:ext uri="{FF2B5EF4-FFF2-40B4-BE49-F238E27FC236}">
                          <a16:creationId xmlns:a16="http://schemas.microsoft.com/office/drawing/2014/main" id="{3AEF513D-B5BB-483D-B64B-DCE9028EA78A}"/>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23" name="Rechte verbindingslijn 322">
                      <a:extLst>
                        <a:ext uri="{FF2B5EF4-FFF2-40B4-BE49-F238E27FC236}">
                          <a16:creationId xmlns:a16="http://schemas.microsoft.com/office/drawing/2014/main" id="{81E2F19F-BB91-4B6A-95CC-FF1E59DF0718}"/>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24" name="Rechte verbindingslijn 323">
                      <a:extLst>
                        <a:ext uri="{FF2B5EF4-FFF2-40B4-BE49-F238E27FC236}">
                          <a16:creationId xmlns:a16="http://schemas.microsoft.com/office/drawing/2014/main" id="{475DAF34-08FE-436D-B1DF-570914C1A996}"/>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25" name="Rechte verbindingslijn 324">
                      <a:extLst>
                        <a:ext uri="{FF2B5EF4-FFF2-40B4-BE49-F238E27FC236}">
                          <a16:creationId xmlns:a16="http://schemas.microsoft.com/office/drawing/2014/main" id="{965628B0-5FC2-4FFA-ACFC-E067A39B9055}"/>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26" name="Rechte verbindingslijn 325">
                      <a:extLst>
                        <a:ext uri="{FF2B5EF4-FFF2-40B4-BE49-F238E27FC236}">
                          <a16:creationId xmlns:a16="http://schemas.microsoft.com/office/drawing/2014/main" id="{9E2F0411-5A06-4DC1-A6F0-FEFD32771E0A}"/>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19" name="Groep 318">
                    <a:extLst>
                      <a:ext uri="{FF2B5EF4-FFF2-40B4-BE49-F238E27FC236}">
                        <a16:creationId xmlns:a16="http://schemas.microsoft.com/office/drawing/2014/main" id="{4B8D49B6-1A7A-438C-ADDE-74D05218A11B}"/>
                      </a:ext>
                    </a:extLst>
                  </p:cNvPr>
                  <p:cNvGrpSpPr/>
                  <p:nvPr userDrawn="1"/>
                </p:nvGrpSpPr>
                <p:grpSpPr>
                  <a:xfrm>
                    <a:off x="-3634047" y="735854"/>
                    <a:ext cx="88801" cy="72568"/>
                    <a:chOff x="-2091059" y="1395403"/>
                    <a:chExt cx="157316" cy="128558"/>
                  </a:xfrm>
                </p:grpSpPr>
                <p:sp>
                  <p:nvSpPr>
                    <p:cNvPr id="320" name="Rechthoek 319">
                      <a:extLst>
                        <a:ext uri="{FF2B5EF4-FFF2-40B4-BE49-F238E27FC236}">
                          <a16:creationId xmlns:a16="http://schemas.microsoft.com/office/drawing/2014/main" id="{33E4C8CB-AD52-459B-A174-350C49240AD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21" name="Pijl: punthaak 320">
                      <a:extLst>
                        <a:ext uri="{FF2B5EF4-FFF2-40B4-BE49-F238E27FC236}">
                          <a16:creationId xmlns:a16="http://schemas.microsoft.com/office/drawing/2014/main" id="{73B42B70-9945-4C6D-9788-1B0E9ED1250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02" name="Groep 301">
                <a:extLst>
                  <a:ext uri="{FF2B5EF4-FFF2-40B4-BE49-F238E27FC236}">
                    <a16:creationId xmlns:a16="http://schemas.microsoft.com/office/drawing/2014/main" id="{2002127F-8125-4C9F-955A-F79489BF6C19}"/>
                  </a:ext>
                </a:extLst>
              </p:cNvPr>
              <p:cNvGrpSpPr/>
              <p:nvPr userDrawn="1"/>
            </p:nvGrpSpPr>
            <p:grpSpPr>
              <a:xfrm>
                <a:off x="-2425037" y="781500"/>
                <a:ext cx="357690" cy="330595"/>
                <a:chOff x="-2721817" y="782525"/>
                <a:chExt cx="432805" cy="400021"/>
              </a:xfrm>
            </p:grpSpPr>
            <p:sp>
              <p:nvSpPr>
                <p:cNvPr id="305" name="Rechthoek 304">
                  <a:extLst>
                    <a:ext uri="{FF2B5EF4-FFF2-40B4-BE49-F238E27FC236}">
                      <a16:creationId xmlns:a16="http://schemas.microsoft.com/office/drawing/2014/main" id="{BB7CB496-4839-4C32-BBC9-2CF9F95CAD3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06" name="Groep 305">
                  <a:extLst>
                    <a:ext uri="{FF2B5EF4-FFF2-40B4-BE49-F238E27FC236}">
                      <a16:creationId xmlns:a16="http://schemas.microsoft.com/office/drawing/2014/main" id="{3CCDEFB4-6B50-42AA-BCF5-989459930D65}"/>
                    </a:ext>
                  </a:extLst>
                </p:cNvPr>
                <p:cNvGrpSpPr/>
                <p:nvPr userDrawn="1"/>
              </p:nvGrpSpPr>
              <p:grpSpPr>
                <a:xfrm>
                  <a:off x="-2652453" y="866772"/>
                  <a:ext cx="294076" cy="231526"/>
                  <a:chOff x="-3310843" y="700986"/>
                  <a:chExt cx="182598" cy="143759"/>
                </a:xfrm>
              </p:grpSpPr>
              <p:grpSp>
                <p:nvGrpSpPr>
                  <p:cNvPr id="307" name="Groep 306">
                    <a:extLst>
                      <a:ext uri="{FF2B5EF4-FFF2-40B4-BE49-F238E27FC236}">
                        <a16:creationId xmlns:a16="http://schemas.microsoft.com/office/drawing/2014/main" id="{C571F501-17EB-471C-B103-A2ECE42DA026}"/>
                      </a:ext>
                    </a:extLst>
                  </p:cNvPr>
                  <p:cNvGrpSpPr/>
                  <p:nvPr userDrawn="1"/>
                </p:nvGrpSpPr>
                <p:grpSpPr>
                  <a:xfrm>
                    <a:off x="-3310843" y="700986"/>
                    <a:ext cx="182598" cy="143759"/>
                    <a:chOff x="-3310843" y="700986"/>
                    <a:chExt cx="182598" cy="143759"/>
                  </a:xfrm>
                </p:grpSpPr>
                <p:cxnSp>
                  <p:nvCxnSpPr>
                    <p:cNvPr id="311" name="Rechte verbindingslijn 310">
                      <a:extLst>
                        <a:ext uri="{FF2B5EF4-FFF2-40B4-BE49-F238E27FC236}">
                          <a16:creationId xmlns:a16="http://schemas.microsoft.com/office/drawing/2014/main" id="{423A8C73-3AEC-44FD-838B-F06C8FAF5EC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12" name="Rechte verbindingslijn 311">
                      <a:extLst>
                        <a:ext uri="{FF2B5EF4-FFF2-40B4-BE49-F238E27FC236}">
                          <a16:creationId xmlns:a16="http://schemas.microsoft.com/office/drawing/2014/main" id="{CA7BABB2-5A61-4001-BE84-72A7DCF6DA9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13" name="Rechte verbindingslijn 312">
                      <a:extLst>
                        <a:ext uri="{FF2B5EF4-FFF2-40B4-BE49-F238E27FC236}">
                          <a16:creationId xmlns:a16="http://schemas.microsoft.com/office/drawing/2014/main" id="{5EF8D43D-8971-4CDE-9BE5-331C595F45C4}"/>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14" name="Rechte verbindingslijn 313">
                      <a:extLst>
                        <a:ext uri="{FF2B5EF4-FFF2-40B4-BE49-F238E27FC236}">
                          <a16:creationId xmlns:a16="http://schemas.microsoft.com/office/drawing/2014/main" id="{E69EABD7-1018-4F1A-A7DC-654C2B63FA23}"/>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15" name="Rechte verbindingslijn 314">
                      <a:extLst>
                        <a:ext uri="{FF2B5EF4-FFF2-40B4-BE49-F238E27FC236}">
                          <a16:creationId xmlns:a16="http://schemas.microsoft.com/office/drawing/2014/main" id="{353F2881-7FAD-4C52-93D4-91A1B19FC86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08" name="Groep 307">
                    <a:extLst>
                      <a:ext uri="{FF2B5EF4-FFF2-40B4-BE49-F238E27FC236}">
                        <a16:creationId xmlns:a16="http://schemas.microsoft.com/office/drawing/2014/main" id="{1E606A95-0805-47B1-9C5F-28A16B1C00CD}"/>
                      </a:ext>
                    </a:extLst>
                  </p:cNvPr>
                  <p:cNvGrpSpPr/>
                  <p:nvPr userDrawn="1"/>
                </p:nvGrpSpPr>
                <p:grpSpPr>
                  <a:xfrm flipH="1">
                    <a:off x="-3310774" y="735854"/>
                    <a:ext cx="88801" cy="72568"/>
                    <a:chOff x="-2091059" y="1395403"/>
                    <a:chExt cx="157316" cy="128558"/>
                  </a:xfrm>
                </p:grpSpPr>
                <p:sp>
                  <p:nvSpPr>
                    <p:cNvPr id="309" name="Rechthoek 308">
                      <a:extLst>
                        <a:ext uri="{FF2B5EF4-FFF2-40B4-BE49-F238E27FC236}">
                          <a16:creationId xmlns:a16="http://schemas.microsoft.com/office/drawing/2014/main" id="{7EE29D92-967B-48CF-A5D2-E4B4B21B191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10" name="Pijl: punthaak 309">
                      <a:extLst>
                        <a:ext uri="{FF2B5EF4-FFF2-40B4-BE49-F238E27FC236}">
                          <a16:creationId xmlns:a16="http://schemas.microsoft.com/office/drawing/2014/main" id="{FBA67239-977D-440E-AE03-3AE3E028DBD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03" name="Rechthoek 302">
                <a:extLst>
                  <a:ext uri="{FF2B5EF4-FFF2-40B4-BE49-F238E27FC236}">
                    <a16:creationId xmlns:a16="http://schemas.microsoft.com/office/drawing/2014/main" id="{D979A2D8-81FE-4BCD-BADA-91AD8746A264}"/>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04" name="Rechthoek 303">
                <a:extLst>
                  <a:ext uri="{FF2B5EF4-FFF2-40B4-BE49-F238E27FC236}">
                    <a16:creationId xmlns:a16="http://schemas.microsoft.com/office/drawing/2014/main" id="{D68C72D0-9FD9-4693-981C-9B416A7D35B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77" name="Rechte verbindingslijn 276">
              <a:extLst>
                <a:ext uri="{FF2B5EF4-FFF2-40B4-BE49-F238E27FC236}">
                  <a16:creationId xmlns:a16="http://schemas.microsoft.com/office/drawing/2014/main" id="{6C0B3FB9-41CF-4BC6-98F9-D3CAAA322063}"/>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78" name="Rechthoek 277">
              <a:extLst>
                <a:ext uri="{FF2B5EF4-FFF2-40B4-BE49-F238E27FC236}">
                  <a16:creationId xmlns:a16="http://schemas.microsoft.com/office/drawing/2014/main" id="{40AA104A-4848-46BB-90CB-701EAF032CC2}"/>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79" name="Ovaal 278">
              <a:extLst>
                <a:ext uri="{FF2B5EF4-FFF2-40B4-BE49-F238E27FC236}">
                  <a16:creationId xmlns:a16="http://schemas.microsoft.com/office/drawing/2014/main" id="{8530AAB3-6524-4FB3-8C05-AE64885833F2}"/>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80" name="Rechthoek 279">
              <a:extLst>
                <a:ext uri="{FF2B5EF4-FFF2-40B4-BE49-F238E27FC236}">
                  <a16:creationId xmlns:a16="http://schemas.microsoft.com/office/drawing/2014/main" id="{33610B47-7565-4647-8573-576B6C3CDD1D}"/>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81" name="Ovaal 280">
              <a:extLst>
                <a:ext uri="{FF2B5EF4-FFF2-40B4-BE49-F238E27FC236}">
                  <a16:creationId xmlns:a16="http://schemas.microsoft.com/office/drawing/2014/main" id="{741069FF-A6CB-4546-BDA1-CBF693B8DF2B}"/>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82" name="Rechthoek 281">
              <a:extLst>
                <a:ext uri="{FF2B5EF4-FFF2-40B4-BE49-F238E27FC236}">
                  <a16:creationId xmlns:a16="http://schemas.microsoft.com/office/drawing/2014/main" id="{C479C393-5B63-4575-8739-3FD944333338}"/>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83" name="Ovaal 282">
              <a:extLst>
                <a:ext uri="{FF2B5EF4-FFF2-40B4-BE49-F238E27FC236}">
                  <a16:creationId xmlns:a16="http://schemas.microsoft.com/office/drawing/2014/main" id="{C8C6C7B0-3A42-4386-A401-0DDDA8347831}"/>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84" name="Rechthoek 283">
              <a:extLst>
                <a:ext uri="{FF2B5EF4-FFF2-40B4-BE49-F238E27FC236}">
                  <a16:creationId xmlns:a16="http://schemas.microsoft.com/office/drawing/2014/main" id="{A3E3C4BB-F431-4EBF-9487-AAFB25614F9C}"/>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85" name="Ovaal 284">
              <a:extLst>
                <a:ext uri="{FF2B5EF4-FFF2-40B4-BE49-F238E27FC236}">
                  <a16:creationId xmlns:a16="http://schemas.microsoft.com/office/drawing/2014/main" id="{453597BF-B3E9-4909-8674-E3F79EB1C33C}"/>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86" name="Rechthoek 285">
              <a:extLst>
                <a:ext uri="{FF2B5EF4-FFF2-40B4-BE49-F238E27FC236}">
                  <a16:creationId xmlns:a16="http://schemas.microsoft.com/office/drawing/2014/main" id="{4C673CB1-DAD9-42DC-96CC-94867620DF98}"/>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87" name="Rechthoek 286">
              <a:extLst>
                <a:ext uri="{FF2B5EF4-FFF2-40B4-BE49-F238E27FC236}">
                  <a16:creationId xmlns:a16="http://schemas.microsoft.com/office/drawing/2014/main" id="{E7F8FE0F-72BF-431D-8BB3-393A13A84BE9}"/>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88" name="Rechte verbindingslijn 287">
              <a:extLst>
                <a:ext uri="{FF2B5EF4-FFF2-40B4-BE49-F238E27FC236}">
                  <a16:creationId xmlns:a16="http://schemas.microsoft.com/office/drawing/2014/main" id="{72F79BD1-79D7-486F-B546-B8E1B4121840}"/>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89" name="Ovaal 288">
              <a:extLst>
                <a:ext uri="{FF2B5EF4-FFF2-40B4-BE49-F238E27FC236}">
                  <a16:creationId xmlns:a16="http://schemas.microsoft.com/office/drawing/2014/main" id="{89110FBF-F25A-48FF-BA54-6EAD12112972}"/>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90" name="Rechthoek 289">
              <a:extLst>
                <a:ext uri="{FF2B5EF4-FFF2-40B4-BE49-F238E27FC236}">
                  <a16:creationId xmlns:a16="http://schemas.microsoft.com/office/drawing/2014/main" id="{0A8FAFE3-8015-4785-A4A9-0BD9D9E6F9F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291" name="Ovaal 290">
              <a:extLst>
                <a:ext uri="{FF2B5EF4-FFF2-40B4-BE49-F238E27FC236}">
                  <a16:creationId xmlns:a16="http://schemas.microsoft.com/office/drawing/2014/main" id="{55C51649-CDB7-4785-BF19-34398664A7E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92" name="Rechthoek 291">
              <a:extLst>
                <a:ext uri="{FF2B5EF4-FFF2-40B4-BE49-F238E27FC236}">
                  <a16:creationId xmlns:a16="http://schemas.microsoft.com/office/drawing/2014/main" id="{A8BA24B8-E5F7-4048-8C16-644FB84F8C11}"/>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22160007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 AFBEELDING (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7752221"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70C1B01D-1909-4062-9272-B0E5D3E8E9BA}"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AFBEELDING (S)</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8832474" y="1459111"/>
            <a:ext cx="2819272" cy="4119774"/>
          </a:xfrm>
          <a:prstGeom prst="roundRect">
            <a:avLst>
              <a:gd name="adj" fmla="val 1562"/>
            </a:avLst>
          </a:prstGeom>
          <a:solidFill>
            <a:schemeClr val="bg1">
              <a:lumMod val="95000"/>
            </a:schemeClr>
          </a:solidFill>
        </p:spPr>
        <p:txBody>
          <a:bodyPr lIns="360000" tIns="1440000" rIns="36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2" name="GRID" hidden="1">
            <a:extLst>
              <a:ext uri="{FF2B5EF4-FFF2-40B4-BE49-F238E27FC236}">
                <a16:creationId xmlns:a16="http://schemas.microsoft.com/office/drawing/2014/main" id="{C42AEADD-90AA-4CF9-B896-108BD0FFACE5}"/>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370D5BF0-411F-4769-87C0-63A53818CE3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6843E4DB-0A3F-443B-A44D-A85AD0400025}"/>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7D5A30C-6BAE-46E0-BA71-5C4186933A3E}"/>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F4E021C-DEB6-42DB-871A-E48A7DF3DED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D98E327A-7F31-4F2A-930E-2BFAC599528C}"/>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16C884F-B8D4-4509-9B22-6F8E9E6C97B3}"/>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A63735F-2891-437D-95E5-0808C9F711AB}"/>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9FF037D6-F326-4BF0-8F52-0FE16061A5A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66B52DAF-8C4F-41DF-9671-BDF18B1B6331}"/>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A241D38C-B315-4984-9AB2-7ABDAFF1CF82}"/>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795BE662-EB07-4C9F-88DB-C3E73C447B52}"/>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311" name="Instructie">
            <a:extLst>
              <a:ext uri="{FF2B5EF4-FFF2-40B4-BE49-F238E27FC236}">
                <a16:creationId xmlns:a16="http://schemas.microsoft.com/office/drawing/2014/main" id="{6EC4EDE5-D76F-42E8-99B1-018BA2951E38}"/>
              </a:ext>
            </a:extLst>
          </p:cNvPr>
          <p:cNvGrpSpPr/>
          <p:nvPr userDrawn="1"/>
        </p:nvGrpSpPr>
        <p:grpSpPr>
          <a:xfrm>
            <a:off x="-3437547" y="1434"/>
            <a:ext cx="3201327" cy="6041867"/>
            <a:chOff x="-3437547" y="1434"/>
            <a:chExt cx="3201327" cy="6041867"/>
          </a:xfrm>
        </p:grpSpPr>
        <p:cxnSp>
          <p:nvCxnSpPr>
            <p:cNvPr id="312" name="Rechte verbindingslijn 311">
              <a:extLst>
                <a:ext uri="{FF2B5EF4-FFF2-40B4-BE49-F238E27FC236}">
                  <a16:creationId xmlns:a16="http://schemas.microsoft.com/office/drawing/2014/main" id="{FACF5DB2-5ABA-418F-9DCE-C8B6D935766E}"/>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3" name="Ovaal 312">
              <a:extLst>
                <a:ext uri="{FF2B5EF4-FFF2-40B4-BE49-F238E27FC236}">
                  <a16:creationId xmlns:a16="http://schemas.microsoft.com/office/drawing/2014/main" id="{4CB622CE-714B-4F19-B7A6-B17BBFA2B20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4" name="Rechthoek 313">
              <a:extLst>
                <a:ext uri="{FF2B5EF4-FFF2-40B4-BE49-F238E27FC236}">
                  <a16:creationId xmlns:a16="http://schemas.microsoft.com/office/drawing/2014/main" id="{A3B0D0C5-6650-4323-8DAA-A5E2EA39143D}"/>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5" name="Ovaal 314">
              <a:extLst>
                <a:ext uri="{FF2B5EF4-FFF2-40B4-BE49-F238E27FC236}">
                  <a16:creationId xmlns:a16="http://schemas.microsoft.com/office/drawing/2014/main" id="{933E596B-FFA4-4C73-9F62-F57FB44D0EC7}"/>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16" name="Rechthoek 315">
              <a:extLst>
                <a:ext uri="{FF2B5EF4-FFF2-40B4-BE49-F238E27FC236}">
                  <a16:creationId xmlns:a16="http://schemas.microsoft.com/office/drawing/2014/main" id="{47309AC9-396F-41EA-A05F-FCB6F8937834}"/>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7" name="Ovaal 316">
              <a:extLst>
                <a:ext uri="{FF2B5EF4-FFF2-40B4-BE49-F238E27FC236}">
                  <a16:creationId xmlns:a16="http://schemas.microsoft.com/office/drawing/2014/main" id="{8754AA08-735B-4C39-9384-CB1278D7405C}"/>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18" name="Rechthoek 317">
              <a:extLst>
                <a:ext uri="{FF2B5EF4-FFF2-40B4-BE49-F238E27FC236}">
                  <a16:creationId xmlns:a16="http://schemas.microsoft.com/office/drawing/2014/main" id="{65CBDEA3-1FF3-4432-B08E-E760C7A11EBC}"/>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19" name="Ovaal 318">
              <a:extLst>
                <a:ext uri="{FF2B5EF4-FFF2-40B4-BE49-F238E27FC236}">
                  <a16:creationId xmlns:a16="http://schemas.microsoft.com/office/drawing/2014/main" id="{7641AA04-F501-4A5E-AC0C-FA470C02EA52}"/>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0" name="Rechthoek 319">
              <a:extLst>
                <a:ext uri="{FF2B5EF4-FFF2-40B4-BE49-F238E27FC236}">
                  <a16:creationId xmlns:a16="http://schemas.microsoft.com/office/drawing/2014/main" id="{0EB3FBBB-E00F-4676-A881-4D0250504347}"/>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21" name="Rechthoek 320">
              <a:extLst>
                <a:ext uri="{FF2B5EF4-FFF2-40B4-BE49-F238E27FC236}">
                  <a16:creationId xmlns:a16="http://schemas.microsoft.com/office/drawing/2014/main" id="{080BC829-7C79-410E-84AD-AB37E26F111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2" name="Ovaal 321">
              <a:extLst>
                <a:ext uri="{FF2B5EF4-FFF2-40B4-BE49-F238E27FC236}">
                  <a16:creationId xmlns:a16="http://schemas.microsoft.com/office/drawing/2014/main" id="{4B754F7D-A3FB-4F5A-8930-FBF0BFCCFE0B}"/>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3" name="Rechte verbindingslijn 322">
              <a:extLst>
                <a:ext uri="{FF2B5EF4-FFF2-40B4-BE49-F238E27FC236}">
                  <a16:creationId xmlns:a16="http://schemas.microsoft.com/office/drawing/2014/main" id="{CD5C8E73-AEF1-4F0D-9D88-7DC726AF1174}"/>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4" name="Groep 323">
              <a:extLst>
                <a:ext uri="{FF2B5EF4-FFF2-40B4-BE49-F238E27FC236}">
                  <a16:creationId xmlns:a16="http://schemas.microsoft.com/office/drawing/2014/main" id="{EDAC08E1-768E-45CB-8DEF-06CAA9EBB5D7}"/>
                </a:ext>
              </a:extLst>
            </p:cNvPr>
            <p:cNvGrpSpPr/>
            <p:nvPr userDrawn="1"/>
          </p:nvGrpSpPr>
          <p:grpSpPr>
            <a:xfrm>
              <a:off x="-3437547" y="1295337"/>
              <a:ext cx="2933825" cy="558875"/>
              <a:chOff x="-3419346" y="368233"/>
              <a:chExt cx="3904920" cy="743862"/>
            </a:xfrm>
          </p:grpSpPr>
          <p:sp>
            <p:nvSpPr>
              <p:cNvPr id="341" name="Rechthoek 340">
                <a:extLst>
                  <a:ext uri="{FF2B5EF4-FFF2-40B4-BE49-F238E27FC236}">
                    <a16:creationId xmlns:a16="http://schemas.microsoft.com/office/drawing/2014/main" id="{9DA66142-124E-4A6A-AA99-8C97B74F0F4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2" name="Rechte verbindingslijn 341">
                <a:extLst>
                  <a:ext uri="{FF2B5EF4-FFF2-40B4-BE49-F238E27FC236}">
                    <a16:creationId xmlns:a16="http://schemas.microsoft.com/office/drawing/2014/main" id="{CFA9B92F-748A-4A77-8573-11CF6DCE0DB3}"/>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3" name="Rechte verbindingslijn 342">
                <a:extLst>
                  <a:ext uri="{FF2B5EF4-FFF2-40B4-BE49-F238E27FC236}">
                    <a16:creationId xmlns:a16="http://schemas.microsoft.com/office/drawing/2014/main" id="{8F1B524C-24EE-43CB-BBB7-2261BF93C91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4" name="Rechthoek 343">
                <a:extLst>
                  <a:ext uri="{FF2B5EF4-FFF2-40B4-BE49-F238E27FC236}">
                    <a16:creationId xmlns:a16="http://schemas.microsoft.com/office/drawing/2014/main" id="{EFA26898-2D89-403D-AF0D-234E565CF636}"/>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45" name="Groep 344">
                <a:extLst>
                  <a:ext uri="{FF2B5EF4-FFF2-40B4-BE49-F238E27FC236}">
                    <a16:creationId xmlns:a16="http://schemas.microsoft.com/office/drawing/2014/main" id="{DC7D3128-E12B-4ECE-A589-BBE7A81AF38E}"/>
                  </a:ext>
                </a:extLst>
              </p:cNvPr>
              <p:cNvGrpSpPr/>
              <p:nvPr userDrawn="1"/>
            </p:nvGrpSpPr>
            <p:grpSpPr>
              <a:xfrm>
                <a:off x="-3002834" y="720303"/>
                <a:ext cx="182598" cy="143759"/>
                <a:chOff x="-3310843" y="700986"/>
                <a:chExt cx="182598" cy="143759"/>
              </a:xfrm>
            </p:grpSpPr>
            <p:grpSp>
              <p:nvGrpSpPr>
                <p:cNvPr id="384" name="Groep 383">
                  <a:extLst>
                    <a:ext uri="{FF2B5EF4-FFF2-40B4-BE49-F238E27FC236}">
                      <a16:creationId xmlns:a16="http://schemas.microsoft.com/office/drawing/2014/main" id="{A2DEA057-FEA7-4D5C-A28B-6F3C7C71E0E2}"/>
                    </a:ext>
                  </a:extLst>
                </p:cNvPr>
                <p:cNvGrpSpPr/>
                <p:nvPr userDrawn="1"/>
              </p:nvGrpSpPr>
              <p:grpSpPr>
                <a:xfrm>
                  <a:off x="-3310843" y="700986"/>
                  <a:ext cx="182598" cy="143759"/>
                  <a:chOff x="-3310843" y="700986"/>
                  <a:chExt cx="182598" cy="143759"/>
                </a:xfrm>
              </p:grpSpPr>
              <p:cxnSp>
                <p:nvCxnSpPr>
                  <p:cNvPr id="388" name="Rechte verbindingslijn 387">
                    <a:extLst>
                      <a:ext uri="{FF2B5EF4-FFF2-40B4-BE49-F238E27FC236}">
                        <a16:creationId xmlns:a16="http://schemas.microsoft.com/office/drawing/2014/main" id="{2585BEBE-784B-4514-A895-AF1A9126C5D2}"/>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89" name="Rechte verbindingslijn 388">
                    <a:extLst>
                      <a:ext uri="{FF2B5EF4-FFF2-40B4-BE49-F238E27FC236}">
                        <a16:creationId xmlns:a16="http://schemas.microsoft.com/office/drawing/2014/main" id="{6ED62856-91FD-4925-A6B9-EEA30371B89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0" name="Rechte verbindingslijn 389">
                    <a:extLst>
                      <a:ext uri="{FF2B5EF4-FFF2-40B4-BE49-F238E27FC236}">
                        <a16:creationId xmlns:a16="http://schemas.microsoft.com/office/drawing/2014/main" id="{DA802B00-DF4A-42F3-B849-94BCCDCEC4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58CA2412-7824-4571-A066-7997DEA4A741}"/>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E21AEC1F-2229-442D-9B67-ACFAB7690A58}"/>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85" name="Groep 384">
                  <a:extLst>
                    <a:ext uri="{FF2B5EF4-FFF2-40B4-BE49-F238E27FC236}">
                      <a16:creationId xmlns:a16="http://schemas.microsoft.com/office/drawing/2014/main" id="{33F47883-1082-408E-A24D-3F397A59BCDD}"/>
                    </a:ext>
                  </a:extLst>
                </p:cNvPr>
                <p:cNvGrpSpPr/>
                <p:nvPr userDrawn="1"/>
              </p:nvGrpSpPr>
              <p:grpSpPr>
                <a:xfrm flipH="1">
                  <a:off x="-3310774" y="735854"/>
                  <a:ext cx="88801" cy="72568"/>
                  <a:chOff x="-2091059" y="1395403"/>
                  <a:chExt cx="157316" cy="128558"/>
                </a:xfrm>
              </p:grpSpPr>
              <p:sp>
                <p:nvSpPr>
                  <p:cNvPr id="386" name="Rechthoek 385">
                    <a:extLst>
                      <a:ext uri="{FF2B5EF4-FFF2-40B4-BE49-F238E27FC236}">
                        <a16:creationId xmlns:a16="http://schemas.microsoft.com/office/drawing/2014/main" id="{6EF6CAA6-E626-481C-B9BD-B6F6309B97E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7" name="Pijl: punthaak 386">
                    <a:extLst>
                      <a:ext uri="{FF2B5EF4-FFF2-40B4-BE49-F238E27FC236}">
                        <a16:creationId xmlns:a16="http://schemas.microsoft.com/office/drawing/2014/main" id="{592E89F8-EE36-4B11-B44D-71F9D2A0F8E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46" name="Groep 345">
                <a:extLst>
                  <a:ext uri="{FF2B5EF4-FFF2-40B4-BE49-F238E27FC236}">
                    <a16:creationId xmlns:a16="http://schemas.microsoft.com/office/drawing/2014/main" id="{2B1E59A3-A674-4FC8-96F9-6EB7F00F3F38}"/>
                  </a:ext>
                </a:extLst>
              </p:cNvPr>
              <p:cNvGrpSpPr/>
              <p:nvPr userDrawn="1"/>
            </p:nvGrpSpPr>
            <p:grpSpPr>
              <a:xfrm>
                <a:off x="-3326107" y="720303"/>
                <a:ext cx="182598" cy="143759"/>
                <a:chOff x="-3634116" y="700986"/>
                <a:chExt cx="182598" cy="143759"/>
              </a:xfrm>
            </p:grpSpPr>
            <p:grpSp>
              <p:nvGrpSpPr>
                <p:cNvPr id="375" name="Groep 374">
                  <a:extLst>
                    <a:ext uri="{FF2B5EF4-FFF2-40B4-BE49-F238E27FC236}">
                      <a16:creationId xmlns:a16="http://schemas.microsoft.com/office/drawing/2014/main" id="{1C3E57BA-516B-42D5-BD12-71D3CCC75570}"/>
                    </a:ext>
                  </a:extLst>
                </p:cNvPr>
                <p:cNvGrpSpPr/>
                <p:nvPr userDrawn="1"/>
              </p:nvGrpSpPr>
              <p:grpSpPr>
                <a:xfrm>
                  <a:off x="-3634116" y="700986"/>
                  <a:ext cx="182598" cy="143759"/>
                  <a:chOff x="-3634116" y="700986"/>
                  <a:chExt cx="182598" cy="143759"/>
                </a:xfrm>
              </p:grpSpPr>
              <p:cxnSp>
                <p:nvCxnSpPr>
                  <p:cNvPr id="379" name="Rechte verbindingslijn 378">
                    <a:extLst>
                      <a:ext uri="{FF2B5EF4-FFF2-40B4-BE49-F238E27FC236}">
                        <a16:creationId xmlns:a16="http://schemas.microsoft.com/office/drawing/2014/main" id="{A2F5093B-6601-4390-8FE6-5367351A565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932800E5-6A0B-4BBC-991C-2ABFB450E8E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1" name="Rechte verbindingslijn 380">
                    <a:extLst>
                      <a:ext uri="{FF2B5EF4-FFF2-40B4-BE49-F238E27FC236}">
                        <a16:creationId xmlns:a16="http://schemas.microsoft.com/office/drawing/2014/main" id="{D2826148-49A7-4A12-8F71-61E8BF8ED440}"/>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9A05BCD9-A886-4B24-898D-CA12B80F267E}"/>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EFAEF72F-6930-4549-AA1A-E8C32D2B30D0}"/>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76" name="Groep 375">
                  <a:extLst>
                    <a:ext uri="{FF2B5EF4-FFF2-40B4-BE49-F238E27FC236}">
                      <a16:creationId xmlns:a16="http://schemas.microsoft.com/office/drawing/2014/main" id="{BC0E46A3-A281-4870-88AA-644133C509E0}"/>
                    </a:ext>
                  </a:extLst>
                </p:cNvPr>
                <p:cNvGrpSpPr/>
                <p:nvPr userDrawn="1"/>
              </p:nvGrpSpPr>
              <p:grpSpPr>
                <a:xfrm>
                  <a:off x="-3634047" y="735854"/>
                  <a:ext cx="88801" cy="72568"/>
                  <a:chOff x="-2091059" y="1395403"/>
                  <a:chExt cx="157316" cy="128558"/>
                </a:xfrm>
              </p:grpSpPr>
              <p:sp>
                <p:nvSpPr>
                  <p:cNvPr id="377" name="Rechthoek 376">
                    <a:extLst>
                      <a:ext uri="{FF2B5EF4-FFF2-40B4-BE49-F238E27FC236}">
                        <a16:creationId xmlns:a16="http://schemas.microsoft.com/office/drawing/2014/main" id="{69565C2C-6843-493F-81DB-0603A5E2A98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8" name="Pijl: punthaak 377">
                    <a:extLst>
                      <a:ext uri="{FF2B5EF4-FFF2-40B4-BE49-F238E27FC236}">
                        <a16:creationId xmlns:a16="http://schemas.microsoft.com/office/drawing/2014/main" id="{AA4ED2F2-FC6A-46F4-8942-D8CF9F09E6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47" name="Rechte verbindingslijn 346">
                <a:extLst>
                  <a:ext uri="{FF2B5EF4-FFF2-40B4-BE49-F238E27FC236}">
                    <a16:creationId xmlns:a16="http://schemas.microsoft.com/office/drawing/2014/main" id="{041F7ABF-DE3C-4069-B83B-FDB8D461DCE7}"/>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48" name="Rechte verbindingslijn 347">
                <a:extLst>
                  <a:ext uri="{FF2B5EF4-FFF2-40B4-BE49-F238E27FC236}">
                    <a16:creationId xmlns:a16="http://schemas.microsoft.com/office/drawing/2014/main" id="{985D3FD8-A92C-46DD-A624-8208431B3B2C}"/>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49" name="Groep 348">
                <a:extLst>
                  <a:ext uri="{FF2B5EF4-FFF2-40B4-BE49-F238E27FC236}">
                    <a16:creationId xmlns:a16="http://schemas.microsoft.com/office/drawing/2014/main" id="{63692241-10BA-40DA-A765-D426FE5784A9}"/>
                  </a:ext>
                </a:extLst>
              </p:cNvPr>
              <p:cNvGrpSpPr/>
              <p:nvPr userDrawn="1"/>
            </p:nvGrpSpPr>
            <p:grpSpPr>
              <a:xfrm>
                <a:off x="-2425037" y="370226"/>
                <a:ext cx="357690" cy="330595"/>
                <a:chOff x="-2721817" y="347336"/>
                <a:chExt cx="432805" cy="400021"/>
              </a:xfrm>
            </p:grpSpPr>
            <p:sp>
              <p:nvSpPr>
                <p:cNvPr id="364" name="Rechthoek 363">
                  <a:extLst>
                    <a:ext uri="{FF2B5EF4-FFF2-40B4-BE49-F238E27FC236}">
                      <a16:creationId xmlns:a16="http://schemas.microsoft.com/office/drawing/2014/main" id="{1AB73BB9-5307-4CE6-B310-ABB6C55FA3B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65" name="Groep 364">
                  <a:extLst>
                    <a:ext uri="{FF2B5EF4-FFF2-40B4-BE49-F238E27FC236}">
                      <a16:creationId xmlns:a16="http://schemas.microsoft.com/office/drawing/2014/main" id="{7050BBFE-A35A-4E23-AB7A-036B417D2BC6}"/>
                    </a:ext>
                  </a:extLst>
                </p:cNvPr>
                <p:cNvGrpSpPr/>
                <p:nvPr userDrawn="1"/>
              </p:nvGrpSpPr>
              <p:grpSpPr>
                <a:xfrm>
                  <a:off x="-2652453" y="431583"/>
                  <a:ext cx="294076" cy="231526"/>
                  <a:chOff x="-3634116" y="700986"/>
                  <a:chExt cx="182598" cy="143759"/>
                </a:xfrm>
              </p:grpSpPr>
              <p:grpSp>
                <p:nvGrpSpPr>
                  <p:cNvPr id="366" name="Groep 365">
                    <a:extLst>
                      <a:ext uri="{FF2B5EF4-FFF2-40B4-BE49-F238E27FC236}">
                        <a16:creationId xmlns:a16="http://schemas.microsoft.com/office/drawing/2014/main" id="{4900E8C6-DC4B-48F2-B47F-7442887733A7}"/>
                      </a:ext>
                    </a:extLst>
                  </p:cNvPr>
                  <p:cNvGrpSpPr/>
                  <p:nvPr userDrawn="1"/>
                </p:nvGrpSpPr>
                <p:grpSpPr>
                  <a:xfrm>
                    <a:off x="-3634116" y="700986"/>
                    <a:ext cx="182598" cy="143759"/>
                    <a:chOff x="-3634116" y="700986"/>
                    <a:chExt cx="182598" cy="143759"/>
                  </a:xfrm>
                </p:grpSpPr>
                <p:cxnSp>
                  <p:nvCxnSpPr>
                    <p:cNvPr id="370" name="Rechte verbindingslijn 369">
                      <a:extLst>
                        <a:ext uri="{FF2B5EF4-FFF2-40B4-BE49-F238E27FC236}">
                          <a16:creationId xmlns:a16="http://schemas.microsoft.com/office/drawing/2014/main" id="{2AD75CF8-F235-43E4-8EBF-BCB0C6FEF72A}"/>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1" name="Rechte verbindingslijn 370">
                      <a:extLst>
                        <a:ext uri="{FF2B5EF4-FFF2-40B4-BE49-F238E27FC236}">
                          <a16:creationId xmlns:a16="http://schemas.microsoft.com/office/drawing/2014/main" id="{0ABA2FE7-97F3-408A-9795-C13CE32FD53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2" name="Rechte verbindingslijn 371">
                      <a:extLst>
                        <a:ext uri="{FF2B5EF4-FFF2-40B4-BE49-F238E27FC236}">
                          <a16:creationId xmlns:a16="http://schemas.microsoft.com/office/drawing/2014/main" id="{BB56F574-CB03-427E-80BD-88FDF8C8835E}"/>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3" name="Rechte verbindingslijn 372">
                      <a:extLst>
                        <a:ext uri="{FF2B5EF4-FFF2-40B4-BE49-F238E27FC236}">
                          <a16:creationId xmlns:a16="http://schemas.microsoft.com/office/drawing/2014/main" id="{92BDBBE3-3134-4431-AA15-33D05C56B0DD}"/>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4" name="Rechte verbindingslijn 373">
                      <a:extLst>
                        <a:ext uri="{FF2B5EF4-FFF2-40B4-BE49-F238E27FC236}">
                          <a16:creationId xmlns:a16="http://schemas.microsoft.com/office/drawing/2014/main" id="{3D77D2D0-8677-45BD-9A26-EBAF0A6D435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67" name="Groep 366">
                    <a:extLst>
                      <a:ext uri="{FF2B5EF4-FFF2-40B4-BE49-F238E27FC236}">
                        <a16:creationId xmlns:a16="http://schemas.microsoft.com/office/drawing/2014/main" id="{3191988B-A423-4740-B746-736CEB6161F4}"/>
                      </a:ext>
                    </a:extLst>
                  </p:cNvPr>
                  <p:cNvGrpSpPr/>
                  <p:nvPr userDrawn="1"/>
                </p:nvGrpSpPr>
                <p:grpSpPr>
                  <a:xfrm>
                    <a:off x="-3634047" y="735854"/>
                    <a:ext cx="88801" cy="72568"/>
                    <a:chOff x="-2091059" y="1395403"/>
                    <a:chExt cx="157316" cy="128558"/>
                  </a:xfrm>
                </p:grpSpPr>
                <p:sp>
                  <p:nvSpPr>
                    <p:cNvPr id="368" name="Rechthoek 367">
                      <a:extLst>
                        <a:ext uri="{FF2B5EF4-FFF2-40B4-BE49-F238E27FC236}">
                          <a16:creationId xmlns:a16="http://schemas.microsoft.com/office/drawing/2014/main" id="{9836BB2F-0E2F-4B70-8ED0-BAB1DB9352A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9" name="Pijl: punthaak 368">
                      <a:extLst>
                        <a:ext uri="{FF2B5EF4-FFF2-40B4-BE49-F238E27FC236}">
                          <a16:creationId xmlns:a16="http://schemas.microsoft.com/office/drawing/2014/main" id="{6E04973E-FDFE-4561-B2C8-0158E486E22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0" name="Groep 349">
                <a:extLst>
                  <a:ext uri="{FF2B5EF4-FFF2-40B4-BE49-F238E27FC236}">
                    <a16:creationId xmlns:a16="http://schemas.microsoft.com/office/drawing/2014/main" id="{4D9F4F4D-120F-4CF2-BDB2-B517DE892175}"/>
                  </a:ext>
                </a:extLst>
              </p:cNvPr>
              <p:cNvGrpSpPr/>
              <p:nvPr userDrawn="1"/>
            </p:nvGrpSpPr>
            <p:grpSpPr>
              <a:xfrm>
                <a:off x="-2425037" y="781500"/>
                <a:ext cx="357690" cy="330595"/>
                <a:chOff x="-2721817" y="782525"/>
                <a:chExt cx="432805" cy="400021"/>
              </a:xfrm>
            </p:grpSpPr>
            <p:sp>
              <p:nvSpPr>
                <p:cNvPr id="353" name="Rechthoek 352">
                  <a:extLst>
                    <a:ext uri="{FF2B5EF4-FFF2-40B4-BE49-F238E27FC236}">
                      <a16:creationId xmlns:a16="http://schemas.microsoft.com/office/drawing/2014/main" id="{78A68044-80C9-46AA-AB89-69790C3962A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4" name="Groep 353">
                  <a:extLst>
                    <a:ext uri="{FF2B5EF4-FFF2-40B4-BE49-F238E27FC236}">
                      <a16:creationId xmlns:a16="http://schemas.microsoft.com/office/drawing/2014/main" id="{82A7C0C9-83B2-4948-8D8D-EF3C433A3F37}"/>
                    </a:ext>
                  </a:extLst>
                </p:cNvPr>
                <p:cNvGrpSpPr/>
                <p:nvPr userDrawn="1"/>
              </p:nvGrpSpPr>
              <p:grpSpPr>
                <a:xfrm>
                  <a:off x="-2652453" y="866772"/>
                  <a:ext cx="294076" cy="231526"/>
                  <a:chOff x="-3310843" y="700986"/>
                  <a:chExt cx="182598" cy="143759"/>
                </a:xfrm>
              </p:grpSpPr>
              <p:grpSp>
                <p:nvGrpSpPr>
                  <p:cNvPr id="355" name="Groep 354">
                    <a:extLst>
                      <a:ext uri="{FF2B5EF4-FFF2-40B4-BE49-F238E27FC236}">
                        <a16:creationId xmlns:a16="http://schemas.microsoft.com/office/drawing/2014/main" id="{5EC5AD4E-00E6-438F-8D25-C17EC55CF177}"/>
                      </a:ext>
                    </a:extLst>
                  </p:cNvPr>
                  <p:cNvGrpSpPr/>
                  <p:nvPr userDrawn="1"/>
                </p:nvGrpSpPr>
                <p:grpSpPr>
                  <a:xfrm>
                    <a:off x="-3310843" y="700986"/>
                    <a:ext cx="182598" cy="143759"/>
                    <a:chOff x="-3310843" y="700986"/>
                    <a:chExt cx="182598" cy="143759"/>
                  </a:xfrm>
                </p:grpSpPr>
                <p:cxnSp>
                  <p:nvCxnSpPr>
                    <p:cNvPr id="359" name="Rechte verbindingslijn 358">
                      <a:extLst>
                        <a:ext uri="{FF2B5EF4-FFF2-40B4-BE49-F238E27FC236}">
                          <a16:creationId xmlns:a16="http://schemas.microsoft.com/office/drawing/2014/main" id="{F586A73D-E565-4E0C-855B-59C4D7D7DD8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0" name="Rechte verbindingslijn 359">
                      <a:extLst>
                        <a:ext uri="{FF2B5EF4-FFF2-40B4-BE49-F238E27FC236}">
                          <a16:creationId xmlns:a16="http://schemas.microsoft.com/office/drawing/2014/main" id="{CBC3761A-5808-4C8B-9C55-5C48B34CA743}"/>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1" name="Rechte verbindingslijn 360">
                      <a:extLst>
                        <a:ext uri="{FF2B5EF4-FFF2-40B4-BE49-F238E27FC236}">
                          <a16:creationId xmlns:a16="http://schemas.microsoft.com/office/drawing/2014/main" id="{826EECE1-F2E6-4E25-8B52-2A9F25A1463B}"/>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2A37E3DE-5E44-41FF-B70B-000D642862D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3" name="Rechte verbindingslijn 362">
                      <a:extLst>
                        <a:ext uri="{FF2B5EF4-FFF2-40B4-BE49-F238E27FC236}">
                          <a16:creationId xmlns:a16="http://schemas.microsoft.com/office/drawing/2014/main" id="{3C44D74D-9DAB-4642-B177-CC4186CC575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56" name="Groep 355">
                    <a:extLst>
                      <a:ext uri="{FF2B5EF4-FFF2-40B4-BE49-F238E27FC236}">
                        <a16:creationId xmlns:a16="http://schemas.microsoft.com/office/drawing/2014/main" id="{F90E9ED6-7F69-4EE5-B45A-DA998970F8A5}"/>
                      </a:ext>
                    </a:extLst>
                  </p:cNvPr>
                  <p:cNvGrpSpPr/>
                  <p:nvPr userDrawn="1"/>
                </p:nvGrpSpPr>
                <p:grpSpPr>
                  <a:xfrm flipH="1">
                    <a:off x="-3310774" y="735854"/>
                    <a:ext cx="88801" cy="72568"/>
                    <a:chOff x="-2091059" y="1395403"/>
                    <a:chExt cx="157316" cy="128558"/>
                  </a:xfrm>
                </p:grpSpPr>
                <p:sp>
                  <p:nvSpPr>
                    <p:cNvPr id="357" name="Rechthoek 356">
                      <a:extLst>
                        <a:ext uri="{FF2B5EF4-FFF2-40B4-BE49-F238E27FC236}">
                          <a16:creationId xmlns:a16="http://schemas.microsoft.com/office/drawing/2014/main" id="{48C720B0-5B50-4EB2-9830-559DC775B33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58" name="Pijl: punthaak 357">
                      <a:extLst>
                        <a:ext uri="{FF2B5EF4-FFF2-40B4-BE49-F238E27FC236}">
                          <a16:creationId xmlns:a16="http://schemas.microsoft.com/office/drawing/2014/main" id="{5D37504B-BF55-4936-B4AD-73EA6C83F91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1" name="Rechthoek 350">
                <a:extLst>
                  <a:ext uri="{FF2B5EF4-FFF2-40B4-BE49-F238E27FC236}">
                    <a16:creationId xmlns:a16="http://schemas.microsoft.com/office/drawing/2014/main" id="{B00C6C92-B3F8-4BE5-BD75-9855319C87C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2" name="Rechthoek 351">
                <a:extLst>
                  <a:ext uri="{FF2B5EF4-FFF2-40B4-BE49-F238E27FC236}">
                    <a16:creationId xmlns:a16="http://schemas.microsoft.com/office/drawing/2014/main" id="{98D1D357-2F34-4A4E-8E12-4A703EB67C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25" name="Rechte verbindingslijn 324">
              <a:extLst>
                <a:ext uri="{FF2B5EF4-FFF2-40B4-BE49-F238E27FC236}">
                  <a16:creationId xmlns:a16="http://schemas.microsoft.com/office/drawing/2014/main" id="{78204972-6B44-4A43-B7E9-847E7C5BF9EE}"/>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26" name="Rechthoek 325">
              <a:extLst>
                <a:ext uri="{FF2B5EF4-FFF2-40B4-BE49-F238E27FC236}">
                  <a16:creationId xmlns:a16="http://schemas.microsoft.com/office/drawing/2014/main" id="{518BFF35-59B7-4758-8E44-207484C0F3B1}"/>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7" name="Ovaal 326">
              <a:extLst>
                <a:ext uri="{FF2B5EF4-FFF2-40B4-BE49-F238E27FC236}">
                  <a16:creationId xmlns:a16="http://schemas.microsoft.com/office/drawing/2014/main" id="{86267990-F8CA-46B4-84B9-4547231FF171}"/>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28" name="Rechthoek 327">
              <a:extLst>
                <a:ext uri="{FF2B5EF4-FFF2-40B4-BE49-F238E27FC236}">
                  <a16:creationId xmlns:a16="http://schemas.microsoft.com/office/drawing/2014/main" id="{ACB3F05C-7A84-41B2-80AA-ED6E8C37175C}"/>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29" name="Ovaal 328">
              <a:extLst>
                <a:ext uri="{FF2B5EF4-FFF2-40B4-BE49-F238E27FC236}">
                  <a16:creationId xmlns:a16="http://schemas.microsoft.com/office/drawing/2014/main" id="{67061E4C-F3E4-4983-974A-4AFF29940EDF}"/>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0" name="Rechthoek 329">
              <a:extLst>
                <a:ext uri="{FF2B5EF4-FFF2-40B4-BE49-F238E27FC236}">
                  <a16:creationId xmlns:a16="http://schemas.microsoft.com/office/drawing/2014/main" id="{1799E384-7B67-4008-837C-A03B932F5D8A}"/>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1" name="Ovaal 330">
              <a:extLst>
                <a:ext uri="{FF2B5EF4-FFF2-40B4-BE49-F238E27FC236}">
                  <a16:creationId xmlns:a16="http://schemas.microsoft.com/office/drawing/2014/main" id="{9A597F4B-15B3-4698-AB4D-65F88C53DF85}"/>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2" name="Rechthoek 331">
              <a:extLst>
                <a:ext uri="{FF2B5EF4-FFF2-40B4-BE49-F238E27FC236}">
                  <a16:creationId xmlns:a16="http://schemas.microsoft.com/office/drawing/2014/main" id="{C24DA2C7-923C-47A4-8502-A5517BEF5FB4}"/>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3" name="Ovaal 332">
              <a:extLst>
                <a:ext uri="{FF2B5EF4-FFF2-40B4-BE49-F238E27FC236}">
                  <a16:creationId xmlns:a16="http://schemas.microsoft.com/office/drawing/2014/main" id="{4C3C64EB-8D14-402E-BFE0-4915CF3A7E9D}"/>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4" name="Rechthoek 333">
              <a:extLst>
                <a:ext uri="{FF2B5EF4-FFF2-40B4-BE49-F238E27FC236}">
                  <a16:creationId xmlns:a16="http://schemas.microsoft.com/office/drawing/2014/main" id="{ADBF0AF2-ECF6-48C9-B191-6E26AF901E4C}"/>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35" name="Rechthoek 334">
              <a:extLst>
                <a:ext uri="{FF2B5EF4-FFF2-40B4-BE49-F238E27FC236}">
                  <a16:creationId xmlns:a16="http://schemas.microsoft.com/office/drawing/2014/main" id="{5DEBACAE-13B5-4EB4-A649-E200B928314B}"/>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36" name="Rechte verbindingslijn 335">
              <a:extLst>
                <a:ext uri="{FF2B5EF4-FFF2-40B4-BE49-F238E27FC236}">
                  <a16:creationId xmlns:a16="http://schemas.microsoft.com/office/drawing/2014/main" id="{F7884B7C-59B4-4076-9A85-95DE96F2AFBD}"/>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37" name="Ovaal 336">
              <a:extLst>
                <a:ext uri="{FF2B5EF4-FFF2-40B4-BE49-F238E27FC236}">
                  <a16:creationId xmlns:a16="http://schemas.microsoft.com/office/drawing/2014/main" id="{B2F7E009-2459-4175-B7E9-C62CBD7E968C}"/>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38" name="Rechthoek 337">
              <a:extLst>
                <a:ext uri="{FF2B5EF4-FFF2-40B4-BE49-F238E27FC236}">
                  <a16:creationId xmlns:a16="http://schemas.microsoft.com/office/drawing/2014/main" id="{CDAB2D64-0C51-49B5-8FCE-67ED4BF759E4}"/>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39" name="Ovaal 338">
              <a:extLst>
                <a:ext uri="{FF2B5EF4-FFF2-40B4-BE49-F238E27FC236}">
                  <a16:creationId xmlns:a16="http://schemas.microsoft.com/office/drawing/2014/main" id="{6B81766F-CCFC-401B-8C8C-06BA48813040}"/>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0" name="Rechthoek 339">
              <a:extLst>
                <a:ext uri="{FF2B5EF4-FFF2-40B4-BE49-F238E27FC236}">
                  <a16:creationId xmlns:a16="http://schemas.microsoft.com/office/drawing/2014/main" id="{ACAC3F63-9E69-41A5-9149-58F2682A4DBE}"/>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9" name="Groep 8">
            <a:extLst>
              <a:ext uri="{FF2B5EF4-FFF2-40B4-BE49-F238E27FC236}">
                <a16:creationId xmlns:a16="http://schemas.microsoft.com/office/drawing/2014/main" id="{F331B0C3-F4A4-4D40-9C26-BE456E58414C}"/>
              </a:ext>
            </a:extLst>
          </p:cNvPr>
          <p:cNvGrpSpPr/>
          <p:nvPr userDrawn="1"/>
        </p:nvGrpSpPr>
        <p:grpSpPr>
          <a:xfrm>
            <a:off x="12391601" y="0"/>
            <a:ext cx="3183678" cy="4278621"/>
            <a:chOff x="12391601" y="0"/>
            <a:chExt cx="3183678" cy="4278621"/>
          </a:xfrm>
        </p:grpSpPr>
        <p:sp>
          <p:nvSpPr>
            <p:cNvPr id="111" name="Rechthoek 110">
              <a:extLst>
                <a:ext uri="{FF2B5EF4-FFF2-40B4-BE49-F238E27FC236}">
                  <a16:creationId xmlns:a16="http://schemas.microsoft.com/office/drawing/2014/main" id="{88B549F8-A4C9-4E44-ABAC-AECE120C4AD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12" name="Ovaal 111">
              <a:extLst>
                <a:ext uri="{FF2B5EF4-FFF2-40B4-BE49-F238E27FC236}">
                  <a16:creationId xmlns:a16="http://schemas.microsoft.com/office/drawing/2014/main" id="{56811862-094F-4DCA-BADC-8B091B946AB6}"/>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3" name="Rechte verbindingslijn 112">
              <a:extLst>
                <a:ext uri="{FF2B5EF4-FFF2-40B4-BE49-F238E27FC236}">
                  <a16:creationId xmlns:a16="http://schemas.microsoft.com/office/drawing/2014/main" id="{796B5794-0377-4A06-A8A1-9E2B295DE245}"/>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14" name="Rechte verbindingslijn 113">
              <a:extLst>
                <a:ext uri="{FF2B5EF4-FFF2-40B4-BE49-F238E27FC236}">
                  <a16:creationId xmlns:a16="http://schemas.microsoft.com/office/drawing/2014/main" id="{B4BDD475-CFB3-4ABB-9B3C-20C2996A562D}"/>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15" name="Rechthoek 114">
              <a:extLst>
                <a:ext uri="{FF2B5EF4-FFF2-40B4-BE49-F238E27FC236}">
                  <a16:creationId xmlns:a16="http://schemas.microsoft.com/office/drawing/2014/main" id="{A021DF6F-2FB4-45A7-A889-3E9EF31A71D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16" name="Rechte verbindingslijn 115">
              <a:extLst>
                <a:ext uri="{FF2B5EF4-FFF2-40B4-BE49-F238E27FC236}">
                  <a16:creationId xmlns:a16="http://schemas.microsoft.com/office/drawing/2014/main" id="{10BFE8CA-50E9-4C86-B0A1-7BC5D839AEAE}"/>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17" name="Ovaal 116">
              <a:extLst>
                <a:ext uri="{FF2B5EF4-FFF2-40B4-BE49-F238E27FC236}">
                  <a16:creationId xmlns:a16="http://schemas.microsoft.com/office/drawing/2014/main" id="{F5885AC9-2261-4670-B1B0-143BC8CB6BB3}"/>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8" name="Rechthoek 117">
              <a:extLst>
                <a:ext uri="{FF2B5EF4-FFF2-40B4-BE49-F238E27FC236}">
                  <a16:creationId xmlns:a16="http://schemas.microsoft.com/office/drawing/2014/main" id="{22384295-B68B-49EB-8DC8-C03720826EE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19" name="Groep 118">
              <a:extLst>
                <a:ext uri="{FF2B5EF4-FFF2-40B4-BE49-F238E27FC236}">
                  <a16:creationId xmlns:a16="http://schemas.microsoft.com/office/drawing/2014/main" id="{855E9B9C-52C5-400D-80A5-D7003710502F}"/>
                </a:ext>
              </a:extLst>
            </p:cNvPr>
            <p:cNvGrpSpPr/>
            <p:nvPr userDrawn="1"/>
          </p:nvGrpSpPr>
          <p:grpSpPr>
            <a:xfrm>
              <a:off x="12757282" y="2184550"/>
              <a:ext cx="825500" cy="209550"/>
              <a:chOff x="13504624" y="2482850"/>
              <a:chExt cx="825500" cy="209550"/>
            </a:xfrm>
          </p:grpSpPr>
          <p:sp>
            <p:nvSpPr>
              <p:cNvPr id="147" name="Rechthoek 146">
                <a:extLst>
                  <a:ext uri="{FF2B5EF4-FFF2-40B4-BE49-F238E27FC236}">
                    <a16:creationId xmlns:a16="http://schemas.microsoft.com/office/drawing/2014/main" id="{D122E4A9-0414-463C-A582-2F51D35C4DD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48" name="Rechte verbindingslijn 147">
                <a:extLst>
                  <a:ext uri="{FF2B5EF4-FFF2-40B4-BE49-F238E27FC236}">
                    <a16:creationId xmlns:a16="http://schemas.microsoft.com/office/drawing/2014/main" id="{30BA7DAB-407A-47F9-9287-F44B3512C86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9" name="Gelijkbenige driehoek 148">
                <a:extLst>
                  <a:ext uri="{FF2B5EF4-FFF2-40B4-BE49-F238E27FC236}">
                    <a16:creationId xmlns:a16="http://schemas.microsoft.com/office/drawing/2014/main" id="{6E08367C-0759-47FA-8076-506285DAF1D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20" name="Groep 119">
              <a:extLst>
                <a:ext uri="{FF2B5EF4-FFF2-40B4-BE49-F238E27FC236}">
                  <a16:creationId xmlns:a16="http://schemas.microsoft.com/office/drawing/2014/main" id="{1464CAFD-FD2B-463E-9E14-858F0428FE99}"/>
                </a:ext>
              </a:extLst>
            </p:cNvPr>
            <p:cNvGrpSpPr/>
            <p:nvPr userDrawn="1"/>
          </p:nvGrpSpPr>
          <p:grpSpPr>
            <a:xfrm>
              <a:off x="12757282" y="1141626"/>
              <a:ext cx="294789" cy="318834"/>
              <a:chOff x="14466489" y="1001522"/>
              <a:chExt cx="290627" cy="314333"/>
            </a:xfrm>
          </p:grpSpPr>
          <p:sp>
            <p:nvSpPr>
              <p:cNvPr id="141" name="Rechthoek 140">
                <a:extLst>
                  <a:ext uri="{FF2B5EF4-FFF2-40B4-BE49-F238E27FC236}">
                    <a16:creationId xmlns:a16="http://schemas.microsoft.com/office/drawing/2014/main" id="{14D17561-A4AC-4017-8908-102F1C613C1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42" name="Ovaal 141">
                <a:extLst>
                  <a:ext uri="{FF2B5EF4-FFF2-40B4-BE49-F238E27FC236}">
                    <a16:creationId xmlns:a16="http://schemas.microsoft.com/office/drawing/2014/main" id="{4D09424B-7758-435E-B549-4C591C992AC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43" name="Vrije vorm: vorm 142">
                <a:extLst>
                  <a:ext uri="{FF2B5EF4-FFF2-40B4-BE49-F238E27FC236}">
                    <a16:creationId xmlns:a16="http://schemas.microsoft.com/office/drawing/2014/main" id="{9B1870CF-92F0-49E0-822D-045B8027711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44" name="Rechthoek: afgeronde hoeken 143">
                <a:extLst>
                  <a:ext uri="{FF2B5EF4-FFF2-40B4-BE49-F238E27FC236}">
                    <a16:creationId xmlns:a16="http://schemas.microsoft.com/office/drawing/2014/main" id="{D5B2D999-9331-4E31-A4AF-49233FBB1AE1}"/>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145" name="Rechte verbindingslijn 144">
                <a:extLst>
                  <a:ext uri="{FF2B5EF4-FFF2-40B4-BE49-F238E27FC236}">
                    <a16:creationId xmlns:a16="http://schemas.microsoft.com/office/drawing/2014/main" id="{DB2A4F82-38DF-43B1-8E0E-1EB80AC43379}"/>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6" name="Rechte verbindingslijn 145">
                <a:extLst>
                  <a:ext uri="{FF2B5EF4-FFF2-40B4-BE49-F238E27FC236}">
                    <a16:creationId xmlns:a16="http://schemas.microsoft.com/office/drawing/2014/main" id="{75353569-D539-41C9-AD7C-3698F08EECFF}"/>
                  </a:ext>
                </a:extLst>
              </p:cNvPr>
              <p:cNvCxnSpPr>
                <a:cxnSpLocks/>
                <a:stCxn id="14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21" name="Ovaal 120">
              <a:extLst>
                <a:ext uri="{FF2B5EF4-FFF2-40B4-BE49-F238E27FC236}">
                  <a16:creationId xmlns:a16="http://schemas.microsoft.com/office/drawing/2014/main" id="{7E7064C2-0C74-4D63-91A4-B7B3503886E9}"/>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22" name="Rechthoek 121">
              <a:extLst>
                <a:ext uri="{FF2B5EF4-FFF2-40B4-BE49-F238E27FC236}">
                  <a16:creationId xmlns:a16="http://schemas.microsoft.com/office/drawing/2014/main" id="{24A5DFBB-FE8B-4625-9BB1-015E63656E8F}"/>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3" name="Rechte verbindingslijn 122">
              <a:extLst>
                <a:ext uri="{FF2B5EF4-FFF2-40B4-BE49-F238E27FC236}">
                  <a16:creationId xmlns:a16="http://schemas.microsoft.com/office/drawing/2014/main" id="{D5D1ABD1-D8CD-458D-A41F-791A0AE0121C}"/>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4" name="Groep 123">
              <a:extLst>
                <a:ext uri="{FF2B5EF4-FFF2-40B4-BE49-F238E27FC236}">
                  <a16:creationId xmlns:a16="http://schemas.microsoft.com/office/drawing/2014/main" id="{63A1CFE3-996D-4F97-BC66-91718F95658E}"/>
                </a:ext>
              </a:extLst>
            </p:cNvPr>
            <p:cNvGrpSpPr/>
            <p:nvPr userDrawn="1"/>
          </p:nvGrpSpPr>
          <p:grpSpPr>
            <a:xfrm>
              <a:off x="12696514" y="3540678"/>
              <a:ext cx="514284" cy="612918"/>
              <a:chOff x="12682980" y="3403241"/>
              <a:chExt cx="622284" cy="741632"/>
            </a:xfrm>
          </p:grpSpPr>
          <p:grpSp>
            <p:nvGrpSpPr>
              <p:cNvPr id="125" name="Groep 124">
                <a:extLst>
                  <a:ext uri="{FF2B5EF4-FFF2-40B4-BE49-F238E27FC236}">
                    <a16:creationId xmlns:a16="http://schemas.microsoft.com/office/drawing/2014/main" id="{AD0C89DF-2C1B-4C7D-897B-C810690CF31F}"/>
                  </a:ext>
                </a:extLst>
              </p:cNvPr>
              <p:cNvGrpSpPr/>
              <p:nvPr userDrawn="1"/>
            </p:nvGrpSpPr>
            <p:grpSpPr>
              <a:xfrm>
                <a:off x="12771568" y="3403241"/>
                <a:ext cx="467138" cy="448489"/>
                <a:chOff x="12782195" y="3403241"/>
                <a:chExt cx="467138" cy="448489"/>
              </a:xfrm>
            </p:grpSpPr>
            <p:grpSp>
              <p:nvGrpSpPr>
                <p:cNvPr id="128" name="Groep 127">
                  <a:extLst>
                    <a:ext uri="{FF2B5EF4-FFF2-40B4-BE49-F238E27FC236}">
                      <a16:creationId xmlns:a16="http://schemas.microsoft.com/office/drawing/2014/main" id="{B2674425-3198-42E1-BD6C-71B8EB56413E}"/>
                    </a:ext>
                  </a:extLst>
                </p:cNvPr>
                <p:cNvGrpSpPr/>
                <p:nvPr userDrawn="1"/>
              </p:nvGrpSpPr>
              <p:grpSpPr>
                <a:xfrm>
                  <a:off x="12782195" y="3403241"/>
                  <a:ext cx="412967" cy="393907"/>
                  <a:chOff x="13554906" y="3320109"/>
                  <a:chExt cx="443906" cy="423419"/>
                </a:xfrm>
              </p:grpSpPr>
              <p:grpSp>
                <p:nvGrpSpPr>
                  <p:cNvPr id="135" name="Groep 134">
                    <a:extLst>
                      <a:ext uri="{FF2B5EF4-FFF2-40B4-BE49-F238E27FC236}">
                        <a16:creationId xmlns:a16="http://schemas.microsoft.com/office/drawing/2014/main" id="{F34092AC-0759-42B0-8375-2DB740861304}"/>
                      </a:ext>
                    </a:extLst>
                  </p:cNvPr>
                  <p:cNvGrpSpPr/>
                  <p:nvPr userDrawn="1"/>
                </p:nvGrpSpPr>
                <p:grpSpPr>
                  <a:xfrm>
                    <a:off x="13554906" y="3320109"/>
                    <a:ext cx="443906" cy="423419"/>
                    <a:chOff x="12909684" y="1276143"/>
                    <a:chExt cx="443906" cy="423419"/>
                  </a:xfrm>
                </p:grpSpPr>
                <p:sp>
                  <p:nvSpPr>
                    <p:cNvPr id="138" name="Rechthoek 137">
                      <a:extLst>
                        <a:ext uri="{FF2B5EF4-FFF2-40B4-BE49-F238E27FC236}">
                          <a16:creationId xmlns:a16="http://schemas.microsoft.com/office/drawing/2014/main" id="{06B33E8F-753D-40F8-9AF8-693063D95D5A}"/>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39" name="Rechthoek 138">
                      <a:extLst>
                        <a:ext uri="{FF2B5EF4-FFF2-40B4-BE49-F238E27FC236}">
                          <a16:creationId xmlns:a16="http://schemas.microsoft.com/office/drawing/2014/main" id="{8BAAC9C7-A54A-4C87-8F78-AD2CF4C635A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40" name="Ovaal 139">
                      <a:extLst>
                        <a:ext uri="{FF2B5EF4-FFF2-40B4-BE49-F238E27FC236}">
                          <a16:creationId xmlns:a16="http://schemas.microsoft.com/office/drawing/2014/main" id="{0F513F60-9311-4B93-9022-C0A08303BA2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136" name="Afbeelding 135">
                    <a:extLst>
                      <a:ext uri="{FF2B5EF4-FFF2-40B4-BE49-F238E27FC236}">
                        <a16:creationId xmlns:a16="http://schemas.microsoft.com/office/drawing/2014/main" id="{939ABF57-316F-482C-AF13-5FE368B41A26}"/>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37" name="Afbeelding 136">
                    <a:extLst>
                      <a:ext uri="{FF2B5EF4-FFF2-40B4-BE49-F238E27FC236}">
                        <a16:creationId xmlns:a16="http://schemas.microsoft.com/office/drawing/2014/main" id="{43B1DC30-D33D-4FF0-857B-72F6CD9592D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8" y="3454369"/>
                    <a:ext cx="173367" cy="111423"/>
                  </a:xfrm>
                  <a:prstGeom prst="rect">
                    <a:avLst/>
                  </a:prstGeom>
                </p:spPr>
              </p:pic>
            </p:grpSp>
            <p:grpSp>
              <p:nvGrpSpPr>
                <p:cNvPr id="129" name="Groep 128">
                  <a:extLst>
                    <a:ext uri="{FF2B5EF4-FFF2-40B4-BE49-F238E27FC236}">
                      <a16:creationId xmlns:a16="http://schemas.microsoft.com/office/drawing/2014/main" id="{7DA571B3-6DF2-47F7-BB91-ECF4C2B75EC4}"/>
                    </a:ext>
                  </a:extLst>
                </p:cNvPr>
                <p:cNvGrpSpPr/>
                <p:nvPr userDrawn="1"/>
              </p:nvGrpSpPr>
              <p:grpSpPr>
                <a:xfrm>
                  <a:off x="13103513" y="3705268"/>
                  <a:ext cx="145820" cy="146462"/>
                  <a:chOff x="13096169" y="3602278"/>
                  <a:chExt cx="145820" cy="146462"/>
                </a:xfrm>
              </p:grpSpPr>
              <p:sp>
                <p:nvSpPr>
                  <p:cNvPr id="133" name="Rechthoek 132">
                    <a:extLst>
                      <a:ext uri="{FF2B5EF4-FFF2-40B4-BE49-F238E27FC236}">
                        <a16:creationId xmlns:a16="http://schemas.microsoft.com/office/drawing/2014/main" id="{C01A95CC-CC4F-4D8D-BF65-844F5C6D322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34" name="Rechthoek 133">
                    <a:extLst>
                      <a:ext uri="{FF2B5EF4-FFF2-40B4-BE49-F238E27FC236}">
                        <a16:creationId xmlns:a16="http://schemas.microsoft.com/office/drawing/2014/main" id="{BC21A21B-A18E-41B9-8E41-D301FB379A0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30" name="Groep 129">
                  <a:extLst>
                    <a:ext uri="{FF2B5EF4-FFF2-40B4-BE49-F238E27FC236}">
                      <a16:creationId xmlns:a16="http://schemas.microsoft.com/office/drawing/2014/main" id="{E08BB810-14C1-4669-BBDA-CD2617F0F459}"/>
                    </a:ext>
                  </a:extLst>
                </p:cNvPr>
                <p:cNvGrpSpPr/>
                <p:nvPr userDrawn="1"/>
              </p:nvGrpSpPr>
              <p:grpSpPr>
                <a:xfrm rot="10800000">
                  <a:off x="13061402" y="3665637"/>
                  <a:ext cx="145820" cy="146462"/>
                  <a:chOff x="13096169" y="3602278"/>
                  <a:chExt cx="145820" cy="146462"/>
                </a:xfrm>
              </p:grpSpPr>
              <p:sp>
                <p:nvSpPr>
                  <p:cNvPr id="131" name="Rechthoek 130">
                    <a:extLst>
                      <a:ext uri="{FF2B5EF4-FFF2-40B4-BE49-F238E27FC236}">
                        <a16:creationId xmlns:a16="http://schemas.microsoft.com/office/drawing/2014/main" id="{C0C24F34-A5F4-4BBA-ABA1-6901AB211AF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32" name="Rechthoek 131">
                    <a:extLst>
                      <a:ext uri="{FF2B5EF4-FFF2-40B4-BE49-F238E27FC236}">
                        <a16:creationId xmlns:a16="http://schemas.microsoft.com/office/drawing/2014/main" id="{4227724C-10EE-4B55-B673-0393FC3B2A6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126" name="Rechthoek 125">
                <a:extLst>
                  <a:ext uri="{FF2B5EF4-FFF2-40B4-BE49-F238E27FC236}">
                    <a16:creationId xmlns:a16="http://schemas.microsoft.com/office/drawing/2014/main" id="{F6BC1663-795E-4047-89E2-DA52629B0E0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127" name="Gelijkbenige driehoek 126">
                <a:extLst>
                  <a:ext uri="{FF2B5EF4-FFF2-40B4-BE49-F238E27FC236}">
                    <a16:creationId xmlns:a16="http://schemas.microsoft.com/office/drawing/2014/main" id="{AFD1978B-7966-4B97-A2F0-2281E84D45A0}"/>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31664591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KST / AFBEELDING (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285747"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4AABA333-9F3A-424A-995C-94DCEBC8D597}"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AFBEELDING (M)</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6365873" y="1459111"/>
            <a:ext cx="5285873" cy="4119774"/>
          </a:xfrm>
          <a:prstGeom prst="roundRect">
            <a:avLst>
              <a:gd name="adj" fmla="val 1562"/>
            </a:avLst>
          </a:prstGeo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299" name="Instructie">
            <a:extLst>
              <a:ext uri="{FF2B5EF4-FFF2-40B4-BE49-F238E27FC236}">
                <a16:creationId xmlns:a16="http://schemas.microsoft.com/office/drawing/2014/main" id="{A9040615-5CE4-4514-A742-20EBDF93B84E}"/>
              </a:ext>
            </a:extLst>
          </p:cNvPr>
          <p:cNvGrpSpPr/>
          <p:nvPr userDrawn="1"/>
        </p:nvGrpSpPr>
        <p:grpSpPr>
          <a:xfrm>
            <a:off x="-3437547" y="1434"/>
            <a:ext cx="3201327" cy="6041867"/>
            <a:chOff x="-3437547" y="1434"/>
            <a:chExt cx="3201327" cy="6041867"/>
          </a:xfrm>
        </p:grpSpPr>
        <p:cxnSp>
          <p:nvCxnSpPr>
            <p:cNvPr id="300" name="Rechte verbindingslijn 299">
              <a:extLst>
                <a:ext uri="{FF2B5EF4-FFF2-40B4-BE49-F238E27FC236}">
                  <a16:creationId xmlns:a16="http://schemas.microsoft.com/office/drawing/2014/main" id="{A9E29A4D-6D97-4104-AAB7-B77DE27FDF48}"/>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01" name="Ovaal 300">
              <a:extLst>
                <a:ext uri="{FF2B5EF4-FFF2-40B4-BE49-F238E27FC236}">
                  <a16:creationId xmlns:a16="http://schemas.microsoft.com/office/drawing/2014/main" id="{D2538CC1-6DFE-4937-BF8F-F1554E4D4040}"/>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02" name="Rechthoek 301">
              <a:extLst>
                <a:ext uri="{FF2B5EF4-FFF2-40B4-BE49-F238E27FC236}">
                  <a16:creationId xmlns:a16="http://schemas.microsoft.com/office/drawing/2014/main" id="{6C5D937F-CC31-4E45-A598-A44A739508EC}"/>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03" name="Ovaal 302">
              <a:extLst>
                <a:ext uri="{FF2B5EF4-FFF2-40B4-BE49-F238E27FC236}">
                  <a16:creationId xmlns:a16="http://schemas.microsoft.com/office/drawing/2014/main" id="{9A91952D-3E68-4749-B120-80A4BAFFACDB}"/>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04" name="Rechthoek 303">
              <a:extLst>
                <a:ext uri="{FF2B5EF4-FFF2-40B4-BE49-F238E27FC236}">
                  <a16:creationId xmlns:a16="http://schemas.microsoft.com/office/drawing/2014/main" id="{7266ABBD-99F4-4315-9AEA-3BD489AD5560}"/>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05" name="Ovaal 304">
              <a:extLst>
                <a:ext uri="{FF2B5EF4-FFF2-40B4-BE49-F238E27FC236}">
                  <a16:creationId xmlns:a16="http://schemas.microsoft.com/office/drawing/2014/main" id="{14D6EA74-7BB4-4EE0-9BE8-BF3EBAE33486}"/>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06" name="Rechthoek 305">
              <a:extLst>
                <a:ext uri="{FF2B5EF4-FFF2-40B4-BE49-F238E27FC236}">
                  <a16:creationId xmlns:a16="http://schemas.microsoft.com/office/drawing/2014/main" id="{E7DB094A-C66A-47DD-81CF-DA7A117F0743}"/>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07" name="Ovaal 306">
              <a:extLst>
                <a:ext uri="{FF2B5EF4-FFF2-40B4-BE49-F238E27FC236}">
                  <a16:creationId xmlns:a16="http://schemas.microsoft.com/office/drawing/2014/main" id="{A6EBD7CE-345E-442A-A357-9459DDB13B55}"/>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08" name="Rechthoek 307">
              <a:extLst>
                <a:ext uri="{FF2B5EF4-FFF2-40B4-BE49-F238E27FC236}">
                  <a16:creationId xmlns:a16="http://schemas.microsoft.com/office/drawing/2014/main" id="{6A70AF6D-2195-4FEC-AE55-B58319D87CEB}"/>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09" name="Rechthoek 308">
              <a:extLst>
                <a:ext uri="{FF2B5EF4-FFF2-40B4-BE49-F238E27FC236}">
                  <a16:creationId xmlns:a16="http://schemas.microsoft.com/office/drawing/2014/main" id="{FEDAE30A-E8BC-42D6-8883-FE1A87931DAF}"/>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10" name="Ovaal 309">
              <a:extLst>
                <a:ext uri="{FF2B5EF4-FFF2-40B4-BE49-F238E27FC236}">
                  <a16:creationId xmlns:a16="http://schemas.microsoft.com/office/drawing/2014/main" id="{AA46C297-78C9-4817-9D11-213CCB9C9F64}"/>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11" name="Rechte verbindingslijn 310">
              <a:extLst>
                <a:ext uri="{FF2B5EF4-FFF2-40B4-BE49-F238E27FC236}">
                  <a16:creationId xmlns:a16="http://schemas.microsoft.com/office/drawing/2014/main" id="{557EA977-0096-400F-A663-5BBD6036BFAF}"/>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12" name="Groep 311">
              <a:extLst>
                <a:ext uri="{FF2B5EF4-FFF2-40B4-BE49-F238E27FC236}">
                  <a16:creationId xmlns:a16="http://schemas.microsoft.com/office/drawing/2014/main" id="{BC42600A-B3A3-4877-90D7-C07A82046FF3}"/>
                </a:ext>
              </a:extLst>
            </p:cNvPr>
            <p:cNvGrpSpPr/>
            <p:nvPr userDrawn="1"/>
          </p:nvGrpSpPr>
          <p:grpSpPr>
            <a:xfrm>
              <a:off x="-3437547" y="1295337"/>
              <a:ext cx="2933825" cy="558875"/>
              <a:chOff x="-3419346" y="368233"/>
              <a:chExt cx="3904920" cy="743862"/>
            </a:xfrm>
          </p:grpSpPr>
          <p:sp>
            <p:nvSpPr>
              <p:cNvPr id="329" name="Rechthoek 328">
                <a:extLst>
                  <a:ext uri="{FF2B5EF4-FFF2-40B4-BE49-F238E27FC236}">
                    <a16:creationId xmlns:a16="http://schemas.microsoft.com/office/drawing/2014/main" id="{F4C23DD8-1EEB-444F-97E8-7DB7F22E448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30" name="Rechte verbindingslijn 329">
                <a:extLst>
                  <a:ext uri="{FF2B5EF4-FFF2-40B4-BE49-F238E27FC236}">
                    <a16:creationId xmlns:a16="http://schemas.microsoft.com/office/drawing/2014/main" id="{EC276B65-801E-4FEF-8A36-2F62689B59D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1" name="Rechte verbindingslijn 330">
                <a:extLst>
                  <a:ext uri="{FF2B5EF4-FFF2-40B4-BE49-F238E27FC236}">
                    <a16:creationId xmlns:a16="http://schemas.microsoft.com/office/drawing/2014/main" id="{4D85CD75-D75D-46B8-A00D-4CF81EE3531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2" name="Rechthoek 331">
                <a:extLst>
                  <a:ext uri="{FF2B5EF4-FFF2-40B4-BE49-F238E27FC236}">
                    <a16:creationId xmlns:a16="http://schemas.microsoft.com/office/drawing/2014/main" id="{36E1FA0F-31F3-49C8-8E80-258CED450A3B}"/>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33" name="Groep 332">
                <a:extLst>
                  <a:ext uri="{FF2B5EF4-FFF2-40B4-BE49-F238E27FC236}">
                    <a16:creationId xmlns:a16="http://schemas.microsoft.com/office/drawing/2014/main" id="{5A4795F5-37E6-4F38-850A-7A1A45F43652}"/>
                  </a:ext>
                </a:extLst>
              </p:cNvPr>
              <p:cNvGrpSpPr/>
              <p:nvPr userDrawn="1"/>
            </p:nvGrpSpPr>
            <p:grpSpPr>
              <a:xfrm>
                <a:off x="-3002834" y="720303"/>
                <a:ext cx="182598" cy="143759"/>
                <a:chOff x="-3310843" y="700986"/>
                <a:chExt cx="182598" cy="143759"/>
              </a:xfrm>
            </p:grpSpPr>
            <p:grpSp>
              <p:nvGrpSpPr>
                <p:cNvPr id="372" name="Groep 371">
                  <a:extLst>
                    <a:ext uri="{FF2B5EF4-FFF2-40B4-BE49-F238E27FC236}">
                      <a16:creationId xmlns:a16="http://schemas.microsoft.com/office/drawing/2014/main" id="{39185034-83E7-4FF4-B6FF-250310020996}"/>
                    </a:ext>
                  </a:extLst>
                </p:cNvPr>
                <p:cNvGrpSpPr/>
                <p:nvPr userDrawn="1"/>
              </p:nvGrpSpPr>
              <p:grpSpPr>
                <a:xfrm>
                  <a:off x="-3310843" y="700986"/>
                  <a:ext cx="182598" cy="143759"/>
                  <a:chOff x="-3310843" y="700986"/>
                  <a:chExt cx="182598" cy="143759"/>
                </a:xfrm>
              </p:grpSpPr>
              <p:cxnSp>
                <p:nvCxnSpPr>
                  <p:cNvPr id="376" name="Rechte verbindingslijn 375">
                    <a:extLst>
                      <a:ext uri="{FF2B5EF4-FFF2-40B4-BE49-F238E27FC236}">
                        <a16:creationId xmlns:a16="http://schemas.microsoft.com/office/drawing/2014/main" id="{29D344CD-C7EA-41BA-9DB2-2FDB70EEE87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77" name="Rechte verbindingslijn 376">
                    <a:extLst>
                      <a:ext uri="{FF2B5EF4-FFF2-40B4-BE49-F238E27FC236}">
                        <a16:creationId xmlns:a16="http://schemas.microsoft.com/office/drawing/2014/main" id="{72C08631-A23F-4142-943F-EEC71DA5C7EF}"/>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78" name="Rechte verbindingslijn 377">
                    <a:extLst>
                      <a:ext uri="{FF2B5EF4-FFF2-40B4-BE49-F238E27FC236}">
                        <a16:creationId xmlns:a16="http://schemas.microsoft.com/office/drawing/2014/main" id="{9219C585-A23C-4A03-9037-342255AD87C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79" name="Rechte verbindingslijn 378">
                    <a:extLst>
                      <a:ext uri="{FF2B5EF4-FFF2-40B4-BE49-F238E27FC236}">
                        <a16:creationId xmlns:a16="http://schemas.microsoft.com/office/drawing/2014/main" id="{CD8B7624-9942-4448-9E55-63340A8A91E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AEEE66E4-34BA-4B72-A925-B13B223568E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73" name="Groep 372">
                  <a:extLst>
                    <a:ext uri="{FF2B5EF4-FFF2-40B4-BE49-F238E27FC236}">
                      <a16:creationId xmlns:a16="http://schemas.microsoft.com/office/drawing/2014/main" id="{60CBB292-C3B9-4B4E-9AA5-69061A999BAB}"/>
                    </a:ext>
                  </a:extLst>
                </p:cNvPr>
                <p:cNvGrpSpPr/>
                <p:nvPr userDrawn="1"/>
              </p:nvGrpSpPr>
              <p:grpSpPr>
                <a:xfrm flipH="1">
                  <a:off x="-3310774" y="735854"/>
                  <a:ext cx="88801" cy="72568"/>
                  <a:chOff x="-2091059" y="1395403"/>
                  <a:chExt cx="157316" cy="128558"/>
                </a:xfrm>
              </p:grpSpPr>
              <p:sp>
                <p:nvSpPr>
                  <p:cNvPr id="374" name="Rechthoek 373">
                    <a:extLst>
                      <a:ext uri="{FF2B5EF4-FFF2-40B4-BE49-F238E27FC236}">
                        <a16:creationId xmlns:a16="http://schemas.microsoft.com/office/drawing/2014/main" id="{2B7F2EEC-E9D2-4F6E-AE51-4C99AD380BA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5" name="Pijl: punthaak 374">
                    <a:extLst>
                      <a:ext uri="{FF2B5EF4-FFF2-40B4-BE49-F238E27FC236}">
                        <a16:creationId xmlns:a16="http://schemas.microsoft.com/office/drawing/2014/main" id="{01398107-1754-4322-97B3-3E90A2FACA2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34" name="Groep 333">
                <a:extLst>
                  <a:ext uri="{FF2B5EF4-FFF2-40B4-BE49-F238E27FC236}">
                    <a16:creationId xmlns:a16="http://schemas.microsoft.com/office/drawing/2014/main" id="{939B2F05-4AF3-4F93-B952-01644D230EA6}"/>
                  </a:ext>
                </a:extLst>
              </p:cNvPr>
              <p:cNvGrpSpPr/>
              <p:nvPr userDrawn="1"/>
            </p:nvGrpSpPr>
            <p:grpSpPr>
              <a:xfrm>
                <a:off x="-3326107" y="720303"/>
                <a:ext cx="182598" cy="143759"/>
                <a:chOff x="-3634116" y="700986"/>
                <a:chExt cx="182598" cy="143759"/>
              </a:xfrm>
            </p:grpSpPr>
            <p:grpSp>
              <p:nvGrpSpPr>
                <p:cNvPr id="363" name="Groep 362">
                  <a:extLst>
                    <a:ext uri="{FF2B5EF4-FFF2-40B4-BE49-F238E27FC236}">
                      <a16:creationId xmlns:a16="http://schemas.microsoft.com/office/drawing/2014/main" id="{5A7A2DA7-68C5-4F04-9D8E-A53C0000F482}"/>
                    </a:ext>
                  </a:extLst>
                </p:cNvPr>
                <p:cNvGrpSpPr/>
                <p:nvPr userDrawn="1"/>
              </p:nvGrpSpPr>
              <p:grpSpPr>
                <a:xfrm>
                  <a:off x="-3634116" y="700986"/>
                  <a:ext cx="182598" cy="143759"/>
                  <a:chOff x="-3634116" y="700986"/>
                  <a:chExt cx="182598" cy="143759"/>
                </a:xfrm>
              </p:grpSpPr>
              <p:cxnSp>
                <p:nvCxnSpPr>
                  <p:cNvPr id="367" name="Rechte verbindingslijn 366">
                    <a:extLst>
                      <a:ext uri="{FF2B5EF4-FFF2-40B4-BE49-F238E27FC236}">
                        <a16:creationId xmlns:a16="http://schemas.microsoft.com/office/drawing/2014/main" id="{CE5F4043-BE09-40B9-B8D6-75A94C52DBD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68" name="Rechte verbindingslijn 367">
                    <a:extLst>
                      <a:ext uri="{FF2B5EF4-FFF2-40B4-BE49-F238E27FC236}">
                        <a16:creationId xmlns:a16="http://schemas.microsoft.com/office/drawing/2014/main" id="{C1CE4101-E796-4DF8-80AB-10C6C40AC7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69" name="Rechte verbindingslijn 368">
                    <a:extLst>
                      <a:ext uri="{FF2B5EF4-FFF2-40B4-BE49-F238E27FC236}">
                        <a16:creationId xmlns:a16="http://schemas.microsoft.com/office/drawing/2014/main" id="{A0DE6505-25D1-4493-9581-736CD37443DE}"/>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70" name="Rechte verbindingslijn 369">
                    <a:extLst>
                      <a:ext uri="{FF2B5EF4-FFF2-40B4-BE49-F238E27FC236}">
                        <a16:creationId xmlns:a16="http://schemas.microsoft.com/office/drawing/2014/main" id="{C6998B58-E5C3-421B-AACA-8BB753F24EC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71" name="Rechte verbindingslijn 370">
                    <a:extLst>
                      <a:ext uri="{FF2B5EF4-FFF2-40B4-BE49-F238E27FC236}">
                        <a16:creationId xmlns:a16="http://schemas.microsoft.com/office/drawing/2014/main" id="{1D574B4D-F40B-4471-9C90-2C6869B0E4E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64" name="Groep 363">
                  <a:extLst>
                    <a:ext uri="{FF2B5EF4-FFF2-40B4-BE49-F238E27FC236}">
                      <a16:creationId xmlns:a16="http://schemas.microsoft.com/office/drawing/2014/main" id="{83070619-20BA-4B96-8DD6-7D52C2554D1B}"/>
                    </a:ext>
                  </a:extLst>
                </p:cNvPr>
                <p:cNvGrpSpPr/>
                <p:nvPr userDrawn="1"/>
              </p:nvGrpSpPr>
              <p:grpSpPr>
                <a:xfrm>
                  <a:off x="-3634047" y="735854"/>
                  <a:ext cx="88801" cy="72568"/>
                  <a:chOff x="-2091059" y="1395403"/>
                  <a:chExt cx="157316" cy="128558"/>
                </a:xfrm>
              </p:grpSpPr>
              <p:sp>
                <p:nvSpPr>
                  <p:cNvPr id="365" name="Rechthoek 364">
                    <a:extLst>
                      <a:ext uri="{FF2B5EF4-FFF2-40B4-BE49-F238E27FC236}">
                        <a16:creationId xmlns:a16="http://schemas.microsoft.com/office/drawing/2014/main" id="{A975F434-D9E8-4C86-9221-6ED95E807F9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6" name="Pijl: punthaak 365">
                    <a:extLst>
                      <a:ext uri="{FF2B5EF4-FFF2-40B4-BE49-F238E27FC236}">
                        <a16:creationId xmlns:a16="http://schemas.microsoft.com/office/drawing/2014/main" id="{2251D4A1-10CB-45B0-85A4-2E89DF68063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35" name="Rechte verbindingslijn 334">
                <a:extLst>
                  <a:ext uri="{FF2B5EF4-FFF2-40B4-BE49-F238E27FC236}">
                    <a16:creationId xmlns:a16="http://schemas.microsoft.com/office/drawing/2014/main" id="{5E08EB10-7AC5-46CE-A3DB-AB248D1950D9}"/>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36" name="Rechte verbindingslijn 335">
                <a:extLst>
                  <a:ext uri="{FF2B5EF4-FFF2-40B4-BE49-F238E27FC236}">
                    <a16:creationId xmlns:a16="http://schemas.microsoft.com/office/drawing/2014/main" id="{2C5BD4E2-9DFB-4B2A-A283-D8E5CBA3F745}"/>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37" name="Groep 336">
                <a:extLst>
                  <a:ext uri="{FF2B5EF4-FFF2-40B4-BE49-F238E27FC236}">
                    <a16:creationId xmlns:a16="http://schemas.microsoft.com/office/drawing/2014/main" id="{BA99A363-56A8-4D34-948C-6052880AB635}"/>
                  </a:ext>
                </a:extLst>
              </p:cNvPr>
              <p:cNvGrpSpPr/>
              <p:nvPr userDrawn="1"/>
            </p:nvGrpSpPr>
            <p:grpSpPr>
              <a:xfrm>
                <a:off x="-2425037" y="370226"/>
                <a:ext cx="357690" cy="330595"/>
                <a:chOff x="-2721817" y="347336"/>
                <a:chExt cx="432805" cy="400021"/>
              </a:xfrm>
            </p:grpSpPr>
            <p:sp>
              <p:nvSpPr>
                <p:cNvPr id="352" name="Rechthoek 351">
                  <a:extLst>
                    <a:ext uri="{FF2B5EF4-FFF2-40B4-BE49-F238E27FC236}">
                      <a16:creationId xmlns:a16="http://schemas.microsoft.com/office/drawing/2014/main" id="{5CB1EEA1-175A-4B12-882E-7BAF5BF09D10}"/>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3" name="Groep 352">
                  <a:extLst>
                    <a:ext uri="{FF2B5EF4-FFF2-40B4-BE49-F238E27FC236}">
                      <a16:creationId xmlns:a16="http://schemas.microsoft.com/office/drawing/2014/main" id="{DC050AF5-6B3F-47F3-B296-94792B2F3ACB}"/>
                    </a:ext>
                  </a:extLst>
                </p:cNvPr>
                <p:cNvGrpSpPr/>
                <p:nvPr userDrawn="1"/>
              </p:nvGrpSpPr>
              <p:grpSpPr>
                <a:xfrm>
                  <a:off x="-2652453" y="431583"/>
                  <a:ext cx="294076" cy="231526"/>
                  <a:chOff x="-3634116" y="700986"/>
                  <a:chExt cx="182598" cy="143759"/>
                </a:xfrm>
              </p:grpSpPr>
              <p:grpSp>
                <p:nvGrpSpPr>
                  <p:cNvPr id="354" name="Groep 353">
                    <a:extLst>
                      <a:ext uri="{FF2B5EF4-FFF2-40B4-BE49-F238E27FC236}">
                        <a16:creationId xmlns:a16="http://schemas.microsoft.com/office/drawing/2014/main" id="{D3E174FE-8858-4CA9-A0FE-B0B8FA037AEA}"/>
                      </a:ext>
                    </a:extLst>
                  </p:cNvPr>
                  <p:cNvGrpSpPr/>
                  <p:nvPr userDrawn="1"/>
                </p:nvGrpSpPr>
                <p:grpSpPr>
                  <a:xfrm>
                    <a:off x="-3634116" y="700986"/>
                    <a:ext cx="182598" cy="143759"/>
                    <a:chOff x="-3634116" y="700986"/>
                    <a:chExt cx="182598" cy="143759"/>
                  </a:xfrm>
                </p:grpSpPr>
                <p:cxnSp>
                  <p:nvCxnSpPr>
                    <p:cNvPr id="358" name="Rechte verbindingslijn 357">
                      <a:extLst>
                        <a:ext uri="{FF2B5EF4-FFF2-40B4-BE49-F238E27FC236}">
                          <a16:creationId xmlns:a16="http://schemas.microsoft.com/office/drawing/2014/main" id="{B8638688-72B1-4349-9913-E34F7D24465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59" name="Rechte verbindingslijn 358">
                      <a:extLst>
                        <a:ext uri="{FF2B5EF4-FFF2-40B4-BE49-F238E27FC236}">
                          <a16:creationId xmlns:a16="http://schemas.microsoft.com/office/drawing/2014/main" id="{A449D089-8181-4AA2-BC24-86B165DD7F28}"/>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60" name="Rechte verbindingslijn 359">
                      <a:extLst>
                        <a:ext uri="{FF2B5EF4-FFF2-40B4-BE49-F238E27FC236}">
                          <a16:creationId xmlns:a16="http://schemas.microsoft.com/office/drawing/2014/main" id="{BF91E272-B113-4689-A46D-282D24B4193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61" name="Rechte verbindingslijn 360">
                      <a:extLst>
                        <a:ext uri="{FF2B5EF4-FFF2-40B4-BE49-F238E27FC236}">
                          <a16:creationId xmlns:a16="http://schemas.microsoft.com/office/drawing/2014/main" id="{EC1E3198-7FF6-4E26-9589-E37A5994293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9418E550-56B2-4EF2-990D-906C6FB4CD2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55" name="Groep 354">
                    <a:extLst>
                      <a:ext uri="{FF2B5EF4-FFF2-40B4-BE49-F238E27FC236}">
                        <a16:creationId xmlns:a16="http://schemas.microsoft.com/office/drawing/2014/main" id="{A6862AB4-0AD2-4E76-A072-8505D2299792}"/>
                      </a:ext>
                    </a:extLst>
                  </p:cNvPr>
                  <p:cNvGrpSpPr/>
                  <p:nvPr userDrawn="1"/>
                </p:nvGrpSpPr>
                <p:grpSpPr>
                  <a:xfrm>
                    <a:off x="-3634047" y="735854"/>
                    <a:ext cx="88801" cy="72568"/>
                    <a:chOff x="-2091059" y="1395403"/>
                    <a:chExt cx="157316" cy="128558"/>
                  </a:xfrm>
                </p:grpSpPr>
                <p:sp>
                  <p:nvSpPr>
                    <p:cNvPr id="356" name="Rechthoek 355">
                      <a:extLst>
                        <a:ext uri="{FF2B5EF4-FFF2-40B4-BE49-F238E27FC236}">
                          <a16:creationId xmlns:a16="http://schemas.microsoft.com/office/drawing/2014/main" id="{A8AF7EA4-061F-4D9C-969E-BF974232023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57" name="Pijl: punthaak 356">
                      <a:extLst>
                        <a:ext uri="{FF2B5EF4-FFF2-40B4-BE49-F238E27FC236}">
                          <a16:creationId xmlns:a16="http://schemas.microsoft.com/office/drawing/2014/main" id="{ADCF9CE3-C663-4782-8C65-F80DAAC17CA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38" name="Groep 337">
                <a:extLst>
                  <a:ext uri="{FF2B5EF4-FFF2-40B4-BE49-F238E27FC236}">
                    <a16:creationId xmlns:a16="http://schemas.microsoft.com/office/drawing/2014/main" id="{BCD8E005-759B-409C-A2FB-C8E93945FA2F}"/>
                  </a:ext>
                </a:extLst>
              </p:cNvPr>
              <p:cNvGrpSpPr/>
              <p:nvPr userDrawn="1"/>
            </p:nvGrpSpPr>
            <p:grpSpPr>
              <a:xfrm>
                <a:off x="-2425037" y="781500"/>
                <a:ext cx="357690" cy="330595"/>
                <a:chOff x="-2721817" y="782525"/>
                <a:chExt cx="432805" cy="400021"/>
              </a:xfrm>
            </p:grpSpPr>
            <p:sp>
              <p:nvSpPr>
                <p:cNvPr id="341" name="Rechthoek 340">
                  <a:extLst>
                    <a:ext uri="{FF2B5EF4-FFF2-40B4-BE49-F238E27FC236}">
                      <a16:creationId xmlns:a16="http://schemas.microsoft.com/office/drawing/2014/main" id="{906FEB8C-9C81-490A-9811-A49EC1BE3F0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42" name="Groep 341">
                  <a:extLst>
                    <a:ext uri="{FF2B5EF4-FFF2-40B4-BE49-F238E27FC236}">
                      <a16:creationId xmlns:a16="http://schemas.microsoft.com/office/drawing/2014/main" id="{7CF4158C-C833-4504-BB3A-A11C01ADF087}"/>
                    </a:ext>
                  </a:extLst>
                </p:cNvPr>
                <p:cNvGrpSpPr/>
                <p:nvPr userDrawn="1"/>
              </p:nvGrpSpPr>
              <p:grpSpPr>
                <a:xfrm>
                  <a:off x="-2652453" y="866772"/>
                  <a:ext cx="294076" cy="231526"/>
                  <a:chOff x="-3310843" y="700986"/>
                  <a:chExt cx="182598" cy="143759"/>
                </a:xfrm>
              </p:grpSpPr>
              <p:grpSp>
                <p:nvGrpSpPr>
                  <p:cNvPr id="343" name="Groep 342">
                    <a:extLst>
                      <a:ext uri="{FF2B5EF4-FFF2-40B4-BE49-F238E27FC236}">
                        <a16:creationId xmlns:a16="http://schemas.microsoft.com/office/drawing/2014/main" id="{1582C828-B804-4BE8-B47D-FCDC7BBE5209}"/>
                      </a:ext>
                    </a:extLst>
                  </p:cNvPr>
                  <p:cNvGrpSpPr/>
                  <p:nvPr userDrawn="1"/>
                </p:nvGrpSpPr>
                <p:grpSpPr>
                  <a:xfrm>
                    <a:off x="-3310843" y="700986"/>
                    <a:ext cx="182598" cy="143759"/>
                    <a:chOff x="-3310843" y="700986"/>
                    <a:chExt cx="182598" cy="143759"/>
                  </a:xfrm>
                </p:grpSpPr>
                <p:cxnSp>
                  <p:nvCxnSpPr>
                    <p:cNvPr id="347" name="Rechte verbindingslijn 346">
                      <a:extLst>
                        <a:ext uri="{FF2B5EF4-FFF2-40B4-BE49-F238E27FC236}">
                          <a16:creationId xmlns:a16="http://schemas.microsoft.com/office/drawing/2014/main" id="{D668F080-4415-4CBB-9DD1-7688237BECB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5ABAA773-AC19-4267-9599-F4690BB53C5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0708D3FA-9BAF-4C2F-81A3-1A2C110AD1E7}"/>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50" name="Rechte verbindingslijn 349">
                      <a:extLst>
                        <a:ext uri="{FF2B5EF4-FFF2-40B4-BE49-F238E27FC236}">
                          <a16:creationId xmlns:a16="http://schemas.microsoft.com/office/drawing/2014/main" id="{B030F541-824F-423E-8A89-2BD72A56BFF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51" name="Rechte verbindingslijn 350">
                      <a:extLst>
                        <a:ext uri="{FF2B5EF4-FFF2-40B4-BE49-F238E27FC236}">
                          <a16:creationId xmlns:a16="http://schemas.microsoft.com/office/drawing/2014/main" id="{210C7F8F-3E1C-40C6-B700-51BEDE24B530}"/>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44" name="Groep 343">
                    <a:extLst>
                      <a:ext uri="{FF2B5EF4-FFF2-40B4-BE49-F238E27FC236}">
                        <a16:creationId xmlns:a16="http://schemas.microsoft.com/office/drawing/2014/main" id="{8F406B9C-D62A-476D-ACFD-FFFED04CF50A}"/>
                      </a:ext>
                    </a:extLst>
                  </p:cNvPr>
                  <p:cNvGrpSpPr/>
                  <p:nvPr userDrawn="1"/>
                </p:nvGrpSpPr>
                <p:grpSpPr>
                  <a:xfrm flipH="1">
                    <a:off x="-3310774" y="735854"/>
                    <a:ext cx="88801" cy="72568"/>
                    <a:chOff x="-2091059" y="1395403"/>
                    <a:chExt cx="157316" cy="128558"/>
                  </a:xfrm>
                </p:grpSpPr>
                <p:sp>
                  <p:nvSpPr>
                    <p:cNvPr id="345" name="Rechthoek 344">
                      <a:extLst>
                        <a:ext uri="{FF2B5EF4-FFF2-40B4-BE49-F238E27FC236}">
                          <a16:creationId xmlns:a16="http://schemas.microsoft.com/office/drawing/2014/main" id="{B56B302C-2B12-4206-846F-E8DD9867B6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46" name="Pijl: punthaak 345">
                      <a:extLst>
                        <a:ext uri="{FF2B5EF4-FFF2-40B4-BE49-F238E27FC236}">
                          <a16:creationId xmlns:a16="http://schemas.microsoft.com/office/drawing/2014/main" id="{80D30022-39AA-4521-B6E3-A3C3BEFE5FE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39" name="Rechthoek 338">
                <a:extLst>
                  <a:ext uri="{FF2B5EF4-FFF2-40B4-BE49-F238E27FC236}">
                    <a16:creationId xmlns:a16="http://schemas.microsoft.com/office/drawing/2014/main" id="{7D6AD4B8-8793-4756-B837-C5E0AAEF876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40" name="Rechthoek 339">
                <a:extLst>
                  <a:ext uri="{FF2B5EF4-FFF2-40B4-BE49-F238E27FC236}">
                    <a16:creationId xmlns:a16="http://schemas.microsoft.com/office/drawing/2014/main" id="{96D89153-A0FD-4860-8753-8736481603D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13" name="Rechte verbindingslijn 312">
              <a:extLst>
                <a:ext uri="{FF2B5EF4-FFF2-40B4-BE49-F238E27FC236}">
                  <a16:creationId xmlns:a16="http://schemas.microsoft.com/office/drawing/2014/main" id="{5F76A6E5-4858-4C23-AC19-8436E6602461}"/>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14" name="Rechthoek 313">
              <a:extLst>
                <a:ext uri="{FF2B5EF4-FFF2-40B4-BE49-F238E27FC236}">
                  <a16:creationId xmlns:a16="http://schemas.microsoft.com/office/drawing/2014/main" id="{CF32BC31-02D3-42C8-8D1C-AA544468A86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5" name="Ovaal 314">
              <a:extLst>
                <a:ext uri="{FF2B5EF4-FFF2-40B4-BE49-F238E27FC236}">
                  <a16:creationId xmlns:a16="http://schemas.microsoft.com/office/drawing/2014/main" id="{5180D60B-A16A-40AA-845F-D50838484E7B}"/>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6" name="Rechthoek 315">
              <a:extLst>
                <a:ext uri="{FF2B5EF4-FFF2-40B4-BE49-F238E27FC236}">
                  <a16:creationId xmlns:a16="http://schemas.microsoft.com/office/drawing/2014/main" id="{6140E930-7A42-4182-AA95-7826F8599B38}"/>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17" name="Ovaal 316">
              <a:extLst>
                <a:ext uri="{FF2B5EF4-FFF2-40B4-BE49-F238E27FC236}">
                  <a16:creationId xmlns:a16="http://schemas.microsoft.com/office/drawing/2014/main" id="{9CAAB7AF-18F8-4831-9CAE-73C9A160DCA0}"/>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18" name="Rechthoek 317">
              <a:extLst>
                <a:ext uri="{FF2B5EF4-FFF2-40B4-BE49-F238E27FC236}">
                  <a16:creationId xmlns:a16="http://schemas.microsoft.com/office/drawing/2014/main" id="{42F56C63-86E2-43D7-BC04-C02A6D571913}"/>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19" name="Ovaal 318">
              <a:extLst>
                <a:ext uri="{FF2B5EF4-FFF2-40B4-BE49-F238E27FC236}">
                  <a16:creationId xmlns:a16="http://schemas.microsoft.com/office/drawing/2014/main" id="{23C4633F-6A07-4822-B1F5-6B20C8D87E35}"/>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20" name="Rechthoek 319">
              <a:extLst>
                <a:ext uri="{FF2B5EF4-FFF2-40B4-BE49-F238E27FC236}">
                  <a16:creationId xmlns:a16="http://schemas.microsoft.com/office/drawing/2014/main" id="{DEB0A086-1111-4AB4-9AD5-DD7775735DF8}"/>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21" name="Ovaal 320">
              <a:extLst>
                <a:ext uri="{FF2B5EF4-FFF2-40B4-BE49-F238E27FC236}">
                  <a16:creationId xmlns:a16="http://schemas.microsoft.com/office/drawing/2014/main" id="{F2789F1D-4A82-4DA2-B9D7-616E885A6F88}"/>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22" name="Rechthoek 321">
              <a:extLst>
                <a:ext uri="{FF2B5EF4-FFF2-40B4-BE49-F238E27FC236}">
                  <a16:creationId xmlns:a16="http://schemas.microsoft.com/office/drawing/2014/main" id="{CD5BBC9B-3BD9-4CA3-8B0A-CEEED7165B83}"/>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23" name="Rechthoek 322">
              <a:extLst>
                <a:ext uri="{FF2B5EF4-FFF2-40B4-BE49-F238E27FC236}">
                  <a16:creationId xmlns:a16="http://schemas.microsoft.com/office/drawing/2014/main" id="{DB6A35F0-813D-4860-89AC-BEE9DA357E81}"/>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24" name="Rechte verbindingslijn 323">
              <a:extLst>
                <a:ext uri="{FF2B5EF4-FFF2-40B4-BE49-F238E27FC236}">
                  <a16:creationId xmlns:a16="http://schemas.microsoft.com/office/drawing/2014/main" id="{A58D0377-EA26-4D0E-A18D-45DB404DB7AF}"/>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25" name="Ovaal 324">
              <a:extLst>
                <a:ext uri="{FF2B5EF4-FFF2-40B4-BE49-F238E27FC236}">
                  <a16:creationId xmlns:a16="http://schemas.microsoft.com/office/drawing/2014/main" id="{2E0C2D67-0BC2-41D7-9DF5-3E03E433292C}"/>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26" name="Rechthoek 325">
              <a:extLst>
                <a:ext uri="{FF2B5EF4-FFF2-40B4-BE49-F238E27FC236}">
                  <a16:creationId xmlns:a16="http://schemas.microsoft.com/office/drawing/2014/main" id="{992CBF55-359F-4DEB-B150-894282698C3E}"/>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27" name="Ovaal 326">
              <a:extLst>
                <a:ext uri="{FF2B5EF4-FFF2-40B4-BE49-F238E27FC236}">
                  <a16:creationId xmlns:a16="http://schemas.microsoft.com/office/drawing/2014/main" id="{BA5694DC-83A2-4635-8D3C-4E5F8B00A33A}"/>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28" name="Rechthoek 327">
              <a:extLst>
                <a:ext uri="{FF2B5EF4-FFF2-40B4-BE49-F238E27FC236}">
                  <a16:creationId xmlns:a16="http://schemas.microsoft.com/office/drawing/2014/main" id="{B1F18ECE-4948-4A0D-AB74-3CF7D3C2040A}"/>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177" name="Groep 176">
            <a:extLst>
              <a:ext uri="{FF2B5EF4-FFF2-40B4-BE49-F238E27FC236}">
                <a16:creationId xmlns:a16="http://schemas.microsoft.com/office/drawing/2014/main" id="{78C6F4E0-5D60-45C8-9FAE-E6FFE355A4C5}"/>
              </a:ext>
            </a:extLst>
          </p:cNvPr>
          <p:cNvGrpSpPr/>
          <p:nvPr userDrawn="1"/>
        </p:nvGrpSpPr>
        <p:grpSpPr>
          <a:xfrm>
            <a:off x="12391601" y="0"/>
            <a:ext cx="3183678" cy="4278621"/>
            <a:chOff x="12391601" y="0"/>
            <a:chExt cx="3183678" cy="4278621"/>
          </a:xfrm>
        </p:grpSpPr>
        <p:sp>
          <p:nvSpPr>
            <p:cNvPr id="178" name="Rechthoek 177">
              <a:extLst>
                <a:ext uri="{FF2B5EF4-FFF2-40B4-BE49-F238E27FC236}">
                  <a16:creationId xmlns:a16="http://schemas.microsoft.com/office/drawing/2014/main" id="{0C22893C-BA40-4F30-B310-FF8144B6CFF0}"/>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79" name="Ovaal 178">
              <a:extLst>
                <a:ext uri="{FF2B5EF4-FFF2-40B4-BE49-F238E27FC236}">
                  <a16:creationId xmlns:a16="http://schemas.microsoft.com/office/drawing/2014/main" id="{79CAE5B3-89CD-4DC8-A8BF-08FB15BE0D3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0" name="Rechte verbindingslijn 179">
              <a:extLst>
                <a:ext uri="{FF2B5EF4-FFF2-40B4-BE49-F238E27FC236}">
                  <a16:creationId xmlns:a16="http://schemas.microsoft.com/office/drawing/2014/main" id="{D40955E8-D7A3-465A-9964-568A9EFC6B9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81" name="Rechte verbindingslijn 180">
              <a:extLst>
                <a:ext uri="{FF2B5EF4-FFF2-40B4-BE49-F238E27FC236}">
                  <a16:creationId xmlns:a16="http://schemas.microsoft.com/office/drawing/2014/main" id="{2FAF3A56-9A51-4CBE-8098-8F9571346DE9}"/>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82" name="Rechthoek 181">
              <a:extLst>
                <a:ext uri="{FF2B5EF4-FFF2-40B4-BE49-F238E27FC236}">
                  <a16:creationId xmlns:a16="http://schemas.microsoft.com/office/drawing/2014/main" id="{F0BF308B-466D-4584-BC8E-FBC1CEEB93E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83" name="Rechte verbindingslijn 182">
              <a:extLst>
                <a:ext uri="{FF2B5EF4-FFF2-40B4-BE49-F238E27FC236}">
                  <a16:creationId xmlns:a16="http://schemas.microsoft.com/office/drawing/2014/main" id="{85046990-5994-4AEF-B547-B5D72417368B}"/>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84" name="Ovaal 183">
              <a:extLst>
                <a:ext uri="{FF2B5EF4-FFF2-40B4-BE49-F238E27FC236}">
                  <a16:creationId xmlns:a16="http://schemas.microsoft.com/office/drawing/2014/main" id="{6DBF0669-0C69-46DB-9428-DB7E44A6A3BC}"/>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5" name="Rechthoek 184">
              <a:extLst>
                <a:ext uri="{FF2B5EF4-FFF2-40B4-BE49-F238E27FC236}">
                  <a16:creationId xmlns:a16="http://schemas.microsoft.com/office/drawing/2014/main" id="{0B02E7B6-F96B-4E75-8C7C-ADE41BD6F34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86" name="Groep 185">
              <a:extLst>
                <a:ext uri="{FF2B5EF4-FFF2-40B4-BE49-F238E27FC236}">
                  <a16:creationId xmlns:a16="http://schemas.microsoft.com/office/drawing/2014/main" id="{E5FEA21E-BCB2-4A26-811D-05A0C0A904AC}"/>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26335F41-3D56-42FE-898F-07B7FDA75DC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18" name="Rechte verbindingslijn 217">
                <a:extLst>
                  <a:ext uri="{FF2B5EF4-FFF2-40B4-BE49-F238E27FC236}">
                    <a16:creationId xmlns:a16="http://schemas.microsoft.com/office/drawing/2014/main" id="{C440C38C-20D8-4DED-8D3D-6F5ABD4C3C9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A350DD35-2561-4602-A3EF-FE6A7E9F12B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187" name="Groep 186">
              <a:extLst>
                <a:ext uri="{FF2B5EF4-FFF2-40B4-BE49-F238E27FC236}">
                  <a16:creationId xmlns:a16="http://schemas.microsoft.com/office/drawing/2014/main" id="{C0B2A3FC-E4A4-44DE-B669-20ADDC625114}"/>
                </a:ext>
              </a:extLst>
            </p:cNvPr>
            <p:cNvGrpSpPr/>
            <p:nvPr userDrawn="1"/>
          </p:nvGrpSpPr>
          <p:grpSpPr>
            <a:xfrm>
              <a:off x="12757282" y="1141626"/>
              <a:ext cx="294789" cy="318834"/>
              <a:chOff x="14466489" y="1001522"/>
              <a:chExt cx="290627" cy="314333"/>
            </a:xfrm>
          </p:grpSpPr>
          <p:sp>
            <p:nvSpPr>
              <p:cNvPr id="211" name="Rechthoek 210">
                <a:extLst>
                  <a:ext uri="{FF2B5EF4-FFF2-40B4-BE49-F238E27FC236}">
                    <a16:creationId xmlns:a16="http://schemas.microsoft.com/office/drawing/2014/main" id="{EBC83DBF-8E4B-46C1-9008-55DC25F2DEA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12" name="Ovaal 211">
                <a:extLst>
                  <a:ext uri="{FF2B5EF4-FFF2-40B4-BE49-F238E27FC236}">
                    <a16:creationId xmlns:a16="http://schemas.microsoft.com/office/drawing/2014/main" id="{A3A43F3B-3700-4B89-9793-7D3036DECC4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3" name="Vrije vorm: vorm 212">
                <a:extLst>
                  <a:ext uri="{FF2B5EF4-FFF2-40B4-BE49-F238E27FC236}">
                    <a16:creationId xmlns:a16="http://schemas.microsoft.com/office/drawing/2014/main" id="{7D990796-41AD-4004-9980-E2DF175C36AD}"/>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4" name="Rechthoek: afgeronde hoeken 213">
                <a:extLst>
                  <a:ext uri="{FF2B5EF4-FFF2-40B4-BE49-F238E27FC236}">
                    <a16:creationId xmlns:a16="http://schemas.microsoft.com/office/drawing/2014/main" id="{0825E50A-14F4-4E0B-9361-E3D92A7FCCC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15" name="Rechte verbindingslijn 214">
                <a:extLst>
                  <a:ext uri="{FF2B5EF4-FFF2-40B4-BE49-F238E27FC236}">
                    <a16:creationId xmlns:a16="http://schemas.microsoft.com/office/drawing/2014/main" id="{326055B3-01A6-4D15-9109-D66B3E25A20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16" name="Rechte verbindingslijn 215">
                <a:extLst>
                  <a:ext uri="{FF2B5EF4-FFF2-40B4-BE49-F238E27FC236}">
                    <a16:creationId xmlns:a16="http://schemas.microsoft.com/office/drawing/2014/main" id="{ED193875-86D2-4159-BDCD-C7F71AF80FC1}"/>
                  </a:ext>
                </a:extLst>
              </p:cNvPr>
              <p:cNvCxnSpPr>
                <a:cxnSpLocks/>
                <a:stCxn id="21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88" name="Ovaal 187">
              <a:extLst>
                <a:ext uri="{FF2B5EF4-FFF2-40B4-BE49-F238E27FC236}">
                  <a16:creationId xmlns:a16="http://schemas.microsoft.com/office/drawing/2014/main" id="{3A41CEB9-2038-4A12-AE9B-9F111913363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89" name="Rechthoek 188">
              <a:extLst>
                <a:ext uri="{FF2B5EF4-FFF2-40B4-BE49-F238E27FC236}">
                  <a16:creationId xmlns:a16="http://schemas.microsoft.com/office/drawing/2014/main" id="{0FD90EC1-BC0C-4BE7-AC91-6B70F63783D2}"/>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90" name="Rechte verbindingslijn 189">
              <a:extLst>
                <a:ext uri="{FF2B5EF4-FFF2-40B4-BE49-F238E27FC236}">
                  <a16:creationId xmlns:a16="http://schemas.microsoft.com/office/drawing/2014/main" id="{175003E0-947F-493D-87F2-8723C6A8C12C}"/>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91" name="Groep 190">
              <a:extLst>
                <a:ext uri="{FF2B5EF4-FFF2-40B4-BE49-F238E27FC236}">
                  <a16:creationId xmlns:a16="http://schemas.microsoft.com/office/drawing/2014/main" id="{1598CEBC-2D1A-4008-A56D-EDBF216EE1C0}"/>
                </a:ext>
              </a:extLst>
            </p:cNvPr>
            <p:cNvGrpSpPr/>
            <p:nvPr userDrawn="1"/>
          </p:nvGrpSpPr>
          <p:grpSpPr>
            <a:xfrm>
              <a:off x="12696514" y="3540678"/>
              <a:ext cx="514284" cy="612918"/>
              <a:chOff x="12682980" y="3403241"/>
              <a:chExt cx="622284" cy="741632"/>
            </a:xfrm>
          </p:grpSpPr>
          <p:grpSp>
            <p:nvGrpSpPr>
              <p:cNvPr id="195" name="Groep 194">
                <a:extLst>
                  <a:ext uri="{FF2B5EF4-FFF2-40B4-BE49-F238E27FC236}">
                    <a16:creationId xmlns:a16="http://schemas.microsoft.com/office/drawing/2014/main" id="{F182831D-3676-401A-974B-FAB465349B92}"/>
                  </a:ext>
                </a:extLst>
              </p:cNvPr>
              <p:cNvGrpSpPr/>
              <p:nvPr userDrawn="1"/>
            </p:nvGrpSpPr>
            <p:grpSpPr>
              <a:xfrm>
                <a:off x="12771568" y="3403241"/>
                <a:ext cx="467138" cy="448489"/>
                <a:chOff x="12782195" y="3403241"/>
                <a:chExt cx="467138" cy="448489"/>
              </a:xfrm>
            </p:grpSpPr>
            <p:grpSp>
              <p:nvGrpSpPr>
                <p:cNvPr id="198" name="Groep 197">
                  <a:extLst>
                    <a:ext uri="{FF2B5EF4-FFF2-40B4-BE49-F238E27FC236}">
                      <a16:creationId xmlns:a16="http://schemas.microsoft.com/office/drawing/2014/main" id="{0665E7BB-8ABA-4736-993F-5FECA7203C4E}"/>
                    </a:ext>
                  </a:extLst>
                </p:cNvPr>
                <p:cNvGrpSpPr/>
                <p:nvPr userDrawn="1"/>
              </p:nvGrpSpPr>
              <p:grpSpPr>
                <a:xfrm>
                  <a:off x="12782195" y="3403241"/>
                  <a:ext cx="412967" cy="393907"/>
                  <a:chOff x="13554906" y="3320109"/>
                  <a:chExt cx="443906" cy="423419"/>
                </a:xfrm>
              </p:grpSpPr>
              <p:grpSp>
                <p:nvGrpSpPr>
                  <p:cNvPr id="205" name="Groep 204">
                    <a:extLst>
                      <a:ext uri="{FF2B5EF4-FFF2-40B4-BE49-F238E27FC236}">
                        <a16:creationId xmlns:a16="http://schemas.microsoft.com/office/drawing/2014/main" id="{F70C4021-3530-4634-96F9-21ED1F2E8908}"/>
                      </a:ext>
                    </a:extLst>
                  </p:cNvPr>
                  <p:cNvGrpSpPr/>
                  <p:nvPr userDrawn="1"/>
                </p:nvGrpSpPr>
                <p:grpSpPr>
                  <a:xfrm>
                    <a:off x="13554906" y="3320109"/>
                    <a:ext cx="443906" cy="423419"/>
                    <a:chOff x="12909684" y="1276143"/>
                    <a:chExt cx="443906" cy="423419"/>
                  </a:xfrm>
                </p:grpSpPr>
                <p:sp>
                  <p:nvSpPr>
                    <p:cNvPr id="208" name="Rechthoek 207">
                      <a:extLst>
                        <a:ext uri="{FF2B5EF4-FFF2-40B4-BE49-F238E27FC236}">
                          <a16:creationId xmlns:a16="http://schemas.microsoft.com/office/drawing/2014/main" id="{D5C1438D-A735-4167-A249-AA61399B404C}"/>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09" name="Rechthoek 208">
                      <a:extLst>
                        <a:ext uri="{FF2B5EF4-FFF2-40B4-BE49-F238E27FC236}">
                          <a16:creationId xmlns:a16="http://schemas.microsoft.com/office/drawing/2014/main" id="{F21FF678-A67F-4BAB-84A6-A8FEB9A213A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10" name="Ovaal 209">
                      <a:extLst>
                        <a:ext uri="{FF2B5EF4-FFF2-40B4-BE49-F238E27FC236}">
                          <a16:creationId xmlns:a16="http://schemas.microsoft.com/office/drawing/2014/main" id="{29BC043A-5D61-4FFF-AA22-9693944D309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206" name="Afbeelding 205">
                    <a:extLst>
                      <a:ext uri="{FF2B5EF4-FFF2-40B4-BE49-F238E27FC236}">
                        <a16:creationId xmlns:a16="http://schemas.microsoft.com/office/drawing/2014/main" id="{079F8545-AB46-4034-A22C-6B991D102ED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207" name="Afbeelding 206">
                    <a:extLst>
                      <a:ext uri="{FF2B5EF4-FFF2-40B4-BE49-F238E27FC236}">
                        <a16:creationId xmlns:a16="http://schemas.microsoft.com/office/drawing/2014/main" id="{9DEE9B1E-4595-4571-AB13-AD348943704B}"/>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8" y="3454369"/>
                    <a:ext cx="173367" cy="111423"/>
                  </a:xfrm>
                  <a:prstGeom prst="rect">
                    <a:avLst/>
                  </a:prstGeom>
                </p:spPr>
              </p:pic>
            </p:grpSp>
            <p:grpSp>
              <p:nvGrpSpPr>
                <p:cNvPr id="199" name="Groep 198">
                  <a:extLst>
                    <a:ext uri="{FF2B5EF4-FFF2-40B4-BE49-F238E27FC236}">
                      <a16:creationId xmlns:a16="http://schemas.microsoft.com/office/drawing/2014/main" id="{798D5E4C-42BE-41E8-9B27-B327CD424938}"/>
                    </a:ext>
                  </a:extLst>
                </p:cNvPr>
                <p:cNvGrpSpPr/>
                <p:nvPr userDrawn="1"/>
              </p:nvGrpSpPr>
              <p:grpSpPr>
                <a:xfrm>
                  <a:off x="13103513" y="3705268"/>
                  <a:ext cx="145820" cy="146462"/>
                  <a:chOff x="13096169" y="3602278"/>
                  <a:chExt cx="145820" cy="146462"/>
                </a:xfrm>
              </p:grpSpPr>
              <p:sp>
                <p:nvSpPr>
                  <p:cNvPr id="203" name="Rechthoek 202">
                    <a:extLst>
                      <a:ext uri="{FF2B5EF4-FFF2-40B4-BE49-F238E27FC236}">
                        <a16:creationId xmlns:a16="http://schemas.microsoft.com/office/drawing/2014/main" id="{9426A64A-A40A-4E0A-BE4B-4F4A5B08C32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04" name="Rechthoek 203">
                    <a:extLst>
                      <a:ext uri="{FF2B5EF4-FFF2-40B4-BE49-F238E27FC236}">
                        <a16:creationId xmlns:a16="http://schemas.microsoft.com/office/drawing/2014/main" id="{232A4A1C-3722-4DEA-8F45-097FDB8D88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00" name="Groep 199">
                  <a:extLst>
                    <a:ext uri="{FF2B5EF4-FFF2-40B4-BE49-F238E27FC236}">
                      <a16:creationId xmlns:a16="http://schemas.microsoft.com/office/drawing/2014/main" id="{A963ED44-16C6-43CE-BB5E-4F3D30829AD7}"/>
                    </a:ext>
                  </a:extLst>
                </p:cNvPr>
                <p:cNvGrpSpPr/>
                <p:nvPr userDrawn="1"/>
              </p:nvGrpSpPr>
              <p:grpSpPr>
                <a:xfrm rot="10800000">
                  <a:off x="13061402" y="3665637"/>
                  <a:ext cx="145820" cy="146462"/>
                  <a:chOff x="13096169" y="3602278"/>
                  <a:chExt cx="145820" cy="146462"/>
                </a:xfrm>
              </p:grpSpPr>
              <p:sp>
                <p:nvSpPr>
                  <p:cNvPr id="201" name="Rechthoek 200">
                    <a:extLst>
                      <a:ext uri="{FF2B5EF4-FFF2-40B4-BE49-F238E27FC236}">
                        <a16:creationId xmlns:a16="http://schemas.microsoft.com/office/drawing/2014/main" id="{70CEB185-DB8C-4786-B066-24AE0D25D99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02" name="Rechthoek 201">
                    <a:extLst>
                      <a:ext uri="{FF2B5EF4-FFF2-40B4-BE49-F238E27FC236}">
                        <a16:creationId xmlns:a16="http://schemas.microsoft.com/office/drawing/2014/main" id="{C7A02C0C-4BD5-430B-AA90-54B9D5A2104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196" name="Rechthoek 195">
                <a:extLst>
                  <a:ext uri="{FF2B5EF4-FFF2-40B4-BE49-F238E27FC236}">
                    <a16:creationId xmlns:a16="http://schemas.microsoft.com/office/drawing/2014/main" id="{088F75E5-3279-4406-ADED-7193A27BBF7C}"/>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197" name="Gelijkbenige driehoek 196">
                <a:extLst>
                  <a:ext uri="{FF2B5EF4-FFF2-40B4-BE49-F238E27FC236}">
                    <a16:creationId xmlns:a16="http://schemas.microsoft.com/office/drawing/2014/main" id="{4910FB32-4732-40BB-A8B7-3A645ED0E431}"/>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1763551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KST / AFBEELDING (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2912620"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1FE06E3F-E8B6-4FFF-9874-0C354FD306CD}"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AFBEELDING (L)</a:t>
            </a:r>
          </a:p>
        </p:txBody>
      </p:sp>
      <p:sp>
        <p:nvSpPr>
          <p:cNvPr id="19" name="Tijdelijke aanduiding voor afbeelding 16">
            <a:extLst>
              <a:ext uri="{FF2B5EF4-FFF2-40B4-BE49-F238E27FC236}">
                <a16:creationId xmlns:a16="http://schemas.microsoft.com/office/drawing/2014/main" id="{19878719-25FF-47F8-88BB-C801FBBD21F2}"/>
              </a:ext>
            </a:extLst>
          </p:cNvPr>
          <p:cNvSpPr>
            <a:spLocks noGrp="1"/>
          </p:cNvSpPr>
          <p:nvPr>
            <p:ph type="pic" sz="quarter" idx="15" hasCustomPrompt="1"/>
          </p:nvPr>
        </p:nvSpPr>
        <p:spPr>
          <a:xfrm>
            <a:off x="3992873" y="1459111"/>
            <a:ext cx="7658873" cy="4119774"/>
          </a:xfrm>
          <a:prstGeom prst="roundRect">
            <a:avLst>
              <a:gd name="adj" fmla="val 1562"/>
            </a:avLst>
          </a:prstGeo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22" name="Tijdelijke aanduiding voor tekst 43">
            <a:extLst>
              <a:ext uri="{FF2B5EF4-FFF2-40B4-BE49-F238E27FC236}">
                <a16:creationId xmlns:a16="http://schemas.microsoft.com/office/drawing/2014/main" id="{B4FF56EE-FE43-4DA5-A312-68CA404863F1}"/>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2" name="GRID" hidden="1">
            <a:extLst>
              <a:ext uri="{FF2B5EF4-FFF2-40B4-BE49-F238E27FC236}">
                <a16:creationId xmlns:a16="http://schemas.microsoft.com/office/drawing/2014/main" id="{1E41F764-1AFD-4406-8FC3-8AFDE81A144B}"/>
              </a:ext>
            </a:extLst>
          </p:cNvPr>
          <p:cNvGrpSpPr/>
          <p:nvPr userDrawn="1"/>
        </p:nvGrpSpPr>
        <p:grpSpPr>
          <a:xfrm>
            <a:off x="0" y="0"/>
            <a:ext cx="12192000" cy="6858000"/>
            <a:chOff x="0" y="0"/>
            <a:chExt cx="12192000" cy="6858000"/>
          </a:xfrm>
          <a:solidFill>
            <a:schemeClr val="tx1">
              <a:alpha val="30000"/>
            </a:schemeClr>
          </a:solidFill>
        </p:grpSpPr>
        <p:sp>
          <p:nvSpPr>
            <p:cNvPr id="13" name="Rechthoek 12">
              <a:extLst>
                <a:ext uri="{FF2B5EF4-FFF2-40B4-BE49-F238E27FC236}">
                  <a16:creationId xmlns:a16="http://schemas.microsoft.com/office/drawing/2014/main" id="{A48EBADC-7828-4BE0-96FE-54072374E48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93FEF0DA-6152-49B4-88A9-FA1B029BA12E}"/>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9D7895AD-EFA0-49FE-B48C-7F8CB364A30A}"/>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CCFF143D-181F-426E-8325-F22238B7EEBE}"/>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E79AA7-F8F1-455E-9B66-D81495328928}"/>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533D6696-A362-4DD7-803F-2DC08411661E}"/>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EFCCFC8E-71E5-444E-ACBB-E36F283C7588}"/>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5D8956D1-457D-40F8-8190-FA6F756085CB}"/>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1AEE44CE-345A-41FC-8F3E-46B190D19250}"/>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B5CFE119-C5CF-4E3E-9E92-B99F66582E74}"/>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3F952043-26FE-4C8E-A1A4-5780FB85A1A5}"/>
                </a:ext>
              </a:extLst>
            </p:cNvPr>
            <p:cNvSpPr/>
            <p:nvPr userDrawn="1"/>
          </p:nvSpPr>
          <p:spPr>
            <a:xfrm>
              <a:off x="5826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B1470838-9E0F-49A1-AFAE-65487F57FB08}"/>
                </a:ext>
              </a:extLst>
            </p:cNvPr>
            <p:cNvSpPr/>
            <p:nvPr userDrawn="1"/>
          </p:nvSpPr>
          <p:spPr>
            <a:xfrm>
              <a:off x="829247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D9E6C3CF-16A6-4C4A-A370-DB04E3A4CF43}"/>
                </a:ext>
              </a:extLst>
            </p:cNvPr>
            <p:cNvSpPr/>
            <p:nvPr userDrawn="1"/>
          </p:nvSpPr>
          <p:spPr>
            <a:xfrm>
              <a:off x="3452873"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313" name="Instructie">
            <a:extLst>
              <a:ext uri="{FF2B5EF4-FFF2-40B4-BE49-F238E27FC236}">
                <a16:creationId xmlns:a16="http://schemas.microsoft.com/office/drawing/2014/main" id="{66A5A389-707D-4258-A7D5-BE1780C3409B}"/>
              </a:ext>
            </a:extLst>
          </p:cNvPr>
          <p:cNvGrpSpPr/>
          <p:nvPr userDrawn="1"/>
        </p:nvGrpSpPr>
        <p:grpSpPr>
          <a:xfrm>
            <a:off x="-3437547" y="1434"/>
            <a:ext cx="3201327" cy="6041867"/>
            <a:chOff x="-3437547" y="1434"/>
            <a:chExt cx="3201327" cy="6041867"/>
          </a:xfrm>
        </p:grpSpPr>
        <p:cxnSp>
          <p:nvCxnSpPr>
            <p:cNvPr id="314" name="Rechte verbindingslijn 313">
              <a:extLst>
                <a:ext uri="{FF2B5EF4-FFF2-40B4-BE49-F238E27FC236}">
                  <a16:creationId xmlns:a16="http://schemas.microsoft.com/office/drawing/2014/main" id="{BDB3E11C-04FA-4977-B005-A195F31C2869}"/>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5" name="Ovaal 314">
              <a:extLst>
                <a:ext uri="{FF2B5EF4-FFF2-40B4-BE49-F238E27FC236}">
                  <a16:creationId xmlns:a16="http://schemas.microsoft.com/office/drawing/2014/main" id="{19CB214C-60F4-48EF-A8B8-BC59C731B119}"/>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6" name="Rechthoek 315">
              <a:extLst>
                <a:ext uri="{FF2B5EF4-FFF2-40B4-BE49-F238E27FC236}">
                  <a16:creationId xmlns:a16="http://schemas.microsoft.com/office/drawing/2014/main" id="{B61E6B0A-1B59-4F1B-9174-D61F8D244499}"/>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7" name="Ovaal 316">
              <a:extLst>
                <a:ext uri="{FF2B5EF4-FFF2-40B4-BE49-F238E27FC236}">
                  <a16:creationId xmlns:a16="http://schemas.microsoft.com/office/drawing/2014/main" id="{AD1E1F91-5F43-4D18-920A-DA67E3671B90}"/>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18" name="Rechthoek 317">
              <a:extLst>
                <a:ext uri="{FF2B5EF4-FFF2-40B4-BE49-F238E27FC236}">
                  <a16:creationId xmlns:a16="http://schemas.microsoft.com/office/drawing/2014/main" id="{C333984C-4F99-4CD5-963F-7BE7C7EDDE91}"/>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19" name="Ovaal 318">
              <a:extLst>
                <a:ext uri="{FF2B5EF4-FFF2-40B4-BE49-F238E27FC236}">
                  <a16:creationId xmlns:a16="http://schemas.microsoft.com/office/drawing/2014/main" id="{4FCC8973-A1CB-4EE6-84BF-13394AF321B7}"/>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20" name="Rechthoek 319">
              <a:extLst>
                <a:ext uri="{FF2B5EF4-FFF2-40B4-BE49-F238E27FC236}">
                  <a16:creationId xmlns:a16="http://schemas.microsoft.com/office/drawing/2014/main" id="{7BB53F2E-FB55-4AF6-834B-FDE8EC697243}"/>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21" name="Ovaal 320">
              <a:extLst>
                <a:ext uri="{FF2B5EF4-FFF2-40B4-BE49-F238E27FC236}">
                  <a16:creationId xmlns:a16="http://schemas.microsoft.com/office/drawing/2014/main" id="{288904F1-9CC1-4BAD-A57F-A15FE1ACC443}"/>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2" name="Rechthoek 321">
              <a:extLst>
                <a:ext uri="{FF2B5EF4-FFF2-40B4-BE49-F238E27FC236}">
                  <a16:creationId xmlns:a16="http://schemas.microsoft.com/office/drawing/2014/main" id="{9AD2C58B-3D0E-4D39-AA53-E03F600286BB}"/>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23" name="Rechthoek 322">
              <a:extLst>
                <a:ext uri="{FF2B5EF4-FFF2-40B4-BE49-F238E27FC236}">
                  <a16:creationId xmlns:a16="http://schemas.microsoft.com/office/drawing/2014/main" id="{44130C0F-4785-4346-8053-6EDEAFB3C95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4" name="Ovaal 323">
              <a:extLst>
                <a:ext uri="{FF2B5EF4-FFF2-40B4-BE49-F238E27FC236}">
                  <a16:creationId xmlns:a16="http://schemas.microsoft.com/office/drawing/2014/main" id="{8079D226-9D9A-4CCF-AF12-BEAF7081233F}"/>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5" name="Rechte verbindingslijn 324">
              <a:extLst>
                <a:ext uri="{FF2B5EF4-FFF2-40B4-BE49-F238E27FC236}">
                  <a16:creationId xmlns:a16="http://schemas.microsoft.com/office/drawing/2014/main" id="{CD1F7B5D-15A4-4C51-BA9A-8D696834ACB9}"/>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6" name="Groep 325">
              <a:extLst>
                <a:ext uri="{FF2B5EF4-FFF2-40B4-BE49-F238E27FC236}">
                  <a16:creationId xmlns:a16="http://schemas.microsoft.com/office/drawing/2014/main" id="{3E8D81BD-43DC-49CA-9E86-B63A07D93C8D}"/>
                </a:ext>
              </a:extLst>
            </p:cNvPr>
            <p:cNvGrpSpPr/>
            <p:nvPr userDrawn="1"/>
          </p:nvGrpSpPr>
          <p:grpSpPr>
            <a:xfrm>
              <a:off x="-3437547" y="1295337"/>
              <a:ext cx="2933825" cy="558875"/>
              <a:chOff x="-3419346" y="368233"/>
              <a:chExt cx="3904920" cy="743862"/>
            </a:xfrm>
          </p:grpSpPr>
          <p:sp>
            <p:nvSpPr>
              <p:cNvPr id="343" name="Rechthoek 342">
                <a:extLst>
                  <a:ext uri="{FF2B5EF4-FFF2-40B4-BE49-F238E27FC236}">
                    <a16:creationId xmlns:a16="http://schemas.microsoft.com/office/drawing/2014/main" id="{971C35B1-2351-4514-8B7F-9B628E926C2B}"/>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4" name="Rechte verbindingslijn 343">
                <a:extLst>
                  <a:ext uri="{FF2B5EF4-FFF2-40B4-BE49-F238E27FC236}">
                    <a16:creationId xmlns:a16="http://schemas.microsoft.com/office/drawing/2014/main" id="{129E9C8E-61FE-4179-9B3C-6855B49B8AD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5" name="Rechte verbindingslijn 344">
                <a:extLst>
                  <a:ext uri="{FF2B5EF4-FFF2-40B4-BE49-F238E27FC236}">
                    <a16:creationId xmlns:a16="http://schemas.microsoft.com/office/drawing/2014/main" id="{B1D22699-471A-40EF-90FB-B7672957348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6" name="Rechthoek 345">
                <a:extLst>
                  <a:ext uri="{FF2B5EF4-FFF2-40B4-BE49-F238E27FC236}">
                    <a16:creationId xmlns:a16="http://schemas.microsoft.com/office/drawing/2014/main" id="{F0A32C35-7BF9-444E-BE85-24B10C3B2D3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47" name="Groep 346">
                <a:extLst>
                  <a:ext uri="{FF2B5EF4-FFF2-40B4-BE49-F238E27FC236}">
                    <a16:creationId xmlns:a16="http://schemas.microsoft.com/office/drawing/2014/main" id="{D226C922-5240-41B5-AD5F-986D1D179744}"/>
                  </a:ext>
                </a:extLst>
              </p:cNvPr>
              <p:cNvGrpSpPr/>
              <p:nvPr userDrawn="1"/>
            </p:nvGrpSpPr>
            <p:grpSpPr>
              <a:xfrm>
                <a:off x="-3002834" y="720303"/>
                <a:ext cx="182598" cy="143759"/>
                <a:chOff x="-3310843" y="700986"/>
                <a:chExt cx="182598" cy="143759"/>
              </a:xfrm>
            </p:grpSpPr>
            <p:grpSp>
              <p:nvGrpSpPr>
                <p:cNvPr id="386" name="Groep 385">
                  <a:extLst>
                    <a:ext uri="{FF2B5EF4-FFF2-40B4-BE49-F238E27FC236}">
                      <a16:creationId xmlns:a16="http://schemas.microsoft.com/office/drawing/2014/main" id="{CDFBA10E-89A1-4D4B-A357-5FF5D79DD9C0}"/>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61BCBED7-C234-41D6-8596-5D10C0207F4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CAA329F8-73AE-4812-9367-B3EA57D9837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6E5F5E82-5243-4BDC-8A4D-D86D10FEDC3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5B8B2FDE-1D7F-4EB8-B9E7-BB3BCD243FF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835EFA3A-E9E6-4BC7-BE87-618044D5893D}"/>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4FA547EF-5FED-403B-A576-8B68064FFB26}"/>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BA4D0C60-A865-4254-B046-EFFAEE0F206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9" name="Pijl: punthaak 388">
                    <a:extLst>
                      <a:ext uri="{FF2B5EF4-FFF2-40B4-BE49-F238E27FC236}">
                        <a16:creationId xmlns:a16="http://schemas.microsoft.com/office/drawing/2014/main" id="{ED0EB921-B0D9-43E7-AE4B-85E283BA211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48" name="Groep 347">
                <a:extLst>
                  <a:ext uri="{FF2B5EF4-FFF2-40B4-BE49-F238E27FC236}">
                    <a16:creationId xmlns:a16="http://schemas.microsoft.com/office/drawing/2014/main" id="{F9C2DC79-BD42-411B-9B5B-F5ED1BD7FFC6}"/>
                  </a:ext>
                </a:extLst>
              </p:cNvPr>
              <p:cNvGrpSpPr/>
              <p:nvPr userDrawn="1"/>
            </p:nvGrpSpPr>
            <p:grpSpPr>
              <a:xfrm>
                <a:off x="-3326107" y="720303"/>
                <a:ext cx="182598" cy="143759"/>
                <a:chOff x="-3634116" y="700986"/>
                <a:chExt cx="182598" cy="143759"/>
              </a:xfrm>
            </p:grpSpPr>
            <p:grpSp>
              <p:nvGrpSpPr>
                <p:cNvPr id="377" name="Groep 376">
                  <a:extLst>
                    <a:ext uri="{FF2B5EF4-FFF2-40B4-BE49-F238E27FC236}">
                      <a16:creationId xmlns:a16="http://schemas.microsoft.com/office/drawing/2014/main" id="{945510EE-13EC-407D-9B73-D49262235D75}"/>
                    </a:ext>
                  </a:extLst>
                </p:cNvPr>
                <p:cNvGrpSpPr/>
                <p:nvPr userDrawn="1"/>
              </p:nvGrpSpPr>
              <p:grpSpPr>
                <a:xfrm>
                  <a:off x="-3634116" y="700986"/>
                  <a:ext cx="182598" cy="143759"/>
                  <a:chOff x="-3634116" y="700986"/>
                  <a:chExt cx="182598" cy="143759"/>
                </a:xfrm>
              </p:grpSpPr>
              <p:cxnSp>
                <p:nvCxnSpPr>
                  <p:cNvPr id="381" name="Rechte verbindingslijn 380">
                    <a:extLst>
                      <a:ext uri="{FF2B5EF4-FFF2-40B4-BE49-F238E27FC236}">
                        <a16:creationId xmlns:a16="http://schemas.microsoft.com/office/drawing/2014/main" id="{F59B2C75-E712-49B1-A8F4-CC907FD5BD2E}"/>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2AB032FF-F29F-4E98-AB4B-2CC049ECD19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539E62BF-1CAC-431E-870F-4C0877B09ECF}"/>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4" name="Rechte verbindingslijn 383">
                    <a:extLst>
                      <a:ext uri="{FF2B5EF4-FFF2-40B4-BE49-F238E27FC236}">
                        <a16:creationId xmlns:a16="http://schemas.microsoft.com/office/drawing/2014/main" id="{066ACC7E-9034-4381-960C-CF046F2E0A3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FB849B54-1A01-4287-B972-38AC9C5039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78" name="Groep 377">
                  <a:extLst>
                    <a:ext uri="{FF2B5EF4-FFF2-40B4-BE49-F238E27FC236}">
                      <a16:creationId xmlns:a16="http://schemas.microsoft.com/office/drawing/2014/main" id="{D469F597-4C34-4702-B603-A37C34FE4C6A}"/>
                    </a:ext>
                  </a:extLst>
                </p:cNvPr>
                <p:cNvGrpSpPr/>
                <p:nvPr userDrawn="1"/>
              </p:nvGrpSpPr>
              <p:grpSpPr>
                <a:xfrm>
                  <a:off x="-3634047" y="735854"/>
                  <a:ext cx="88801" cy="72568"/>
                  <a:chOff x="-2091059" y="1395403"/>
                  <a:chExt cx="157316" cy="128558"/>
                </a:xfrm>
              </p:grpSpPr>
              <p:sp>
                <p:nvSpPr>
                  <p:cNvPr id="379" name="Rechthoek 378">
                    <a:extLst>
                      <a:ext uri="{FF2B5EF4-FFF2-40B4-BE49-F238E27FC236}">
                        <a16:creationId xmlns:a16="http://schemas.microsoft.com/office/drawing/2014/main" id="{89E6AA46-0CC3-4E9C-8AC4-B58C5A7923F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0" name="Pijl: punthaak 379">
                    <a:extLst>
                      <a:ext uri="{FF2B5EF4-FFF2-40B4-BE49-F238E27FC236}">
                        <a16:creationId xmlns:a16="http://schemas.microsoft.com/office/drawing/2014/main" id="{6C752CED-A17F-424D-9A4B-94385983E14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49" name="Rechte verbindingslijn 348">
                <a:extLst>
                  <a:ext uri="{FF2B5EF4-FFF2-40B4-BE49-F238E27FC236}">
                    <a16:creationId xmlns:a16="http://schemas.microsoft.com/office/drawing/2014/main" id="{C3F67446-0C0D-4B17-9A0E-57AC35069F38}"/>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50" name="Rechte verbindingslijn 349">
                <a:extLst>
                  <a:ext uri="{FF2B5EF4-FFF2-40B4-BE49-F238E27FC236}">
                    <a16:creationId xmlns:a16="http://schemas.microsoft.com/office/drawing/2014/main" id="{65DF656D-3D0C-4EEC-A993-B1A665718ED6}"/>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51" name="Groep 350">
                <a:extLst>
                  <a:ext uri="{FF2B5EF4-FFF2-40B4-BE49-F238E27FC236}">
                    <a16:creationId xmlns:a16="http://schemas.microsoft.com/office/drawing/2014/main" id="{13ABDE18-A6F3-451C-BFAC-0373790CBD59}"/>
                  </a:ext>
                </a:extLst>
              </p:cNvPr>
              <p:cNvGrpSpPr/>
              <p:nvPr userDrawn="1"/>
            </p:nvGrpSpPr>
            <p:grpSpPr>
              <a:xfrm>
                <a:off x="-2425037" y="370226"/>
                <a:ext cx="357690" cy="330595"/>
                <a:chOff x="-2721817" y="347336"/>
                <a:chExt cx="432805" cy="400021"/>
              </a:xfrm>
            </p:grpSpPr>
            <p:sp>
              <p:nvSpPr>
                <p:cNvPr id="366" name="Rechthoek 365">
                  <a:extLst>
                    <a:ext uri="{FF2B5EF4-FFF2-40B4-BE49-F238E27FC236}">
                      <a16:creationId xmlns:a16="http://schemas.microsoft.com/office/drawing/2014/main" id="{2E18999F-9F18-439F-B7F1-ACF0C137626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67" name="Groep 366">
                  <a:extLst>
                    <a:ext uri="{FF2B5EF4-FFF2-40B4-BE49-F238E27FC236}">
                      <a16:creationId xmlns:a16="http://schemas.microsoft.com/office/drawing/2014/main" id="{00543282-9CE6-4F0B-8681-09F96EB87924}"/>
                    </a:ext>
                  </a:extLst>
                </p:cNvPr>
                <p:cNvGrpSpPr/>
                <p:nvPr userDrawn="1"/>
              </p:nvGrpSpPr>
              <p:grpSpPr>
                <a:xfrm>
                  <a:off x="-2652453" y="431583"/>
                  <a:ext cx="294076" cy="231526"/>
                  <a:chOff x="-3634116" y="700986"/>
                  <a:chExt cx="182598" cy="143759"/>
                </a:xfrm>
              </p:grpSpPr>
              <p:grpSp>
                <p:nvGrpSpPr>
                  <p:cNvPr id="368" name="Groep 367">
                    <a:extLst>
                      <a:ext uri="{FF2B5EF4-FFF2-40B4-BE49-F238E27FC236}">
                        <a16:creationId xmlns:a16="http://schemas.microsoft.com/office/drawing/2014/main" id="{19A9E15F-A54E-4B58-9A1D-F9E626A222C6}"/>
                      </a:ext>
                    </a:extLst>
                  </p:cNvPr>
                  <p:cNvGrpSpPr/>
                  <p:nvPr userDrawn="1"/>
                </p:nvGrpSpPr>
                <p:grpSpPr>
                  <a:xfrm>
                    <a:off x="-3634116" y="700986"/>
                    <a:ext cx="182598" cy="143759"/>
                    <a:chOff x="-3634116" y="700986"/>
                    <a:chExt cx="182598" cy="143759"/>
                  </a:xfrm>
                </p:grpSpPr>
                <p:cxnSp>
                  <p:nvCxnSpPr>
                    <p:cNvPr id="372" name="Rechte verbindingslijn 371">
                      <a:extLst>
                        <a:ext uri="{FF2B5EF4-FFF2-40B4-BE49-F238E27FC236}">
                          <a16:creationId xmlns:a16="http://schemas.microsoft.com/office/drawing/2014/main" id="{C574005F-A767-4953-820A-754DD085423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3" name="Rechte verbindingslijn 372">
                      <a:extLst>
                        <a:ext uri="{FF2B5EF4-FFF2-40B4-BE49-F238E27FC236}">
                          <a16:creationId xmlns:a16="http://schemas.microsoft.com/office/drawing/2014/main" id="{BE403BE7-0AF0-4359-80D5-94BB7AE7901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4" name="Rechte verbindingslijn 373">
                      <a:extLst>
                        <a:ext uri="{FF2B5EF4-FFF2-40B4-BE49-F238E27FC236}">
                          <a16:creationId xmlns:a16="http://schemas.microsoft.com/office/drawing/2014/main" id="{9F816BDA-BB3E-42DB-A7FB-38BEF17F60D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5" name="Rechte verbindingslijn 374">
                      <a:extLst>
                        <a:ext uri="{FF2B5EF4-FFF2-40B4-BE49-F238E27FC236}">
                          <a16:creationId xmlns:a16="http://schemas.microsoft.com/office/drawing/2014/main" id="{280E0709-802D-4135-9A10-F1F0EA7C5F4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6" name="Rechte verbindingslijn 375">
                      <a:extLst>
                        <a:ext uri="{FF2B5EF4-FFF2-40B4-BE49-F238E27FC236}">
                          <a16:creationId xmlns:a16="http://schemas.microsoft.com/office/drawing/2014/main" id="{A1F81D07-C763-479C-8C91-DC115C0D8E9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69" name="Groep 368">
                    <a:extLst>
                      <a:ext uri="{FF2B5EF4-FFF2-40B4-BE49-F238E27FC236}">
                        <a16:creationId xmlns:a16="http://schemas.microsoft.com/office/drawing/2014/main" id="{16733BA1-9B49-4AB7-89E2-E477F0C88041}"/>
                      </a:ext>
                    </a:extLst>
                  </p:cNvPr>
                  <p:cNvGrpSpPr/>
                  <p:nvPr userDrawn="1"/>
                </p:nvGrpSpPr>
                <p:grpSpPr>
                  <a:xfrm>
                    <a:off x="-3634047" y="735854"/>
                    <a:ext cx="88801" cy="72568"/>
                    <a:chOff x="-2091059" y="1395403"/>
                    <a:chExt cx="157316" cy="128558"/>
                  </a:xfrm>
                </p:grpSpPr>
                <p:sp>
                  <p:nvSpPr>
                    <p:cNvPr id="370" name="Rechthoek 369">
                      <a:extLst>
                        <a:ext uri="{FF2B5EF4-FFF2-40B4-BE49-F238E27FC236}">
                          <a16:creationId xmlns:a16="http://schemas.microsoft.com/office/drawing/2014/main" id="{C02D85BB-2B7A-48B9-8747-2B4BDC63DF6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1" name="Pijl: punthaak 370">
                      <a:extLst>
                        <a:ext uri="{FF2B5EF4-FFF2-40B4-BE49-F238E27FC236}">
                          <a16:creationId xmlns:a16="http://schemas.microsoft.com/office/drawing/2014/main" id="{5208E2D0-D1B8-4710-ACA3-E340604C5EE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2" name="Groep 351">
                <a:extLst>
                  <a:ext uri="{FF2B5EF4-FFF2-40B4-BE49-F238E27FC236}">
                    <a16:creationId xmlns:a16="http://schemas.microsoft.com/office/drawing/2014/main" id="{2F7B175D-9B0F-4CB9-81A4-07883B538FDD}"/>
                  </a:ext>
                </a:extLst>
              </p:cNvPr>
              <p:cNvGrpSpPr/>
              <p:nvPr userDrawn="1"/>
            </p:nvGrpSpPr>
            <p:grpSpPr>
              <a:xfrm>
                <a:off x="-2425037" y="781500"/>
                <a:ext cx="357690" cy="330595"/>
                <a:chOff x="-2721817" y="782525"/>
                <a:chExt cx="432805" cy="400021"/>
              </a:xfrm>
            </p:grpSpPr>
            <p:sp>
              <p:nvSpPr>
                <p:cNvPr id="355" name="Rechthoek 354">
                  <a:extLst>
                    <a:ext uri="{FF2B5EF4-FFF2-40B4-BE49-F238E27FC236}">
                      <a16:creationId xmlns:a16="http://schemas.microsoft.com/office/drawing/2014/main" id="{517D5E23-FB09-4E72-A832-C28BD866FFD7}"/>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6" name="Groep 355">
                  <a:extLst>
                    <a:ext uri="{FF2B5EF4-FFF2-40B4-BE49-F238E27FC236}">
                      <a16:creationId xmlns:a16="http://schemas.microsoft.com/office/drawing/2014/main" id="{9528064D-0826-4BFC-86D3-9D1EF718CB16}"/>
                    </a:ext>
                  </a:extLst>
                </p:cNvPr>
                <p:cNvGrpSpPr/>
                <p:nvPr userDrawn="1"/>
              </p:nvGrpSpPr>
              <p:grpSpPr>
                <a:xfrm>
                  <a:off x="-2652453" y="866772"/>
                  <a:ext cx="294076" cy="231526"/>
                  <a:chOff x="-3310843" y="700986"/>
                  <a:chExt cx="182598" cy="143759"/>
                </a:xfrm>
              </p:grpSpPr>
              <p:grpSp>
                <p:nvGrpSpPr>
                  <p:cNvPr id="357" name="Groep 356">
                    <a:extLst>
                      <a:ext uri="{FF2B5EF4-FFF2-40B4-BE49-F238E27FC236}">
                        <a16:creationId xmlns:a16="http://schemas.microsoft.com/office/drawing/2014/main" id="{7F35971B-94C6-468B-83CC-521FA2533FA5}"/>
                      </a:ext>
                    </a:extLst>
                  </p:cNvPr>
                  <p:cNvGrpSpPr/>
                  <p:nvPr userDrawn="1"/>
                </p:nvGrpSpPr>
                <p:grpSpPr>
                  <a:xfrm>
                    <a:off x="-3310843" y="700986"/>
                    <a:ext cx="182598" cy="143759"/>
                    <a:chOff x="-3310843" y="700986"/>
                    <a:chExt cx="182598" cy="143759"/>
                  </a:xfrm>
                </p:grpSpPr>
                <p:cxnSp>
                  <p:nvCxnSpPr>
                    <p:cNvPr id="361" name="Rechte verbindingslijn 360">
                      <a:extLst>
                        <a:ext uri="{FF2B5EF4-FFF2-40B4-BE49-F238E27FC236}">
                          <a16:creationId xmlns:a16="http://schemas.microsoft.com/office/drawing/2014/main" id="{CEA1E2CE-9868-46A2-B613-1AD40EBE380C}"/>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2" name="Rechte verbindingslijn 361">
                      <a:extLst>
                        <a:ext uri="{FF2B5EF4-FFF2-40B4-BE49-F238E27FC236}">
                          <a16:creationId xmlns:a16="http://schemas.microsoft.com/office/drawing/2014/main" id="{FA75C5C3-15A4-41B6-84A9-65D287276D74}"/>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3" name="Rechte verbindingslijn 362">
                      <a:extLst>
                        <a:ext uri="{FF2B5EF4-FFF2-40B4-BE49-F238E27FC236}">
                          <a16:creationId xmlns:a16="http://schemas.microsoft.com/office/drawing/2014/main" id="{25F37B2B-7BB9-48F3-8FAC-AD8B7D02C18E}"/>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4" name="Rechte verbindingslijn 363">
                      <a:extLst>
                        <a:ext uri="{FF2B5EF4-FFF2-40B4-BE49-F238E27FC236}">
                          <a16:creationId xmlns:a16="http://schemas.microsoft.com/office/drawing/2014/main" id="{C60CA2F8-EDBB-4572-9AAD-C3023AFDC15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5" name="Rechte verbindingslijn 364">
                      <a:extLst>
                        <a:ext uri="{FF2B5EF4-FFF2-40B4-BE49-F238E27FC236}">
                          <a16:creationId xmlns:a16="http://schemas.microsoft.com/office/drawing/2014/main" id="{1313F6C8-4720-44EB-ADA4-ED841630A6F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58" name="Groep 357">
                    <a:extLst>
                      <a:ext uri="{FF2B5EF4-FFF2-40B4-BE49-F238E27FC236}">
                        <a16:creationId xmlns:a16="http://schemas.microsoft.com/office/drawing/2014/main" id="{9391042A-C3AE-4FDD-9088-421E57098C95}"/>
                      </a:ext>
                    </a:extLst>
                  </p:cNvPr>
                  <p:cNvGrpSpPr/>
                  <p:nvPr userDrawn="1"/>
                </p:nvGrpSpPr>
                <p:grpSpPr>
                  <a:xfrm flipH="1">
                    <a:off x="-3310774" y="735854"/>
                    <a:ext cx="88801" cy="72568"/>
                    <a:chOff x="-2091059" y="1395403"/>
                    <a:chExt cx="157316" cy="128558"/>
                  </a:xfrm>
                </p:grpSpPr>
                <p:sp>
                  <p:nvSpPr>
                    <p:cNvPr id="359" name="Rechthoek 358">
                      <a:extLst>
                        <a:ext uri="{FF2B5EF4-FFF2-40B4-BE49-F238E27FC236}">
                          <a16:creationId xmlns:a16="http://schemas.microsoft.com/office/drawing/2014/main" id="{4AF52846-E1F0-4F8E-B415-3A923648689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0" name="Pijl: punthaak 359">
                      <a:extLst>
                        <a:ext uri="{FF2B5EF4-FFF2-40B4-BE49-F238E27FC236}">
                          <a16:creationId xmlns:a16="http://schemas.microsoft.com/office/drawing/2014/main" id="{E6D98ECF-0BA1-4D6F-9DA6-3DFCDFB324A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3" name="Rechthoek 352">
                <a:extLst>
                  <a:ext uri="{FF2B5EF4-FFF2-40B4-BE49-F238E27FC236}">
                    <a16:creationId xmlns:a16="http://schemas.microsoft.com/office/drawing/2014/main" id="{4204B077-92FB-4B65-844E-198E8BECD9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4" name="Rechthoek 353">
                <a:extLst>
                  <a:ext uri="{FF2B5EF4-FFF2-40B4-BE49-F238E27FC236}">
                    <a16:creationId xmlns:a16="http://schemas.microsoft.com/office/drawing/2014/main" id="{2E2E24B9-4B50-489B-99E4-BB00A91C8C6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27" name="Rechte verbindingslijn 326">
              <a:extLst>
                <a:ext uri="{FF2B5EF4-FFF2-40B4-BE49-F238E27FC236}">
                  <a16:creationId xmlns:a16="http://schemas.microsoft.com/office/drawing/2014/main" id="{464D35B2-2362-44E2-B3DB-5D8F11BBEE4B}"/>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28" name="Rechthoek 327">
              <a:extLst>
                <a:ext uri="{FF2B5EF4-FFF2-40B4-BE49-F238E27FC236}">
                  <a16:creationId xmlns:a16="http://schemas.microsoft.com/office/drawing/2014/main" id="{C4575DF3-F611-4ED0-9160-61A1427C3AA6}"/>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9" name="Ovaal 328">
              <a:extLst>
                <a:ext uri="{FF2B5EF4-FFF2-40B4-BE49-F238E27FC236}">
                  <a16:creationId xmlns:a16="http://schemas.microsoft.com/office/drawing/2014/main" id="{A1B8E9A6-4379-4925-B80C-62DB31AADB7C}"/>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30" name="Rechthoek 329">
              <a:extLst>
                <a:ext uri="{FF2B5EF4-FFF2-40B4-BE49-F238E27FC236}">
                  <a16:creationId xmlns:a16="http://schemas.microsoft.com/office/drawing/2014/main" id="{9D380F45-E4F1-4BBD-8FA8-CDEDBC7D898C}"/>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31" name="Ovaal 330">
              <a:extLst>
                <a:ext uri="{FF2B5EF4-FFF2-40B4-BE49-F238E27FC236}">
                  <a16:creationId xmlns:a16="http://schemas.microsoft.com/office/drawing/2014/main" id="{17BDFF78-B0B7-4581-AE2A-0051478D8685}"/>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2" name="Rechthoek 331">
              <a:extLst>
                <a:ext uri="{FF2B5EF4-FFF2-40B4-BE49-F238E27FC236}">
                  <a16:creationId xmlns:a16="http://schemas.microsoft.com/office/drawing/2014/main" id="{17036FFC-4998-4B16-803F-FCF3981E4D1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3" name="Ovaal 332">
              <a:extLst>
                <a:ext uri="{FF2B5EF4-FFF2-40B4-BE49-F238E27FC236}">
                  <a16:creationId xmlns:a16="http://schemas.microsoft.com/office/drawing/2014/main" id="{C1421421-1992-42D9-823C-D85B453206B4}"/>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4" name="Rechthoek 333">
              <a:extLst>
                <a:ext uri="{FF2B5EF4-FFF2-40B4-BE49-F238E27FC236}">
                  <a16:creationId xmlns:a16="http://schemas.microsoft.com/office/drawing/2014/main" id="{F68A0C3C-23E2-4568-9682-08A4D02AFAEB}"/>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5" name="Ovaal 334">
              <a:extLst>
                <a:ext uri="{FF2B5EF4-FFF2-40B4-BE49-F238E27FC236}">
                  <a16:creationId xmlns:a16="http://schemas.microsoft.com/office/drawing/2014/main" id="{4799B7D9-C473-430C-8F81-3AE30D31D0B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6" name="Rechthoek 335">
              <a:extLst>
                <a:ext uri="{FF2B5EF4-FFF2-40B4-BE49-F238E27FC236}">
                  <a16:creationId xmlns:a16="http://schemas.microsoft.com/office/drawing/2014/main" id="{7F13A039-6125-42E8-B82E-9CE8F0A550AA}"/>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37" name="Rechthoek 336">
              <a:extLst>
                <a:ext uri="{FF2B5EF4-FFF2-40B4-BE49-F238E27FC236}">
                  <a16:creationId xmlns:a16="http://schemas.microsoft.com/office/drawing/2014/main" id="{26E187A7-8461-48BF-BF3F-03B5981A368B}"/>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38" name="Rechte verbindingslijn 337">
              <a:extLst>
                <a:ext uri="{FF2B5EF4-FFF2-40B4-BE49-F238E27FC236}">
                  <a16:creationId xmlns:a16="http://schemas.microsoft.com/office/drawing/2014/main" id="{A0541823-903A-4C9E-8B9A-270AE2CD068C}"/>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39" name="Ovaal 338">
              <a:extLst>
                <a:ext uri="{FF2B5EF4-FFF2-40B4-BE49-F238E27FC236}">
                  <a16:creationId xmlns:a16="http://schemas.microsoft.com/office/drawing/2014/main" id="{754E9281-9BA1-4E69-9539-0BDE72954F24}"/>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40" name="Rechthoek 339">
              <a:extLst>
                <a:ext uri="{FF2B5EF4-FFF2-40B4-BE49-F238E27FC236}">
                  <a16:creationId xmlns:a16="http://schemas.microsoft.com/office/drawing/2014/main" id="{09E649A0-FC2D-40FE-841A-A3502F2E14D8}"/>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41" name="Ovaal 340">
              <a:extLst>
                <a:ext uri="{FF2B5EF4-FFF2-40B4-BE49-F238E27FC236}">
                  <a16:creationId xmlns:a16="http://schemas.microsoft.com/office/drawing/2014/main" id="{A2C486FF-3197-4B43-AFF1-AFA97A38CC5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2" name="Rechthoek 341">
              <a:extLst>
                <a:ext uri="{FF2B5EF4-FFF2-40B4-BE49-F238E27FC236}">
                  <a16:creationId xmlns:a16="http://schemas.microsoft.com/office/drawing/2014/main" id="{BBB44AF4-1420-42A0-A672-752F26289511}"/>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191" name="Groep 190">
            <a:extLst>
              <a:ext uri="{FF2B5EF4-FFF2-40B4-BE49-F238E27FC236}">
                <a16:creationId xmlns:a16="http://schemas.microsoft.com/office/drawing/2014/main" id="{DE9BD81A-255A-4363-A620-FB41FB91DDDB}"/>
              </a:ext>
            </a:extLst>
          </p:cNvPr>
          <p:cNvGrpSpPr/>
          <p:nvPr userDrawn="1"/>
        </p:nvGrpSpPr>
        <p:grpSpPr>
          <a:xfrm>
            <a:off x="12391601" y="0"/>
            <a:ext cx="3183678" cy="4278621"/>
            <a:chOff x="12391601" y="0"/>
            <a:chExt cx="3183678" cy="4278621"/>
          </a:xfrm>
        </p:grpSpPr>
        <p:sp>
          <p:nvSpPr>
            <p:cNvPr id="192" name="Rechthoek 191">
              <a:extLst>
                <a:ext uri="{FF2B5EF4-FFF2-40B4-BE49-F238E27FC236}">
                  <a16:creationId xmlns:a16="http://schemas.microsoft.com/office/drawing/2014/main" id="{E20C2D69-B092-46AD-AC00-6226A6DBC438}"/>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193" name="Ovaal 192">
              <a:extLst>
                <a:ext uri="{FF2B5EF4-FFF2-40B4-BE49-F238E27FC236}">
                  <a16:creationId xmlns:a16="http://schemas.microsoft.com/office/drawing/2014/main" id="{FC38609A-FD1A-4D80-B12D-571145F0EB6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94" name="Rechte verbindingslijn 193">
              <a:extLst>
                <a:ext uri="{FF2B5EF4-FFF2-40B4-BE49-F238E27FC236}">
                  <a16:creationId xmlns:a16="http://schemas.microsoft.com/office/drawing/2014/main" id="{F0462923-B1C1-4360-A705-8FF7BCCFBE6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95" name="Rechte verbindingslijn 194">
              <a:extLst>
                <a:ext uri="{FF2B5EF4-FFF2-40B4-BE49-F238E27FC236}">
                  <a16:creationId xmlns:a16="http://schemas.microsoft.com/office/drawing/2014/main" id="{EFF44239-810B-46D9-A1D1-47BC2D2B0825}"/>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96" name="Rechthoek 195">
              <a:extLst>
                <a:ext uri="{FF2B5EF4-FFF2-40B4-BE49-F238E27FC236}">
                  <a16:creationId xmlns:a16="http://schemas.microsoft.com/office/drawing/2014/main" id="{7FCE518B-B0B6-4764-8311-C2E1F9007D1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97" name="Rechte verbindingslijn 196">
              <a:extLst>
                <a:ext uri="{FF2B5EF4-FFF2-40B4-BE49-F238E27FC236}">
                  <a16:creationId xmlns:a16="http://schemas.microsoft.com/office/drawing/2014/main" id="{3E38ACFF-90E1-4DBF-888C-536982DC0188}"/>
                </a:ext>
              </a:extLst>
            </p:cNvPr>
            <p:cNvCxnSpPr>
              <a:cxnSpLocks/>
            </p:cNvCxnSpPr>
            <p:nvPr userDrawn="1"/>
          </p:nvCxnSpPr>
          <p:spPr>
            <a:xfrm>
              <a:off x="12397261" y="4278621"/>
              <a:ext cx="3178017" cy="0"/>
            </a:xfrm>
            <a:prstGeom prst="line">
              <a:avLst/>
            </a:prstGeom>
            <a:noFill/>
            <a:ln w="3175" cap="flat" cmpd="sng" algn="ctr">
              <a:solidFill>
                <a:schemeClr val="bg1">
                  <a:lumMod val="50000"/>
                </a:schemeClr>
              </a:solidFill>
              <a:prstDash val="solid"/>
            </a:ln>
            <a:effectLst/>
          </p:spPr>
        </p:cxnSp>
        <p:sp>
          <p:nvSpPr>
            <p:cNvPr id="198" name="Ovaal 197">
              <a:extLst>
                <a:ext uri="{FF2B5EF4-FFF2-40B4-BE49-F238E27FC236}">
                  <a16:creationId xmlns:a16="http://schemas.microsoft.com/office/drawing/2014/main" id="{ADC04B17-9298-42C7-8255-CAE8E7D1D70B}"/>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99" name="Rechthoek 198">
              <a:extLst>
                <a:ext uri="{FF2B5EF4-FFF2-40B4-BE49-F238E27FC236}">
                  <a16:creationId xmlns:a16="http://schemas.microsoft.com/office/drawing/2014/main" id="{E5859DAD-1B71-4678-89E1-FE8A2C8313A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00" name="Groep 199">
              <a:extLst>
                <a:ext uri="{FF2B5EF4-FFF2-40B4-BE49-F238E27FC236}">
                  <a16:creationId xmlns:a16="http://schemas.microsoft.com/office/drawing/2014/main" id="{253ED09A-EEDD-49EE-B275-B09E429CFEA2}"/>
                </a:ext>
              </a:extLst>
            </p:cNvPr>
            <p:cNvGrpSpPr/>
            <p:nvPr userDrawn="1"/>
          </p:nvGrpSpPr>
          <p:grpSpPr>
            <a:xfrm>
              <a:off x="12757282" y="2184550"/>
              <a:ext cx="825500" cy="209550"/>
              <a:chOff x="13504624" y="2482850"/>
              <a:chExt cx="825500" cy="209550"/>
            </a:xfrm>
          </p:grpSpPr>
          <p:sp>
            <p:nvSpPr>
              <p:cNvPr id="231" name="Rechthoek 230">
                <a:extLst>
                  <a:ext uri="{FF2B5EF4-FFF2-40B4-BE49-F238E27FC236}">
                    <a16:creationId xmlns:a16="http://schemas.microsoft.com/office/drawing/2014/main" id="{92896F93-D2A3-4CE6-B222-DC8ED12B6A7D}"/>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32" name="Rechte verbindingslijn 231">
                <a:extLst>
                  <a:ext uri="{FF2B5EF4-FFF2-40B4-BE49-F238E27FC236}">
                    <a16:creationId xmlns:a16="http://schemas.microsoft.com/office/drawing/2014/main" id="{71FF9085-B8A9-4ADA-977D-B0A03A470E0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33" name="Gelijkbenige driehoek 232">
                <a:extLst>
                  <a:ext uri="{FF2B5EF4-FFF2-40B4-BE49-F238E27FC236}">
                    <a16:creationId xmlns:a16="http://schemas.microsoft.com/office/drawing/2014/main" id="{F5501DB9-CF06-4903-829D-97AA4E80E32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01" name="Groep 200">
              <a:extLst>
                <a:ext uri="{FF2B5EF4-FFF2-40B4-BE49-F238E27FC236}">
                  <a16:creationId xmlns:a16="http://schemas.microsoft.com/office/drawing/2014/main" id="{42A220D0-4133-4B24-81B1-98FECD1DF67B}"/>
                </a:ext>
              </a:extLst>
            </p:cNvPr>
            <p:cNvGrpSpPr/>
            <p:nvPr userDrawn="1"/>
          </p:nvGrpSpPr>
          <p:grpSpPr>
            <a:xfrm>
              <a:off x="12757282" y="1141626"/>
              <a:ext cx="294789" cy="318834"/>
              <a:chOff x="14466489" y="1001522"/>
              <a:chExt cx="290627" cy="314333"/>
            </a:xfrm>
          </p:grpSpPr>
          <p:sp>
            <p:nvSpPr>
              <p:cNvPr id="225" name="Rechthoek 224">
                <a:extLst>
                  <a:ext uri="{FF2B5EF4-FFF2-40B4-BE49-F238E27FC236}">
                    <a16:creationId xmlns:a16="http://schemas.microsoft.com/office/drawing/2014/main" id="{D8FCB35D-4FE0-43E9-AA39-A1BA1E8B179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6" name="Ovaal 225">
                <a:extLst>
                  <a:ext uri="{FF2B5EF4-FFF2-40B4-BE49-F238E27FC236}">
                    <a16:creationId xmlns:a16="http://schemas.microsoft.com/office/drawing/2014/main" id="{85A2C362-52AE-402A-8DB2-993C9C0C2236}"/>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27" name="Vrije vorm: vorm 226">
                <a:extLst>
                  <a:ext uri="{FF2B5EF4-FFF2-40B4-BE49-F238E27FC236}">
                    <a16:creationId xmlns:a16="http://schemas.microsoft.com/office/drawing/2014/main" id="{EE197F35-9A80-46F4-B7BE-ED28469089D7}"/>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28" name="Rechthoek: afgeronde hoeken 227">
                <a:extLst>
                  <a:ext uri="{FF2B5EF4-FFF2-40B4-BE49-F238E27FC236}">
                    <a16:creationId xmlns:a16="http://schemas.microsoft.com/office/drawing/2014/main" id="{029FFF95-C519-4C5B-8BE8-BAB1F03F149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29" name="Rechte verbindingslijn 228">
                <a:extLst>
                  <a:ext uri="{FF2B5EF4-FFF2-40B4-BE49-F238E27FC236}">
                    <a16:creationId xmlns:a16="http://schemas.microsoft.com/office/drawing/2014/main" id="{3395386C-90CE-4A7C-A98B-6BDD8C2FA82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30" name="Rechte verbindingslijn 229">
                <a:extLst>
                  <a:ext uri="{FF2B5EF4-FFF2-40B4-BE49-F238E27FC236}">
                    <a16:creationId xmlns:a16="http://schemas.microsoft.com/office/drawing/2014/main" id="{F8B27765-37AB-49A8-8C33-2D3026F8DB19}"/>
                  </a:ext>
                </a:extLst>
              </p:cNvPr>
              <p:cNvCxnSpPr>
                <a:cxnSpLocks/>
                <a:stCxn id="22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02" name="Ovaal 201">
              <a:extLst>
                <a:ext uri="{FF2B5EF4-FFF2-40B4-BE49-F238E27FC236}">
                  <a16:creationId xmlns:a16="http://schemas.microsoft.com/office/drawing/2014/main" id="{AE4A3236-485C-4666-A1DB-FB0114CC0C52}"/>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3" name="Rechthoek 202">
              <a:extLst>
                <a:ext uri="{FF2B5EF4-FFF2-40B4-BE49-F238E27FC236}">
                  <a16:creationId xmlns:a16="http://schemas.microsoft.com/office/drawing/2014/main" id="{57BF5333-5012-47B4-96A0-A75CAE4C6531}"/>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m de afbeelding te schalen of bij te snijden,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Hulpmiddelen voor afbeeldingen - Opmaa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klik op de kn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Bijsnijd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Schaal met de bolletjes de afbeelding en met de hoekjes het afbeeldingskader.</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04" name="Rechte verbindingslijn 203">
              <a:extLst>
                <a:ext uri="{FF2B5EF4-FFF2-40B4-BE49-F238E27FC236}">
                  <a16:creationId xmlns:a16="http://schemas.microsoft.com/office/drawing/2014/main" id="{A2C3ED1F-1793-493C-87B9-21A427AD265A}"/>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205" name="Groep 204">
              <a:extLst>
                <a:ext uri="{FF2B5EF4-FFF2-40B4-BE49-F238E27FC236}">
                  <a16:creationId xmlns:a16="http://schemas.microsoft.com/office/drawing/2014/main" id="{5C7A68CB-0056-4A1C-BDDD-758D5B45652E}"/>
                </a:ext>
              </a:extLst>
            </p:cNvPr>
            <p:cNvGrpSpPr/>
            <p:nvPr userDrawn="1"/>
          </p:nvGrpSpPr>
          <p:grpSpPr>
            <a:xfrm>
              <a:off x="12696514" y="3540678"/>
              <a:ext cx="514284" cy="612918"/>
              <a:chOff x="12682980" y="3403241"/>
              <a:chExt cx="622284" cy="741632"/>
            </a:xfrm>
          </p:grpSpPr>
          <p:grpSp>
            <p:nvGrpSpPr>
              <p:cNvPr id="209" name="Groep 208">
                <a:extLst>
                  <a:ext uri="{FF2B5EF4-FFF2-40B4-BE49-F238E27FC236}">
                    <a16:creationId xmlns:a16="http://schemas.microsoft.com/office/drawing/2014/main" id="{FE05E858-03BA-47A2-9576-3AC8C9798926}"/>
                  </a:ext>
                </a:extLst>
              </p:cNvPr>
              <p:cNvGrpSpPr/>
              <p:nvPr userDrawn="1"/>
            </p:nvGrpSpPr>
            <p:grpSpPr>
              <a:xfrm>
                <a:off x="12771568" y="3403241"/>
                <a:ext cx="467138" cy="448489"/>
                <a:chOff x="12782195" y="3403241"/>
                <a:chExt cx="467138" cy="448489"/>
              </a:xfrm>
            </p:grpSpPr>
            <p:grpSp>
              <p:nvGrpSpPr>
                <p:cNvPr id="212" name="Groep 211">
                  <a:extLst>
                    <a:ext uri="{FF2B5EF4-FFF2-40B4-BE49-F238E27FC236}">
                      <a16:creationId xmlns:a16="http://schemas.microsoft.com/office/drawing/2014/main" id="{52BF72BA-372B-46AA-A866-5BB2A9E52C99}"/>
                    </a:ext>
                  </a:extLst>
                </p:cNvPr>
                <p:cNvGrpSpPr/>
                <p:nvPr userDrawn="1"/>
              </p:nvGrpSpPr>
              <p:grpSpPr>
                <a:xfrm>
                  <a:off x="12782195" y="3403241"/>
                  <a:ext cx="412967" cy="393907"/>
                  <a:chOff x="13554906" y="3320109"/>
                  <a:chExt cx="443906" cy="423419"/>
                </a:xfrm>
              </p:grpSpPr>
              <p:grpSp>
                <p:nvGrpSpPr>
                  <p:cNvPr id="219" name="Groep 218">
                    <a:extLst>
                      <a:ext uri="{FF2B5EF4-FFF2-40B4-BE49-F238E27FC236}">
                        <a16:creationId xmlns:a16="http://schemas.microsoft.com/office/drawing/2014/main" id="{26AF55C7-E747-41BA-A2A9-AA1C2B1FDC41}"/>
                      </a:ext>
                    </a:extLst>
                  </p:cNvPr>
                  <p:cNvGrpSpPr/>
                  <p:nvPr userDrawn="1"/>
                </p:nvGrpSpPr>
                <p:grpSpPr>
                  <a:xfrm>
                    <a:off x="13554906" y="3320109"/>
                    <a:ext cx="443906" cy="423419"/>
                    <a:chOff x="12909684" y="1276143"/>
                    <a:chExt cx="443906" cy="423419"/>
                  </a:xfrm>
                </p:grpSpPr>
                <p:sp>
                  <p:nvSpPr>
                    <p:cNvPr id="222" name="Rechthoek 221">
                      <a:extLst>
                        <a:ext uri="{FF2B5EF4-FFF2-40B4-BE49-F238E27FC236}">
                          <a16:creationId xmlns:a16="http://schemas.microsoft.com/office/drawing/2014/main" id="{1172B7E7-C162-44AF-96D5-0494FB0FA521}"/>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3" name="Rechthoek 222">
                      <a:extLst>
                        <a:ext uri="{FF2B5EF4-FFF2-40B4-BE49-F238E27FC236}">
                          <a16:creationId xmlns:a16="http://schemas.microsoft.com/office/drawing/2014/main" id="{5D0485DE-E74D-4323-9DEF-ABE7044E3B3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4" name="Ovaal 223">
                      <a:extLst>
                        <a:ext uri="{FF2B5EF4-FFF2-40B4-BE49-F238E27FC236}">
                          <a16:creationId xmlns:a16="http://schemas.microsoft.com/office/drawing/2014/main" id="{E1912CA7-2D38-4167-831B-980CB3070F54}"/>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pic>
                <p:nvPicPr>
                  <p:cNvPr id="220" name="Afbeelding 219">
                    <a:extLst>
                      <a:ext uri="{FF2B5EF4-FFF2-40B4-BE49-F238E27FC236}">
                        <a16:creationId xmlns:a16="http://schemas.microsoft.com/office/drawing/2014/main" id="{FDFC122A-A086-4FC8-8E24-00C8CEC16F0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221" name="Afbeelding 220">
                    <a:extLst>
                      <a:ext uri="{FF2B5EF4-FFF2-40B4-BE49-F238E27FC236}">
                        <a16:creationId xmlns:a16="http://schemas.microsoft.com/office/drawing/2014/main" id="{273A67C8-CFF3-4A2E-A364-0EAA1D98B65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8" y="3454369"/>
                    <a:ext cx="173367" cy="111423"/>
                  </a:xfrm>
                  <a:prstGeom prst="rect">
                    <a:avLst/>
                  </a:prstGeom>
                </p:spPr>
              </p:pic>
            </p:grpSp>
            <p:grpSp>
              <p:nvGrpSpPr>
                <p:cNvPr id="213" name="Groep 212">
                  <a:extLst>
                    <a:ext uri="{FF2B5EF4-FFF2-40B4-BE49-F238E27FC236}">
                      <a16:creationId xmlns:a16="http://schemas.microsoft.com/office/drawing/2014/main" id="{D667FD43-AD2B-4AC4-9F28-33AE59F55DB2}"/>
                    </a:ext>
                  </a:extLst>
                </p:cNvPr>
                <p:cNvGrpSpPr/>
                <p:nvPr userDrawn="1"/>
              </p:nvGrpSpPr>
              <p:grpSpPr>
                <a:xfrm>
                  <a:off x="13103513" y="3705268"/>
                  <a:ext cx="145820" cy="146462"/>
                  <a:chOff x="13096169" y="3602278"/>
                  <a:chExt cx="145820" cy="146462"/>
                </a:xfrm>
              </p:grpSpPr>
              <p:sp>
                <p:nvSpPr>
                  <p:cNvPr id="217" name="Rechthoek 216">
                    <a:extLst>
                      <a:ext uri="{FF2B5EF4-FFF2-40B4-BE49-F238E27FC236}">
                        <a16:creationId xmlns:a16="http://schemas.microsoft.com/office/drawing/2014/main" id="{395027D0-3816-4997-9A54-A809A05EDE8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8" name="Rechthoek 217">
                    <a:extLst>
                      <a:ext uri="{FF2B5EF4-FFF2-40B4-BE49-F238E27FC236}">
                        <a16:creationId xmlns:a16="http://schemas.microsoft.com/office/drawing/2014/main" id="{F4C78CEB-2FEB-4AF5-B8C7-CA433D68154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14" name="Groep 213">
                  <a:extLst>
                    <a:ext uri="{FF2B5EF4-FFF2-40B4-BE49-F238E27FC236}">
                      <a16:creationId xmlns:a16="http://schemas.microsoft.com/office/drawing/2014/main" id="{D661A418-387C-4766-B984-6682A019CB0E}"/>
                    </a:ext>
                  </a:extLst>
                </p:cNvPr>
                <p:cNvGrpSpPr/>
                <p:nvPr userDrawn="1"/>
              </p:nvGrpSpPr>
              <p:grpSpPr>
                <a:xfrm rot="10800000">
                  <a:off x="13061402" y="3665637"/>
                  <a:ext cx="145820" cy="146462"/>
                  <a:chOff x="13096169" y="3602278"/>
                  <a:chExt cx="145820" cy="146462"/>
                </a:xfrm>
              </p:grpSpPr>
              <p:sp>
                <p:nvSpPr>
                  <p:cNvPr id="215" name="Rechthoek 214">
                    <a:extLst>
                      <a:ext uri="{FF2B5EF4-FFF2-40B4-BE49-F238E27FC236}">
                        <a16:creationId xmlns:a16="http://schemas.microsoft.com/office/drawing/2014/main" id="{6A033E4D-0B77-4B8D-9DDC-ADA7281B9F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6" name="Rechthoek 215">
                    <a:extLst>
                      <a:ext uri="{FF2B5EF4-FFF2-40B4-BE49-F238E27FC236}">
                        <a16:creationId xmlns:a16="http://schemas.microsoft.com/office/drawing/2014/main" id="{60B65305-B9B3-406E-82BB-EEFEAB6ED5C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
            <p:nvSpPr>
              <p:cNvPr id="210" name="Rechthoek 209">
                <a:extLst>
                  <a:ext uri="{FF2B5EF4-FFF2-40B4-BE49-F238E27FC236}">
                    <a16:creationId xmlns:a16="http://schemas.microsoft.com/office/drawing/2014/main" id="{A5C30312-8246-4345-A86F-02DE31753CB8}"/>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chemeClr val="tx1"/>
                    </a:solidFill>
                    <a:latin typeface="Arial" panose="020B0604020202020204" pitchFamily="34" charset="0"/>
                    <a:cs typeface="Arial" panose="020B0604020202020204" pitchFamily="34" charset="0"/>
                  </a:rPr>
                  <a:t>Bijsnijden</a:t>
                </a:r>
              </a:p>
            </p:txBody>
          </p:sp>
          <p:sp>
            <p:nvSpPr>
              <p:cNvPr id="211" name="Gelijkbenige driehoek 210">
                <a:extLst>
                  <a:ext uri="{FF2B5EF4-FFF2-40B4-BE49-F238E27FC236}">
                    <a16:creationId xmlns:a16="http://schemas.microsoft.com/office/drawing/2014/main" id="{EA41D65A-BFA2-433B-A344-B18070AF8B37}"/>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spTree>
    <p:extLst>
      <p:ext uri="{BB962C8B-B14F-4D97-AF65-F5344CB8AC3E}">
        <p14:creationId xmlns:p14="http://schemas.microsoft.com/office/powerpoint/2010/main" val="3302404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9277F49C-3EF0-4FE1-9AEE-1B569D8AC0AA}"/>
              </a:ext>
            </a:extLst>
          </p:cNvPr>
          <p:cNvSpPr>
            <a:spLocks noGrp="1"/>
          </p:cNvSpPr>
          <p:nvPr>
            <p:ph type="pic" sz="quarter" idx="16" hasCustomPrompt="1"/>
          </p:nvPr>
        </p:nvSpPr>
        <p:spPr>
          <a:xfrm>
            <a:off x="0" y="-1"/>
            <a:ext cx="12191998" cy="6265769"/>
          </a:xfrm>
          <a:solidFill>
            <a:schemeClr val="bg1">
              <a:lumMod val="95000"/>
            </a:schemeClr>
          </a:solidFill>
        </p:spPr>
        <p:txBody>
          <a:bodyPr tIns="2700000"/>
          <a:lstStyle>
            <a:lvl1pPr marL="0" indent="0" algn="ctr">
              <a:buNone/>
              <a:defRPr sz="1200" i="1">
                <a:solidFill>
                  <a:schemeClr val="bg1">
                    <a:lumMod val="50000"/>
                  </a:schemeClr>
                </a:solidFill>
              </a:defRPr>
            </a:lvl1pPr>
          </a:lstStyle>
          <a:p>
            <a:r>
              <a:rPr lang="nl-NL" noProof="0"/>
              <a:t>Klik op onderstaand pictogram om een afbeelding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1E866FD5-390E-4B41-B79B-CB3DF6FF6E1A}"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AFBEELDING</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61" name="Instructie">
            <a:extLst>
              <a:ext uri="{FF2B5EF4-FFF2-40B4-BE49-F238E27FC236}">
                <a16:creationId xmlns:a16="http://schemas.microsoft.com/office/drawing/2014/main" id="{03E372C2-6CF2-4ED2-8A64-2CB215474CFB}"/>
              </a:ext>
            </a:extLst>
          </p:cNvPr>
          <p:cNvGrpSpPr/>
          <p:nvPr userDrawn="1"/>
        </p:nvGrpSpPr>
        <p:grpSpPr>
          <a:xfrm>
            <a:off x="12391601" y="0"/>
            <a:ext cx="3183678" cy="3883011"/>
            <a:chOff x="12391601" y="0"/>
            <a:chExt cx="3183678" cy="3883011"/>
          </a:xfrm>
        </p:grpSpPr>
        <p:grpSp>
          <p:nvGrpSpPr>
            <p:cNvPr id="65" name="Groep 64">
              <a:extLst>
                <a:ext uri="{FF2B5EF4-FFF2-40B4-BE49-F238E27FC236}">
                  <a16:creationId xmlns:a16="http://schemas.microsoft.com/office/drawing/2014/main" id="{410089C7-732E-470E-A73B-AE0A83CF265E}"/>
                </a:ext>
              </a:extLst>
            </p:cNvPr>
            <p:cNvGrpSpPr/>
            <p:nvPr userDrawn="1"/>
          </p:nvGrpSpPr>
          <p:grpSpPr>
            <a:xfrm>
              <a:off x="12757282" y="3100116"/>
              <a:ext cx="1499406" cy="678267"/>
              <a:chOff x="12757283" y="3120781"/>
              <a:chExt cx="1499406" cy="678267"/>
            </a:xfrm>
          </p:grpSpPr>
          <p:sp>
            <p:nvSpPr>
              <p:cNvPr id="89" name="Rechthoek 88">
                <a:extLst>
                  <a:ext uri="{FF2B5EF4-FFF2-40B4-BE49-F238E27FC236}">
                    <a16:creationId xmlns:a16="http://schemas.microsoft.com/office/drawing/2014/main" id="{CABA49A0-9B70-4593-B4DD-E92D3BE79194}"/>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90" name="Rechthoek 89">
                <a:extLst>
                  <a:ext uri="{FF2B5EF4-FFF2-40B4-BE49-F238E27FC236}">
                    <a16:creationId xmlns:a16="http://schemas.microsoft.com/office/drawing/2014/main" id="{96DDE965-E871-47F5-9FE5-E82F2C25139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91" name="Tekstvak 90">
                <a:extLst>
                  <a:ext uri="{FF2B5EF4-FFF2-40B4-BE49-F238E27FC236}">
                    <a16:creationId xmlns:a16="http://schemas.microsoft.com/office/drawing/2014/main" id="{E9A21028-1874-4295-93FF-4AC3CDB38FB7}"/>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92" name="Tekstvak 91">
                <a:extLst>
                  <a:ext uri="{FF2B5EF4-FFF2-40B4-BE49-F238E27FC236}">
                    <a16:creationId xmlns:a16="http://schemas.microsoft.com/office/drawing/2014/main" id="{AE0EA7B4-0CCD-4215-B995-5EA531B5CA00}"/>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3" name="Picture 3">
                <a:extLst>
                  <a:ext uri="{FF2B5EF4-FFF2-40B4-BE49-F238E27FC236}">
                    <a16:creationId xmlns:a16="http://schemas.microsoft.com/office/drawing/2014/main" id="{918BA030-D629-45BC-8A99-FFAC71280D3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4" name="Gelijkbenige driehoek 93">
                <a:extLst>
                  <a:ext uri="{FF2B5EF4-FFF2-40B4-BE49-F238E27FC236}">
                    <a16:creationId xmlns:a16="http://schemas.microsoft.com/office/drawing/2014/main" id="{B78F2EF2-81FD-4762-9B3C-25A35B5143F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95" name="Groep 94">
                <a:extLst>
                  <a:ext uri="{FF2B5EF4-FFF2-40B4-BE49-F238E27FC236}">
                    <a16:creationId xmlns:a16="http://schemas.microsoft.com/office/drawing/2014/main" id="{E4A351EC-55EF-4909-8119-4D621C97A589}"/>
                  </a:ext>
                </a:extLst>
              </p:cNvPr>
              <p:cNvGrpSpPr/>
              <p:nvPr userDrawn="1"/>
            </p:nvGrpSpPr>
            <p:grpSpPr>
              <a:xfrm>
                <a:off x="12822311" y="3178534"/>
                <a:ext cx="182309" cy="163794"/>
                <a:chOff x="12832541" y="3162395"/>
                <a:chExt cx="219532" cy="197236"/>
              </a:xfrm>
            </p:grpSpPr>
            <p:sp>
              <p:nvSpPr>
                <p:cNvPr id="100" name="Rechthoek 99">
                  <a:extLst>
                    <a:ext uri="{FF2B5EF4-FFF2-40B4-BE49-F238E27FC236}">
                      <a16:creationId xmlns:a16="http://schemas.microsoft.com/office/drawing/2014/main" id="{B832FFCA-9879-405F-AAE8-888376095F92}"/>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01" name="Rechthoek 100">
                  <a:extLst>
                    <a:ext uri="{FF2B5EF4-FFF2-40B4-BE49-F238E27FC236}">
                      <a16:creationId xmlns:a16="http://schemas.microsoft.com/office/drawing/2014/main" id="{5BDB98E6-422C-4652-B8B4-DFCE331F3B26}"/>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02" name="Rechthoek 101">
                  <a:extLst>
                    <a:ext uri="{FF2B5EF4-FFF2-40B4-BE49-F238E27FC236}">
                      <a16:creationId xmlns:a16="http://schemas.microsoft.com/office/drawing/2014/main" id="{069A26F1-6CDF-46E3-BCEF-9027BA7D42F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nvGrpSpPr>
              <p:cNvPr id="96" name="Groep 95">
                <a:extLst>
                  <a:ext uri="{FF2B5EF4-FFF2-40B4-BE49-F238E27FC236}">
                    <a16:creationId xmlns:a16="http://schemas.microsoft.com/office/drawing/2014/main" id="{7275FEBE-22E6-45CB-977F-923A0E758097}"/>
                  </a:ext>
                </a:extLst>
              </p:cNvPr>
              <p:cNvGrpSpPr/>
              <p:nvPr userDrawn="1"/>
            </p:nvGrpSpPr>
            <p:grpSpPr>
              <a:xfrm>
                <a:off x="12822311" y="3480352"/>
                <a:ext cx="182309" cy="163794"/>
                <a:chOff x="12832541" y="3162395"/>
                <a:chExt cx="219532" cy="197236"/>
              </a:xfrm>
            </p:grpSpPr>
            <p:sp>
              <p:nvSpPr>
                <p:cNvPr id="97" name="Rechthoek 96">
                  <a:extLst>
                    <a:ext uri="{FF2B5EF4-FFF2-40B4-BE49-F238E27FC236}">
                      <a16:creationId xmlns:a16="http://schemas.microsoft.com/office/drawing/2014/main" id="{B23D6C2E-0F3B-4616-A53D-854218EFE71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8" name="Rechthoek 97">
                  <a:extLst>
                    <a:ext uri="{FF2B5EF4-FFF2-40B4-BE49-F238E27FC236}">
                      <a16:creationId xmlns:a16="http://schemas.microsoft.com/office/drawing/2014/main" id="{B83D79E5-AD69-4A8A-8354-129A22D25FE3}"/>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9" name="Rechthoek 98">
                  <a:extLst>
                    <a:ext uri="{FF2B5EF4-FFF2-40B4-BE49-F238E27FC236}">
                      <a16:creationId xmlns:a16="http://schemas.microsoft.com/office/drawing/2014/main" id="{8BE7535C-03AF-4D1B-B702-B07FA7AC9787}"/>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
          <p:nvSpPr>
            <p:cNvPr id="66" name="Rechthoek 65">
              <a:extLst>
                <a:ext uri="{FF2B5EF4-FFF2-40B4-BE49-F238E27FC236}">
                  <a16:creationId xmlns:a16="http://schemas.microsoft.com/office/drawing/2014/main" id="{176F3B6B-944E-4017-9F68-62698982C162}"/>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67" name="Ovaal 66">
              <a:extLst>
                <a:ext uri="{FF2B5EF4-FFF2-40B4-BE49-F238E27FC236}">
                  <a16:creationId xmlns:a16="http://schemas.microsoft.com/office/drawing/2014/main" id="{A1409754-86CE-4AB4-B150-0D867D98049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8" name="Rechte verbindingslijn 67">
              <a:extLst>
                <a:ext uri="{FF2B5EF4-FFF2-40B4-BE49-F238E27FC236}">
                  <a16:creationId xmlns:a16="http://schemas.microsoft.com/office/drawing/2014/main" id="{F8FB7CC0-863B-4F17-B3B4-49FE21D5EDA1}"/>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69" name="Rechte verbindingslijn 68">
              <a:extLst>
                <a:ext uri="{FF2B5EF4-FFF2-40B4-BE49-F238E27FC236}">
                  <a16:creationId xmlns:a16="http://schemas.microsoft.com/office/drawing/2014/main" id="{AAC2D312-317B-48B6-80B4-9626E9851B73}"/>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70" name="Rechthoek 69">
              <a:extLst>
                <a:ext uri="{FF2B5EF4-FFF2-40B4-BE49-F238E27FC236}">
                  <a16:creationId xmlns:a16="http://schemas.microsoft.com/office/drawing/2014/main" id="{F6345545-BDFC-4EEE-B76B-30FEADF146D1}"/>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9C1E74D7-BCE7-4C39-925F-055E9FF175D6}"/>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72" name="Ovaal 71">
              <a:extLst>
                <a:ext uri="{FF2B5EF4-FFF2-40B4-BE49-F238E27FC236}">
                  <a16:creationId xmlns:a16="http://schemas.microsoft.com/office/drawing/2014/main" id="{6941CE07-9AC0-4B7C-94FC-0A96C2651182}"/>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3" name="Rechthoek 72">
              <a:extLst>
                <a:ext uri="{FF2B5EF4-FFF2-40B4-BE49-F238E27FC236}">
                  <a16:creationId xmlns:a16="http://schemas.microsoft.com/office/drawing/2014/main" id="{522F2471-323C-4D67-9817-609478422EA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4" name="Groep 73">
              <a:extLst>
                <a:ext uri="{FF2B5EF4-FFF2-40B4-BE49-F238E27FC236}">
                  <a16:creationId xmlns:a16="http://schemas.microsoft.com/office/drawing/2014/main" id="{DBF53E4A-1E86-43FC-AD89-871FB997F320}"/>
                </a:ext>
              </a:extLst>
            </p:cNvPr>
            <p:cNvGrpSpPr/>
            <p:nvPr userDrawn="1"/>
          </p:nvGrpSpPr>
          <p:grpSpPr>
            <a:xfrm>
              <a:off x="12757282" y="2184550"/>
              <a:ext cx="825500" cy="209550"/>
              <a:chOff x="13504624" y="2482850"/>
              <a:chExt cx="825500" cy="209550"/>
            </a:xfrm>
          </p:grpSpPr>
          <p:sp>
            <p:nvSpPr>
              <p:cNvPr id="86" name="Rechthoek 85">
                <a:extLst>
                  <a:ext uri="{FF2B5EF4-FFF2-40B4-BE49-F238E27FC236}">
                    <a16:creationId xmlns:a16="http://schemas.microsoft.com/office/drawing/2014/main" id="{DD742ABA-7974-44E6-B34C-78B657EE035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87" name="Rechte verbindingslijn 86">
                <a:extLst>
                  <a:ext uri="{FF2B5EF4-FFF2-40B4-BE49-F238E27FC236}">
                    <a16:creationId xmlns:a16="http://schemas.microsoft.com/office/drawing/2014/main" id="{E3523979-2512-436A-B53E-5574C67AA28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8" name="Gelijkbenige driehoek 87">
                <a:extLst>
                  <a:ext uri="{FF2B5EF4-FFF2-40B4-BE49-F238E27FC236}">
                    <a16:creationId xmlns:a16="http://schemas.microsoft.com/office/drawing/2014/main" id="{7A2BD2DB-2226-4013-B06B-AB386AE5231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75" name="Groep 74">
              <a:extLst>
                <a:ext uri="{FF2B5EF4-FFF2-40B4-BE49-F238E27FC236}">
                  <a16:creationId xmlns:a16="http://schemas.microsoft.com/office/drawing/2014/main" id="{563C4487-9D2F-4396-B38D-FA27F445588C}"/>
                </a:ext>
              </a:extLst>
            </p:cNvPr>
            <p:cNvGrpSpPr/>
            <p:nvPr userDrawn="1"/>
          </p:nvGrpSpPr>
          <p:grpSpPr>
            <a:xfrm>
              <a:off x="12757282" y="1141626"/>
              <a:ext cx="294789" cy="318834"/>
              <a:chOff x="14466489" y="1001522"/>
              <a:chExt cx="290627" cy="314333"/>
            </a:xfrm>
          </p:grpSpPr>
          <p:sp>
            <p:nvSpPr>
              <p:cNvPr id="79" name="Rechthoek 78">
                <a:extLst>
                  <a:ext uri="{FF2B5EF4-FFF2-40B4-BE49-F238E27FC236}">
                    <a16:creationId xmlns:a16="http://schemas.microsoft.com/office/drawing/2014/main" id="{A8778464-D8CF-4A27-A866-597FB418B44E}"/>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1" name="Ovaal 80">
                <a:extLst>
                  <a:ext uri="{FF2B5EF4-FFF2-40B4-BE49-F238E27FC236}">
                    <a16:creationId xmlns:a16="http://schemas.microsoft.com/office/drawing/2014/main" id="{B6C483D4-91F3-48DA-8BF5-24D6385E62D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2" name="Vrije vorm: vorm 81">
                <a:extLst>
                  <a:ext uri="{FF2B5EF4-FFF2-40B4-BE49-F238E27FC236}">
                    <a16:creationId xmlns:a16="http://schemas.microsoft.com/office/drawing/2014/main" id="{E5500FCF-E6E0-4015-ADD2-E13D4FA4BB7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3" name="Rechthoek: afgeronde hoeken 82">
                <a:extLst>
                  <a:ext uri="{FF2B5EF4-FFF2-40B4-BE49-F238E27FC236}">
                    <a16:creationId xmlns:a16="http://schemas.microsoft.com/office/drawing/2014/main" id="{0C120868-992C-4A83-A843-925C6D2117F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84" name="Rechte verbindingslijn 83">
                <a:extLst>
                  <a:ext uri="{FF2B5EF4-FFF2-40B4-BE49-F238E27FC236}">
                    <a16:creationId xmlns:a16="http://schemas.microsoft.com/office/drawing/2014/main" id="{F450B4A0-C913-433C-8F58-AC476870C4F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85" name="Rechte verbindingslijn 84">
                <a:extLst>
                  <a:ext uri="{FF2B5EF4-FFF2-40B4-BE49-F238E27FC236}">
                    <a16:creationId xmlns:a16="http://schemas.microsoft.com/office/drawing/2014/main" id="{F093EB83-9910-4608-928B-B206FCA39884}"/>
                  </a:ext>
                </a:extLst>
              </p:cNvPr>
              <p:cNvCxnSpPr>
                <a:cxnSpLocks/>
                <a:stCxn id="83"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Ovaal 75">
              <a:extLst>
                <a:ext uri="{FF2B5EF4-FFF2-40B4-BE49-F238E27FC236}">
                  <a16:creationId xmlns:a16="http://schemas.microsoft.com/office/drawing/2014/main" id="{ABB66157-FEA6-42F8-BA39-76BA2C3EB8F1}"/>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7" name="Rechthoek 76">
              <a:extLst>
                <a:ext uri="{FF2B5EF4-FFF2-40B4-BE49-F238E27FC236}">
                  <a16:creationId xmlns:a16="http://schemas.microsoft.com/office/drawing/2014/main" id="{E0D16C00-FDEC-43EC-9403-49F8354E66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8" name="Rechte verbindingslijn 77">
              <a:extLst>
                <a:ext uri="{FF2B5EF4-FFF2-40B4-BE49-F238E27FC236}">
                  <a16:creationId xmlns:a16="http://schemas.microsoft.com/office/drawing/2014/main" id="{C0E867D2-F5D7-4492-A6AB-07D22B431A01}"/>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sp>
        <p:nvSpPr>
          <p:cNvPr id="52" name="Titel 1">
            <a:extLst>
              <a:ext uri="{FF2B5EF4-FFF2-40B4-BE49-F238E27FC236}">
                <a16:creationId xmlns:a16="http://schemas.microsoft.com/office/drawing/2014/main" id="{01F6C60D-5159-4B7A-B934-3A1B555544A0}"/>
              </a:ext>
            </a:extLst>
          </p:cNvPr>
          <p:cNvSpPr>
            <a:spLocks noGrp="1"/>
          </p:cNvSpPr>
          <p:nvPr>
            <p:ph type="title" hasCustomPrompt="1"/>
          </p:nvPr>
        </p:nvSpPr>
        <p:spPr>
          <a:xfrm>
            <a:off x="540000" y="538833"/>
            <a:ext cx="11112000" cy="301139"/>
          </a:xfrm>
        </p:spPr>
        <p:txBody>
          <a:bodyPr/>
          <a:lstStyle>
            <a:lvl1pPr>
              <a:defRPr/>
            </a:lvl1pPr>
          </a:lstStyle>
          <a:p>
            <a:r>
              <a:rPr lang="nl-NL" noProof="0"/>
              <a:t>Voeg hier een titel in</a:t>
            </a:r>
            <a:endParaRPr lang="nl-NL"/>
          </a:p>
        </p:txBody>
      </p:sp>
      <p:sp>
        <p:nvSpPr>
          <p:cNvPr id="53" name="Tijdelijke aanduiding voor tekst 32">
            <a:extLst>
              <a:ext uri="{FF2B5EF4-FFF2-40B4-BE49-F238E27FC236}">
                <a16:creationId xmlns:a16="http://schemas.microsoft.com/office/drawing/2014/main" id="{F650475A-DF8D-4155-91B4-07580ED73B72}"/>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Tree>
    <p:extLst>
      <p:ext uri="{BB962C8B-B14F-4D97-AF65-F5344CB8AC3E}">
        <p14:creationId xmlns:p14="http://schemas.microsoft.com/office/powerpoint/2010/main" val="7205940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9277F49C-3EF0-4FE1-9AEE-1B569D8AC0AA}"/>
              </a:ext>
            </a:extLst>
          </p:cNvPr>
          <p:cNvSpPr>
            <a:spLocks noGrp="1"/>
          </p:cNvSpPr>
          <p:nvPr>
            <p:ph type="pic" sz="quarter" idx="16" hasCustomPrompt="1"/>
          </p:nvPr>
        </p:nvSpPr>
        <p:spPr>
          <a:xfrm>
            <a:off x="0" y="-1"/>
            <a:ext cx="12191998" cy="6265769"/>
          </a:xfrm>
          <a:solidFill>
            <a:schemeClr val="bg1">
              <a:lumMod val="95000"/>
            </a:schemeClr>
          </a:solidFill>
        </p:spPr>
        <p:txBody>
          <a:bodyPr lIns="6480000" tIns="0" anchor="ctr"/>
          <a:lstStyle>
            <a:lvl1pPr marL="0" indent="0" algn="l">
              <a:buNone/>
              <a:defRPr sz="1200" i="1">
                <a:solidFill>
                  <a:schemeClr val="bg1">
                    <a:lumMod val="50000"/>
                  </a:schemeClr>
                </a:solidFill>
              </a:defRPr>
            </a:lvl1pPr>
          </a:lstStyle>
          <a:p>
            <a:r>
              <a:rPr lang="nl-NL" noProof="0"/>
              <a:t>Klik op het pictogram hiernaast om een afbeelding in te voegen</a:t>
            </a:r>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735EDA61-A351-4C51-879B-97EA160A5710}"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QUOTE</a:t>
            </a:r>
          </a:p>
        </p:txBody>
      </p:sp>
      <p:sp>
        <p:nvSpPr>
          <p:cNvPr id="24" name="Tijdelijke aanduiding voor tekst 43">
            <a:extLst>
              <a:ext uri="{FF2B5EF4-FFF2-40B4-BE49-F238E27FC236}">
                <a16:creationId xmlns:a16="http://schemas.microsoft.com/office/drawing/2014/main" id="{F0C29EF0-5106-4385-97E3-F0A64F5B85EB}"/>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1" name="Tijdelijke aanduiding voor verticale tekst 2">
            <a:extLst>
              <a:ext uri="{FF2B5EF4-FFF2-40B4-BE49-F238E27FC236}">
                <a16:creationId xmlns:a16="http://schemas.microsoft.com/office/drawing/2014/main" id="{C9789E4E-F2BA-4AE5-B556-28F06570489F}"/>
              </a:ext>
            </a:extLst>
          </p:cNvPr>
          <p:cNvSpPr>
            <a:spLocks noGrp="1"/>
          </p:cNvSpPr>
          <p:nvPr>
            <p:ph type="body" orient="vert" idx="1" hasCustomPrompt="1"/>
          </p:nvPr>
        </p:nvSpPr>
        <p:spPr>
          <a:xfrm>
            <a:off x="539999" y="546980"/>
            <a:ext cx="5260300" cy="4434453"/>
          </a:xfrm>
          <a:prstGeom prst="roundRect">
            <a:avLst>
              <a:gd name="adj" fmla="val 3753"/>
            </a:avLst>
          </a:prstGeom>
          <a:solidFill>
            <a:schemeClr val="accent1"/>
          </a:solidFill>
        </p:spPr>
        <p:txBody>
          <a:bodyPr vert="horz" wrap="square" lIns="360000" tIns="252000" rIns="360000" bIns="252000" anchor="t">
            <a:noAutofit/>
          </a:bodyPr>
          <a:lstStyle>
            <a:lvl1pPr marL="0" indent="0">
              <a:spcAft>
                <a:spcPts val="1000"/>
              </a:spcAft>
              <a:buClr>
                <a:schemeClr val="bg2">
                  <a:lumMod val="50000"/>
                </a:schemeClr>
              </a:buClr>
              <a:buNone/>
              <a:defRPr sz="2400" b="1" i="0">
                <a:solidFill>
                  <a:schemeClr val="bg1"/>
                </a:solidFill>
              </a:defRPr>
            </a:lvl1pPr>
            <a:lvl2pPr marL="0" indent="0" algn="l">
              <a:spcBef>
                <a:spcPts val="1000"/>
              </a:spcBef>
              <a:buClr>
                <a:schemeClr val="bg1"/>
              </a:buClr>
              <a:buFont typeface="Calibri Light" panose="020F0302020204030204" pitchFamily="34" charset="0"/>
              <a:buNone/>
              <a:defRPr sz="2000" i="1">
                <a:solidFill>
                  <a:schemeClr val="bg1"/>
                </a:solidFill>
              </a:defRPr>
            </a:lvl2pPr>
            <a:lvl3pPr marL="355600" indent="0" algn="r">
              <a:spcBef>
                <a:spcPts val="1000"/>
              </a:spcBef>
              <a:buClr>
                <a:schemeClr val="bg1"/>
              </a:buClr>
              <a:buNone/>
              <a:defRPr i="1">
                <a:solidFill>
                  <a:schemeClr val="bg1"/>
                </a:solidFill>
              </a:defRPr>
            </a:lvl3pPr>
            <a:lvl4pPr>
              <a:defRPr>
                <a:solidFill>
                  <a:schemeClr val="bg1"/>
                </a:solidFill>
              </a:defRPr>
            </a:lvl4pPr>
            <a:lvl5pP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defRPr>
                <a:solidFill>
                  <a:schemeClr val="bg1"/>
                </a:solidFill>
              </a:defRPr>
            </a:lvl8pPr>
            <a:lvl9pPr>
              <a:defRPr>
                <a:solidFill>
                  <a:schemeClr val="bg1"/>
                </a:solidFill>
              </a:defRPr>
            </a:lvl9pPr>
          </a:lstStyle>
          <a:p>
            <a:pPr lvl="0"/>
            <a:r>
              <a:rPr lang="nl-NL" noProof="0"/>
              <a:t>Titel quote</a:t>
            </a:r>
          </a:p>
          <a:p>
            <a:pPr lvl="1"/>
            <a:r>
              <a:rPr lang="nl-NL" noProof="0"/>
              <a:t>Quote tekst</a:t>
            </a:r>
          </a:p>
          <a:p>
            <a:pPr lvl="2"/>
            <a:r>
              <a:rPr lang="nl-NL" noProof="0"/>
              <a:t>Voor- en achternaam</a:t>
            </a:r>
          </a:p>
        </p:txBody>
      </p:sp>
      <p:grpSp>
        <p:nvGrpSpPr>
          <p:cNvPr id="12" name="Instructie">
            <a:extLst>
              <a:ext uri="{FF2B5EF4-FFF2-40B4-BE49-F238E27FC236}">
                <a16:creationId xmlns:a16="http://schemas.microsoft.com/office/drawing/2014/main" id="{C9F35CA6-7BFA-474E-8BDC-C043146657C7}"/>
              </a:ext>
            </a:extLst>
          </p:cNvPr>
          <p:cNvGrpSpPr/>
          <p:nvPr userDrawn="1"/>
        </p:nvGrpSpPr>
        <p:grpSpPr>
          <a:xfrm>
            <a:off x="-3437547" y="1434"/>
            <a:ext cx="3201327" cy="2834720"/>
            <a:chOff x="-3437547" y="1434"/>
            <a:chExt cx="3201327" cy="2834720"/>
          </a:xfrm>
        </p:grpSpPr>
        <p:cxnSp>
          <p:nvCxnSpPr>
            <p:cNvPr id="13" name="Rechte verbindingslijn 12">
              <a:extLst>
                <a:ext uri="{FF2B5EF4-FFF2-40B4-BE49-F238E27FC236}">
                  <a16:creationId xmlns:a16="http://schemas.microsoft.com/office/drawing/2014/main" id="{7470AD52-AC44-4F35-98D6-B477F9F4FF33}"/>
                </a:ext>
              </a:extLst>
            </p:cNvPr>
            <p:cNvCxnSpPr>
              <a:cxnSpLocks/>
            </p:cNvCxnSpPr>
            <p:nvPr userDrawn="1"/>
          </p:nvCxnSpPr>
          <p:spPr>
            <a:xfrm>
              <a:off x="-3419346" y="2836154"/>
              <a:ext cx="3176013" cy="0"/>
            </a:xfrm>
            <a:prstGeom prst="line">
              <a:avLst/>
            </a:prstGeom>
            <a:noFill/>
            <a:ln w="3175" cap="flat" cmpd="sng" algn="ctr">
              <a:solidFill>
                <a:schemeClr val="bg1">
                  <a:lumMod val="50000"/>
                </a:schemeClr>
              </a:solidFill>
              <a:prstDash val="solid"/>
            </a:ln>
            <a:effectLst/>
          </p:spPr>
        </p:cxnSp>
        <p:sp>
          <p:nvSpPr>
            <p:cNvPr id="27" name="Rechthoek 26">
              <a:extLst>
                <a:ext uri="{FF2B5EF4-FFF2-40B4-BE49-F238E27FC236}">
                  <a16:creationId xmlns:a16="http://schemas.microsoft.com/office/drawing/2014/main" id="{52978C1F-24D3-4622-9B8D-123FEF33E756}"/>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8" name="Ovaal 27">
              <a:extLst>
                <a:ext uri="{FF2B5EF4-FFF2-40B4-BE49-F238E27FC236}">
                  <a16:creationId xmlns:a16="http://schemas.microsoft.com/office/drawing/2014/main" id="{25B28BE2-CAEC-48F4-A1CE-8881E74BFB96}"/>
                </a:ext>
              </a:extLst>
            </p:cNvPr>
            <p:cNvSpPr/>
            <p:nvPr userDrawn="1"/>
          </p:nvSpPr>
          <p:spPr>
            <a:xfrm>
              <a:off x="-3425006" y="171914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9" name="Rechte verbindingslijn 28">
              <a:extLst>
                <a:ext uri="{FF2B5EF4-FFF2-40B4-BE49-F238E27FC236}">
                  <a16:creationId xmlns:a16="http://schemas.microsoft.com/office/drawing/2014/main" id="{3B708434-69FA-4D4B-BC0B-17AA0CC2A276}"/>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0" name="Groep 29">
              <a:extLst>
                <a:ext uri="{FF2B5EF4-FFF2-40B4-BE49-F238E27FC236}">
                  <a16:creationId xmlns:a16="http://schemas.microsoft.com/office/drawing/2014/main" id="{B10A304D-A5C7-4821-B822-29F75AF73688}"/>
                </a:ext>
              </a:extLst>
            </p:cNvPr>
            <p:cNvGrpSpPr/>
            <p:nvPr userDrawn="1"/>
          </p:nvGrpSpPr>
          <p:grpSpPr>
            <a:xfrm>
              <a:off x="-3437547" y="349413"/>
              <a:ext cx="2933825" cy="558875"/>
              <a:chOff x="-3419346" y="368233"/>
              <a:chExt cx="3904920" cy="743862"/>
            </a:xfrm>
          </p:grpSpPr>
          <p:sp>
            <p:nvSpPr>
              <p:cNvPr id="42" name="Rechthoek 41">
                <a:extLst>
                  <a:ext uri="{FF2B5EF4-FFF2-40B4-BE49-F238E27FC236}">
                    <a16:creationId xmlns:a16="http://schemas.microsoft.com/office/drawing/2014/main" id="{EA15583D-FEED-4915-8351-6134405434C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43" name="Rechte verbindingslijn 42">
                <a:extLst>
                  <a:ext uri="{FF2B5EF4-FFF2-40B4-BE49-F238E27FC236}">
                    <a16:creationId xmlns:a16="http://schemas.microsoft.com/office/drawing/2014/main" id="{1800BBB6-5EDD-45C2-8E3A-7356183B501F}"/>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76426B96-B581-4B1B-9362-F30E61939D5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hthoek 44">
                <a:extLst>
                  <a:ext uri="{FF2B5EF4-FFF2-40B4-BE49-F238E27FC236}">
                    <a16:creationId xmlns:a16="http://schemas.microsoft.com/office/drawing/2014/main" id="{5074095B-E00B-4AEC-A226-2AD4DB0939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46" name="Groep 45">
                <a:extLst>
                  <a:ext uri="{FF2B5EF4-FFF2-40B4-BE49-F238E27FC236}">
                    <a16:creationId xmlns:a16="http://schemas.microsoft.com/office/drawing/2014/main" id="{FD45D8A9-BD5D-47C3-92EF-3B5B4D8EDA3F}"/>
                  </a:ext>
                </a:extLst>
              </p:cNvPr>
              <p:cNvGrpSpPr/>
              <p:nvPr userDrawn="1"/>
            </p:nvGrpSpPr>
            <p:grpSpPr>
              <a:xfrm>
                <a:off x="-3002834" y="720303"/>
                <a:ext cx="182598" cy="143759"/>
                <a:chOff x="-3310843" y="700986"/>
                <a:chExt cx="182598" cy="143759"/>
              </a:xfrm>
            </p:grpSpPr>
            <p:grpSp>
              <p:nvGrpSpPr>
                <p:cNvPr id="85" name="Groep 84">
                  <a:extLst>
                    <a:ext uri="{FF2B5EF4-FFF2-40B4-BE49-F238E27FC236}">
                      <a16:creationId xmlns:a16="http://schemas.microsoft.com/office/drawing/2014/main" id="{842FFAD4-3D40-4352-9FAC-C137FF2E1DFA}"/>
                    </a:ext>
                  </a:extLst>
                </p:cNvPr>
                <p:cNvGrpSpPr/>
                <p:nvPr userDrawn="1"/>
              </p:nvGrpSpPr>
              <p:grpSpPr>
                <a:xfrm>
                  <a:off x="-3310843" y="700986"/>
                  <a:ext cx="182598" cy="143759"/>
                  <a:chOff x="-3310843" y="700986"/>
                  <a:chExt cx="182598" cy="143759"/>
                </a:xfrm>
              </p:grpSpPr>
              <p:cxnSp>
                <p:nvCxnSpPr>
                  <p:cNvPr id="89" name="Rechte verbindingslijn 88">
                    <a:extLst>
                      <a:ext uri="{FF2B5EF4-FFF2-40B4-BE49-F238E27FC236}">
                        <a16:creationId xmlns:a16="http://schemas.microsoft.com/office/drawing/2014/main" id="{F8DE4A24-1DDE-4A29-9E09-C937FB8DF19D}"/>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90" name="Rechte verbindingslijn 89">
                    <a:extLst>
                      <a:ext uri="{FF2B5EF4-FFF2-40B4-BE49-F238E27FC236}">
                        <a16:creationId xmlns:a16="http://schemas.microsoft.com/office/drawing/2014/main" id="{56B5AFDC-0235-40CC-BB9A-3A180CD80BC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91" name="Rechte verbindingslijn 90">
                    <a:extLst>
                      <a:ext uri="{FF2B5EF4-FFF2-40B4-BE49-F238E27FC236}">
                        <a16:creationId xmlns:a16="http://schemas.microsoft.com/office/drawing/2014/main" id="{2CFB5A99-8B73-4E94-BCAB-279572DE0A9E}"/>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92" name="Rechte verbindingslijn 91">
                    <a:extLst>
                      <a:ext uri="{FF2B5EF4-FFF2-40B4-BE49-F238E27FC236}">
                        <a16:creationId xmlns:a16="http://schemas.microsoft.com/office/drawing/2014/main" id="{728F0BB0-9C6C-4A99-B297-1AC6D2776FB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93" name="Rechte verbindingslijn 92">
                    <a:extLst>
                      <a:ext uri="{FF2B5EF4-FFF2-40B4-BE49-F238E27FC236}">
                        <a16:creationId xmlns:a16="http://schemas.microsoft.com/office/drawing/2014/main" id="{3697836E-FF6E-405D-A56A-A88AEE3C448F}"/>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86" name="Groep 85">
                  <a:extLst>
                    <a:ext uri="{FF2B5EF4-FFF2-40B4-BE49-F238E27FC236}">
                      <a16:creationId xmlns:a16="http://schemas.microsoft.com/office/drawing/2014/main" id="{6782AAEF-C7EA-45B3-BE37-34A3D465E27D}"/>
                    </a:ext>
                  </a:extLst>
                </p:cNvPr>
                <p:cNvGrpSpPr/>
                <p:nvPr userDrawn="1"/>
              </p:nvGrpSpPr>
              <p:grpSpPr>
                <a:xfrm flipH="1">
                  <a:off x="-3310774" y="735854"/>
                  <a:ext cx="88801" cy="72568"/>
                  <a:chOff x="-2091059" y="1395403"/>
                  <a:chExt cx="157316" cy="128558"/>
                </a:xfrm>
              </p:grpSpPr>
              <p:sp>
                <p:nvSpPr>
                  <p:cNvPr id="87" name="Rechthoek 86">
                    <a:extLst>
                      <a:ext uri="{FF2B5EF4-FFF2-40B4-BE49-F238E27FC236}">
                        <a16:creationId xmlns:a16="http://schemas.microsoft.com/office/drawing/2014/main" id="{F3EA78F1-F8BE-4025-A753-0EF2E7BD20A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8" name="Pijl: punthaak 87">
                    <a:extLst>
                      <a:ext uri="{FF2B5EF4-FFF2-40B4-BE49-F238E27FC236}">
                        <a16:creationId xmlns:a16="http://schemas.microsoft.com/office/drawing/2014/main" id="{FA15E25B-D8F6-408A-BAC5-A29C52FE13E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47" name="Groep 46">
                <a:extLst>
                  <a:ext uri="{FF2B5EF4-FFF2-40B4-BE49-F238E27FC236}">
                    <a16:creationId xmlns:a16="http://schemas.microsoft.com/office/drawing/2014/main" id="{D5BCE92F-DBF6-4ED4-9B3A-C66E7680F453}"/>
                  </a:ext>
                </a:extLst>
              </p:cNvPr>
              <p:cNvGrpSpPr/>
              <p:nvPr userDrawn="1"/>
            </p:nvGrpSpPr>
            <p:grpSpPr>
              <a:xfrm>
                <a:off x="-3326107" y="720303"/>
                <a:ext cx="182598" cy="143759"/>
                <a:chOff x="-3634116" y="700986"/>
                <a:chExt cx="182598" cy="143759"/>
              </a:xfrm>
            </p:grpSpPr>
            <p:grpSp>
              <p:nvGrpSpPr>
                <p:cNvPr id="76" name="Groep 75">
                  <a:extLst>
                    <a:ext uri="{FF2B5EF4-FFF2-40B4-BE49-F238E27FC236}">
                      <a16:creationId xmlns:a16="http://schemas.microsoft.com/office/drawing/2014/main" id="{3631BAC6-9985-4B81-8945-9406AA7F15BB}"/>
                    </a:ext>
                  </a:extLst>
                </p:cNvPr>
                <p:cNvGrpSpPr/>
                <p:nvPr userDrawn="1"/>
              </p:nvGrpSpPr>
              <p:grpSpPr>
                <a:xfrm>
                  <a:off x="-3634116" y="700986"/>
                  <a:ext cx="182598" cy="143759"/>
                  <a:chOff x="-3634116" y="700986"/>
                  <a:chExt cx="182598" cy="143759"/>
                </a:xfrm>
              </p:grpSpPr>
              <p:cxnSp>
                <p:nvCxnSpPr>
                  <p:cNvPr id="80" name="Rechte verbindingslijn 79">
                    <a:extLst>
                      <a:ext uri="{FF2B5EF4-FFF2-40B4-BE49-F238E27FC236}">
                        <a16:creationId xmlns:a16="http://schemas.microsoft.com/office/drawing/2014/main" id="{42F3EC91-6A0F-4AFA-BD02-D4A141E590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81" name="Rechte verbindingslijn 80">
                    <a:extLst>
                      <a:ext uri="{FF2B5EF4-FFF2-40B4-BE49-F238E27FC236}">
                        <a16:creationId xmlns:a16="http://schemas.microsoft.com/office/drawing/2014/main" id="{63875392-2802-44D8-A9B2-07742CD26604}"/>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id="{F8439B4C-D8DA-4614-B0C0-30E5016C24F1}"/>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83" name="Rechte verbindingslijn 82">
                    <a:extLst>
                      <a:ext uri="{FF2B5EF4-FFF2-40B4-BE49-F238E27FC236}">
                        <a16:creationId xmlns:a16="http://schemas.microsoft.com/office/drawing/2014/main" id="{874B82FC-3E33-4435-B0E8-8F553DD521D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84" name="Rechte verbindingslijn 83">
                    <a:extLst>
                      <a:ext uri="{FF2B5EF4-FFF2-40B4-BE49-F238E27FC236}">
                        <a16:creationId xmlns:a16="http://schemas.microsoft.com/office/drawing/2014/main" id="{D19202BD-FBEB-4203-9277-FF27EAF4420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77" name="Groep 76">
                  <a:extLst>
                    <a:ext uri="{FF2B5EF4-FFF2-40B4-BE49-F238E27FC236}">
                      <a16:creationId xmlns:a16="http://schemas.microsoft.com/office/drawing/2014/main" id="{455246FC-1488-41AB-A6BB-C08DEC74FA65}"/>
                    </a:ext>
                  </a:extLst>
                </p:cNvPr>
                <p:cNvGrpSpPr/>
                <p:nvPr userDrawn="1"/>
              </p:nvGrpSpPr>
              <p:grpSpPr>
                <a:xfrm>
                  <a:off x="-3634047" y="735854"/>
                  <a:ext cx="88801" cy="72568"/>
                  <a:chOff x="-2091059" y="1395403"/>
                  <a:chExt cx="157316" cy="128558"/>
                </a:xfrm>
              </p:grpSpPr>
              <p:sp>
                <p:nvSpPr>
                  <p:cNvPr id="78" name="Rechthoek 77">
                    <a:extLst>
                      <a:ext uri="{FF2B5EF4-FFF2-40B4-BE49-F238E27FC236}">
                        <a16:creationId xmlns:a16="http://schemas.microsoft.com/office/drawing/2014/main" id="{81A40158-DD83-45F4-BF75-41C7592A280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9" name="Pijl: punthaak 78">
                    <a:extLst>
                      <a:ext uri="{FF2B5EF4-FFF2-40B4-BE49-F238E27FC236}">
                        <a16:creationId xmlns:a16="http://schemas.microsoft.com/office/drawing/2014/main" id="{1A1F3830-54EE-472F-8004-E5CAF7AFE3E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48" name="Rechte verbindingslijn 47">
                <a:extLst>
                  <a:ext uri="{FF2B5EF4-FFF2-40B4-BE49-F238E27FC236}">
                    <a16:creationId xmlns:a16="http://schemas.microsoft.com/office/drawing/2014/main" id="{15BC7D26-CAEE-402F-8099-3B48F048B6AD}"/>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49" name="Rechte verbindingslijn 48">
                <a:extLst>
                  <a:ext uri="{FF2B5EF4-FFF2-40B4-BE49-F238E27FC236}">
                    <a16:creationId xmlns:a16="http://schemas.microsoft.com/office/drawing/2014/main" id="{7C805D0F-4D9A-43EB-A8BD-AADF8581D0C9}"/>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50" name="Groep 49">
                <a:extLst>
                  <a:ext uri="{FF2B5EF4-FFF2-40B4-BE49-F238E27FC236}">
                    <a16:creationId xmlns:a16="http://schemas.microsoft.com/office/drawing/2014/main" id="{8F46A0C8-CAD4-4FE2-A9C8-2877A5122A96}"/>
                  </a:ext>
                </a:extLst>
              </p:cNvPr>
              <p:cNvGrpSpPr/>
              <p:nvPr userDrawn="1"/>
            </p:nvGrpSpPr>
            <p:grpSpPr>
              <a:xfrm>
                <a:off x="-2425037" y="370226"/>
                <a:ext cx="357690" cy="330595"/>
                <a:chOff x="-2721817" y="347336"/>
                <a:chExt cx="432805" cy="400021"/>
              </a:xfrm>
            </p:grpSpPr>
            <p:sp>
              <p:nvSpPr>
                <p:cNvPr id="65" name="Rechthoek 64">
                  <a:extLst>
                    <a:ext uri="{FF2B5EF4-FFF2-40B4-BE49-F238E27FC236}">
                      <a16:creationId xmlns:a16="http://schemas.microsoft.com/office/drawing/2014/main" id="{C97BA9B9-8FD9-44E0-8D83-FCBB63F783E8}"/>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66" name="Groep 65">
                  <a:extLst>
                    <a:ext uri="{FF2B5EF4-FFF2-40B4-BE49-F238E27FC236}">
                      <a16:creationId xmlns:a16="http://schemas.microsoft.com/office/drawing/2014/main" id="{711C09C2-B7B9-463B-954A-34719CC16585}"/>
                    </a:ext>
                  </a:extLst>
                </p:cNvPr>
                <p:cNvGrpSpPr/>
                <p:nvPr userDrawn="1"/>
              </p:nvGrpSpPr>
              <p:grpSpPr>
                <a:xfrm>
                  <a:off x="-2652453" y="431583"/>
                  <a:ext cx="294076" cy="231526"/>
                  <a:chOff x="-3634116" y="700986"/>
                  <a:chExt cx="182598" cy="143759"/>
                </a:xfrm>
              </p:grpSpPr>
              <p:grpSp>
                <p:nvGrpSpPr>
                  <p:cNvPr id="67" name="Groep 66">
                    <a:extLst>
                      <a:ext uri="{FF2B5EF4-FFF2-40B4-BE49-F238E27FC236}">
                        <a16:creationId xmlns:a16="http://schemas.microsoft.com/office/drawing/2014/main" id="{863DE0BA-F3AC-4426-9E8B-2D5EEA2F3E44}"/>
                      </a:ext>
                    </a:extLst>
                  </p:cNvPr>
                  <p:cNvGrpSpPr/>
                  <p:nvPr userDrawn="1"/>
                </p:nvGrpSpPr>
                <p:grpSpPr>
                  <a:xfrm>
                    <a:off x="-3634116" y="700986"/>
                    <a:ext cx="182598" cy="143759"/>
                    <a:chOff x="-3634116" y="700986"/>
                    <a:chExt cx="182598" cy="143759"/>
                  </a:xfrm>
                </p:grpSpPr>
                <p:cxnSp>
                  <p:nvCxnSpPr>
                    <p:cNvPr id="71" name="Rechte verbindingslijn 70">
                      <a:extLst>
                        <a:ext uri="{FF2B5EF4-FFF2-40B4-BE49-F238E27FC236}">
                          <a16:creationId xmlns:a16="http://schemas.microsoft.com/office/drawing/2014/main" id="{71384791-FBF2-45F1-9861-FE525279035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72" name="Rechte verbindingslijn 71">
                      <a:extLst>
                        <a:ext uri="{FF2B5EF4-FFF2-40B4-BE49-F238E27FC236}">
                          <a16:creationId xmlns:a16="http://schemas.microsoft.com/office/drawing/2014/main" id="{55ABB93B-45A3-40E3-BAFC-A5D9D3CE325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73" name="Rechte verbindingslijn 72">
                      <a:extLst>
                        <a:ext uri="{FF2B5EF4-FFF2-40B4-BE49-F238E27FC236}">
                          <a16:creationId xmlns:a16="http://schemas.microsoft.com/office/drawing/2014/main" id="{3BC464E2-37C2-441D-8CDD-BE7208006C0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74" name="Rechte verbindingslijn 73">
                      <a:extLst>
                        <a:ext uri="{FF2B5EF4-FFF2-40B4-BE49-F238E27FC236}">
                          <a16:creationId xmlns:a16="http://schemas.microsoft.com/office/drawing/2014/main" id="{A649914B-17FD-48BD-A008-6CA520F20E0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75" name="Rechte verbindingslijn 74">
                      <a:extLst>
                        <a:ext uri="{FF2B5EF4-FFF2-40B4-BE49-F238E27FC236}">
                          <a16:creationId xmlns:a16="http://schemas.microsoft.com/office/drawing/2014/main" id="{BAF0C7B7-549E-4349-B8A4-99E75861345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8" name="Groep 67">
                    <a:extLst>
                      <a:ext uri="{FF2B5EF4-FFF2-40B4-BE49-F238E27FC236}">
                        <a16:creationId xmlns:a16="http://schemas.microsoft.com/office/drawing/2014/main" id="{1642AFD3-B67F-4B05-A669-318A150525D3}"/>
                      </a:ext>
                    </a:extLst>
                  </p:cNvPr>
                  <p:cNvGrpSpPr/>
                  <p:nvPr userDrawn="1"/>
                </p:nvGrpSpPr>
                <p:grpSpPr>
                  <a:xfrm>
                    <a:off x="-3634047" y="735854"/>
                    <a:ext cx="88801" cy="72568"/>
                    <a:chOff x="-2091059" y="1395403"/>
                    <a:chExt cx="157316" cy="128558"/>
                  </a:xfrm>
                </p:grpSpPr>
                <p:sp>
                  <p:nvSpPr>
                    <p:cNvPr id="69" name="Rechthoek 68">
                      <a:extLst>
                        <a:ext uri="{FF2B5EF4-FFF2-40B4-BE49-F238E27FC236}">
                          <a16:creationId xmlns:a16="http://schemas.microsoft.com/office/drawing/2014/main" id="{2B76EB2D-92B1-4482-B2EF-49469EA64FF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70" name="Pijl: punthaak 69">
                      <a:extLst>
                        <a:ext uri="{FF2B5EF4-FFF2-40B4-BE49-F238E27FC236}">
                          <a16:creationId xmlns:a16="http://schemas.microsoft.com/office/drawing/2014/main" id="{165E083E-7C4B-4D63-BB09-D0A066F6E29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51" name="Groep 50">
                <a:extLst>
                  <a:ext uri="{FF2B5EF4-FFF2-40B4-BE49-F238E27FC236}">
                    <a16:creationId xmlns:a16="http://schemas.microsoft.com/office/drawing/2014/main" id="{7D839A57-51AD-49C4-B030-264525AD7C4B}"/>
                  </a:ext>
                </a:extLst>
              </p:cNvPr>
              <p:cNvGrpSpPr/>
              <p:nvPr userDrawn="1"/>
            </p:nvGrpSpPr>
            <p:grpSpPr>
              <a:xfrm>
                <a:off x="-2425037" y="781500"/>
                <a:ext cx="357690" cy="330595"/>
                <a:chOff x="-2721817" y="782525"/>
                <a:chExt cx="432805" cy="400021"/>
              </a:xfrm>
            </p:grpSpPr>
            <p:sp>
              <p:nvSpPr>
                <p:cNvPr id="54" name="Rechthoek 53">
                  <a:extLst>
                    <a:ext uri="{FF2B5EF4-FFF2-40B4-BE49-F238E27FC236}">
                      <a16:creationId xmlns:a16="http://schemas.microsoft.com/office/drawing/2014/main" id="{F2D01EF0-3E51-453F-97B6-78F62D57293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55" name="Groep 54">
                  <a:extLst>
                    <a:ext uri="{FF2B5EF4-FFF2-40B4-BE49-F238E27FC236}">
                      <a16:creationId xmlns:a16="http://schemas.microsoft.com/office/drawing/2014/main" id="{C0BFA5D1-2728-48EF-B856-2C63CDD6B6B4}"/>
                    </a:ext>
                  </a:extLst>
                </p:cNvPr>
                <p:cNvGrpSpPr/>
                <p:nvPr userDrawn="1"/>
              </p:nvGrpSpPr>
              <p:grpSpPr>
                <a:xfrm>
                  <a:off x="-2652453" y="866772"/>
                  <a:ext cx="294076" cy="231526"/>
                  <a:chOff x="-3310843" y="700986"/>
                  <a:chExt cx="182598" cy="143759"/>
                </a:xfrm>
              </p:grpSpPr>
              <p:grpSp>
                <p:nvGrpSpPr>
                  <p:cNvPr id="56" name="Groep 55">
                    <a:extLst>
                      <a:ext uri="{FF2B5EF4-FFF2-40B4-BE49-F238E27FC236}">
                        <a16:creationId xmlns:a16="http://schemas.microsoft.com/office/drawing/2014/main" id="{D2F0E33D-ACA4-410F-A881-4281E34CE7D5}"/>
                      </a:ext>
                    </a:extLst>
                  </p:cNvPr>
                  <p:cNvGrpSpPr/>
                  <p:nvPr userDrawn="1"/>
                </p:nvGrpSpPr>
                <p:grpSpPr>
                  <a:xfrm>
                    <a:off x="-3310843" y="700986"/>
                    <a:ext cx="182598" cy="143759"/>
                    <a:chOff x="-3310843" y="700986"/>
                    <a:chExt cx="182598" cy="143759"/>
                  </a:xfrm>
                </p:grpSpPr>
                <p:cxnSp>
                  <p:nvCxnSpPr>
                    <p:cNvPr id="60" name="Rechte verbindingslijn 59">
                      <a:extLst>
                        <a:ext uri="{FF2B5EF4-FFF2-40B4-BE49-F238E27FC236}">
                          <a16:creationId xmlns:a16="http://schemas.microsoft.com/office/drawing/2014/main" id="{548D75AD-F67F-4384-A9B8-625B5433B889}"/>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61" name="Rechte verbindingslijn 60">
                      <a:extLst>
                        <a:ext uri="{FF2B5EF4-FFF2-40B4-BE49-F238E27FC236}">
                          <a16:creationId xmlns:a16="http://schemas.microsoft.com/office/drawing/2014/main" id="{241C06DD-3B81-40ED-B21E-05532263F57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62" name="Rechte verbindingslijn 61">
                      <a:extLst>
                        <a:ext uri="{FF2B5EF4-FFF2-40B4-BE49-F238E27FC236}">
                          <a16:creationId xmlns:a16="http://schemas.microsoft.com/office/drawing/2014/main" id="{61F8E622-007D-4BB1-ADDC-B6C2A9113109}"/>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63" name="Rechte verbindingslijn 62">
                      <a:extLst>
                        <a:ext uri="{FF2B5EF4-FFF2-40B4-BE49-F238E27FC236}">
                          <a16:creationId xmlns:a16="http://schemas.microsoft.com/office/drawing/2014/main" id="{6D8BFAC9-3A85-4247-9431-8321CA18E89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64" name="Rechte verbindingslijn 63">
                      <a:extLst>
                        <a:ext uri="{FF2B5EF4-FFF2-40B4-BE49-F238E27FC236}">
                          <a16:creationId xmlns:a16="http://schemas.microsoft.com/office/drawing/2014/main" id="{A30AAAAB-B596-40E1-A3AB-BE2A30AF625A}"/>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57" name="Groep 56">
                    <a:extLst>
                      <a:ext uri="{FF2B5EF4-FFF2-40B4-BE49-F238E27FC236}">
                        <a16:creationId xmlns:a16="http://schemas.microsoft.com/office/drawing/2014/main" id="{58AF3395-9991-4EAC-ABE3-518F39455D3B}"/>
                      </a:ext>
                    </a:extLst>
                  </p:cNvPr>
                  <p:cNvGrpSpPr/>
                  <p:nvPr userDrawn="1"/>
                </p:nvGrpSpPr>
                <p:grpSpPr>
                  <a:xfrm flipH="1">
                    <a:off x="-3310774" y="735854"/>
                    <a:ext cx="88801" cy="72568"/>
                    <a:chOff x="-2091059" y="1395403"/>
                    <a:chExt cx="157316" cy="128558"/>
                  </a:xfrm>
                </p:grpSpPr>
                <p:sp>
                  <p:nvSpPr>
                    <p:cNvPr id="58" name="Rechthoek 57">
                      <a:extLst>
                        <a:ext uri="{FF2B5EF4-FFF2-40B4-BE49-F238E27FC236}">
                          <a16:creationId xmlns:a16="http://schemas.microsoft.com/office/drawing/2014/main" id="{C6F124DA-0B40-41C9-B04E-AFDA12B611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59" name="Pijl: punthaak 58">
                      <a:extLst>
                        <a:ext uri="{FF2B5EF4-FFF2-40B4-BE49-F238E27FC236}">
                          <a16:creationId xmlns:a16="http://schemas.microsoft.com/office/drawing/2014/main" id="{8F789C1A-F6E1-4D97-8B96-D1A73171C4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52" name="Rechthoek 51">
                <a:extLst>
                  <a:ext uri="{FF2B5EF4-FFF2-40B4-BE49-F238E27FC236}">
                    <a16:creationId xmlns:a16="http://schemas.microsoft.com/office/drawing/2014/main" id="{0DD7F615-D4F7-43C9-AD6F-E2FB55856FC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53" name="Rechthoek 52">
                <a:extLst>
                  <a:ext uri="{FF2B5EF4-FFF2-40B4-BE49-F238E27FC236}">
                    <a16:creationId xmlns:a16="http://schemas.microsoft.com/office/drawing/2014/main" id="{25BC32A9-6AC4-41E3-9104-D5705B883BF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1" name="Rechte verbindingslijn 30">
              <a:extLst>
                <a:ext uri="{FF2B5EF4-FFF2-40B4-BE49-F238E27FC236}">
                  <a16:creationId xmlns:a16="http://schemas.microsoft.com/office/drawing/2014/main" id="{D4D61B48-E007-4271-B80B-E7E5FBD88CD9}"/>
                </a:ext>
              </a:extLst>
            </p:cNvPr>
            <p:cNvCxnSpPr>
              <a:cxnSpLocks/>
            </p:cNvCxnSpPr>
            <p:nvPr userDrawn="1"/>
          </p:nvCxnSpPr>
          <p:spPr>
            <a:xfrm>
              <a:off x="-3419346" y="1020931"/>
              <a:ext cx="3176013" cy="0"/>
            </a:xfrm>
            <a:prstGeom prst="line">
              <a:avLst/>
            </a:prstGeom>
            <a:noFill/>
            <a:ln w="3175" cap="flat" cmpd="sng" algn="ctr">
              <a:solidFill>
                <a:schemeClr val="bg1">
                  <a:lumMod val="50000"/>
                </a:schemeClr>
              </a:solidFill>
              <a:prstDash val="solid"/>
            </a:ln>
            <a:effectLst/>
          </p:spPr>
        </p:cxnSp>
        <p:sp>
          <p:nvSpPr>
            <p:cNvPr id="32" name="Rechthoek 31">
              <a:extLst>
                <a:ext uri="{FF2B5EF4-FFF2-40B4-BE49-F238E27FC236}">
                  <a16:creationId xmlns:a16="http://schemas.microsoft.com/office/drawing/2014/main" id="{EF348504-D17F-46D9-83BD-4ABA9147A72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400" b="1" i="0" kern="1200" noProof="0">
                  <a:solidFill>
                    <a:schemeClr val="tx1"/>
                  </a:solidFill>
                  <a:latin typeface="+mn-lt"/>
                  <a:ea typeface="+mn-ea"/>
                  <a:cs typeface="+mn-cs"/>
                </a:rPr>
                <a:t>Titel quote (24pt)</a:t>
              </a:r>
            </a:p>
          </p:txBody>
        </p:sp>
        <p:sp>
          <p:nvSpPr>
            <p:cNvPr id="33" name="Ovaal 32">
              <a:extLst>
                <a:ext uri="{FF2B5EF4-FFF2-40B4-BE49-F238E27FC236}">
                  <a16:creationId xmlns:a16="http://schemas.microsoft.com/office/drawing/2014/main" id="{8BF5F295-E7D3-4A03-9E13-427F35AC3DBE}"/>
                </a:ext>
              </a:extLst>
            </p:cNvPr>
            <p:cNvSpPr/>
            <p:nvPr userDrawn="1"/>
          </p:nvSpPr>
          <p:spPr>
            <a:xfrm>
              <a:off x="-3425006" y="2091065"/>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 name="Rechthoek 33">
              <a:extLst>
                <a:ext uri="{FF2B5EF4-FFF2-40B4-BE49-F238E27FC236}">
                  <a16:creationId xmlns:a16="http://schemas.microsoft.com/office/drawing/2014/main" id="{1564C920-E615-4D87-83D0-5EC2125A4F74}"/>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41" name="Rechthoek 40">
              <a:extLst>
                <a:ext uri="{FF2B5EF4-FFF2-40B4-BE49-F238E27FC236}">
                  <a16:creationId xmlns:a16="http://schemas.microsoft.com/office/drawing/2014/main" id="{F153F3D6-4CA4-416F-ACA2-562A18BA86F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sp>
          <p:nvSpPr>
            <p:cNvPr id="139" name="Ovaal 138">
              <a:extLst>
                <a:ext uri="{FF2B5EF4-FFF2-40B4-BE49-F238E27FC236}">
                  <a16:creationId xmlns:a16="http://schemas.microsoft.com/office/drawing/2014/main" id="{CFCB3DB3-18C6-4F7C-BFDD-B60CB1F99542}"/>
                </a:ext>
              </a:extLst>
            </p:cNvPr>
            <p:cNvSpPr/>
            <p:nvPr userDrawn="1"/>
          </p:nvSpPr>
          <p:spPr>
            <a:xfrm>
              <a:off x="-3425006" y="2459555"/>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0" name="Rechthoek 139">
              <a:extLst>
                <a:ext uri="{FF2B5EF4-FFF2-40B4-BE49-F238E27FC236}">
                  <a16:creationId xmlns:a16="http://schemas.microsoft.com/office/drawing/2014/main" id="{E7E19244-A189-4FDB-AF43-1667CAA7616B}"/>
                </a:ext>
              </a:extLst>
            </p:cNvPr>
            <p:cNvSpPr/>
            <p:nvPr userDrawn="1"/>
          </p:nvSpPr>
          <p:spPr>
            <a:xfrm>
              <a:off x="-3059324" y="2459554"/>
              <a:ext cx="2823104" cy="255963"/>
            </a:xfrm>
            <a:prstGeom prst="rect">
              <a:avLst/>
            </a:prstGeom>
            <a:noFill/>
            <a:ln w="25400" cap="flat" cmpd="sng" algn="ctr">
              <a:noFill/>
              <a:prstDash val="solid"/>
            </a:ln>
            <a:effectLst/>
          </p:spPr>
          <p:txBody>
            <a:bodyPr lIns="0" tIns="0" rIns="0" bIns="0" rtlCol="0" anchor="ctr"/>
            <a:lstStyle/>
            <a:p>
              <a:pPr marL="0" marR="0" lvl="1" indent="0" algn="l" defTabSz="914400" rtl="0" eaLnBrk="1" fontAlgn="auto" latinLnBrk="0" hangingPunct="1">
                <a:lnSpc>
                  <a:spcPct val="100000"/>
                </a:lnSpc>
                <a:spcBef>
                  <a:spcPts val="300"/>
                </a:spcBef>
                <a:spcAft>
                  <a:spcPts val="300"/>
                </a:spcAft>
                <a:buClr>
                  <a:schemeClr val="tx1"/>
                </a:buClr>
                <a:buSzTx/>
                <a:buFont typeface="Calibri Light" panose="020F0302020204030204" pitchFamily="34" charset="0"/>
                <a:buNone/>
                <a:tabLst/>
                <a:defRPr/>
              </a:pPr>
              <a:r>
                <a:rPr lang="nl-NL" sz="1400" kern="1200" noProof="0">
                  <a:solidFill>
                    <a:schemeClr val="tx1"/>
                  </a:solidFill>
                  <a:latin typeface="+mn-lt"/>
                  <a:ea typeface="+mn-ea"/>
                  <a:cs typeface="+mn-cs"/>
                </a:rPr>
                <a:t>Voor- en achternaam (14pt)</a:t>
              </a:r>
            </a:p>
          </p:txBody>
        </p:sp>
      </p:grpSp>
      <p:grpSp>
        <p:nvGrpSpPr>
          <p:cNvPr id="237" name="Instructie">
            <a:extLst>
              <a:ext uri="{FF2B5EF4-FFF2-40B4-BE49-F238E27FC236}">
                <a16:creationId xmlns:a16="http://schemas.microsoft.com/office/drawing/2014/main" id="{5491918F-D540-4E76-916D-5D5C9250EACF}"/>
              </a:ext>
            </a:extLst>
          </p:cNvPr>
          <p:cNvGrpSpPr/>
          <p:nvPr userDrawn="1"/>
        </p:nvGrpSpPr>
        <p:grpSpPr>
          <a:xfrm>
            <a:off x="12391601" y="0"/>
            <a:ext cx="3183678" cy="3883011"/>
            <a:chOff x="12391601" y="0"/>
            <a:chExt cx="3183678" cy="3883011"/>
          </a:xfrm>
        </p:grpSpPr>
        <p:grpSp>
          <p:nvGrpSpPr>
            <p:cNvPr id="241" name="Groep 240">
              <a:extLst>
                <a:ext uri="{FF2B5EF4-FFF2-40B4-BE49-F238E27FC236}">
                  <a16:creationId xmlns:a16="http://schemas.microsoft.com/office/drawing/2014/main" id="{94DACCBF-5E7C-44F3-94C0-3F7A4D6E3803}"/>
                </a:ext>
              </a:extLst>
            </p:cNvPr>
            <p:cNvGrpSpPr/>
            <p:nvPr userDrawn="1"/>
          </p:nvGrpSpPr>
          <p:grpSpPr>
            <a:xfrm>
              <a:off x="12757282" y="3100116"/>
              <a:ext cx="1499406" cy="678267"/>
              <a:chOff x="12757283" y="3120781"/>
              <a:chExt cx="1499406" cy="678267"/>
            </a:xfrm>
          </p:grpSpPr>
          <p:sp>
            <p:nvSpPr>
              <p:cNvPr id="264" name="Rechthoek 263">
                <a:extLst>
                  <a:ext uri="{FF2B5EF4-FFF2-40B4-BE49-F238E27FC236}">
                    <a16:creationId xmlns:a16="http://schemas.microsoft.com/office/drawing/2014/main" id="{B02759E1-C05D-431B-AE2A-27DC36EC65E2}"/>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65" name="Rechthoek 264">
                <a:extLst>
                  <a:ext uri="{FF2B5EF4-FFF2-40B4-BE49-F238E27FC236}">
                    <a16:creationId xmlns:a16="http://schemas.microsoft.com/office/drawing/2014/main" id="{158B4D79-3C30-465D-B97C-08B48449B45E}"/>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6" name="Tekstvak 265">
                <a:extLst>
                  <a:ext uri="{FF2B5EF4-FFF2-40B4-BE49-F238E27FC236}">
                    <a16:creationId xmlns:a16="http://schemas.microsoft.com/office/drawing/2014/main" id="{B1DC80E3-5222-4D34-A47A-EE5BB06A16A7}"/>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voorgrond</a:t>
                </a:r>
              </a:p>
            </p:txBody>
          </p:sp>
          <p:sp>
            <p:nvSpPr>
              <p:cNvPr id="267" name="Tekstvak 266">
                <a:extLst>
                  <a:ext uri="{FF2B5EF4-FFF2-40B4-BE49-F238E27FC236}">
                    <a16:creationId xmlns:a16="http://schemas.microsoft.com/office/drawing/2014/main" id="{03EC5212-FD13-4992-9F4E-53B81E0A313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68" name="Picture 3">
                <a:extLst>
                  <a:ext uri="{FF2B5EF4-FFF2-40B4-BE49-F238E27FC236}">
                    <a16:creationId xmlns:a16="http://schemas.microsoft.com/office/drawing/2014/main" id="{99081990-F68A-4CE7-B403-9C6AF767148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9" name="Gelijkbenige driehoek 268">
                <a:extLst>
                  <a:ext uri="{FF2B5EF4-FFF2-40B4-BE49-F238E27FC236}">
                    <a16:creationId xmlns:a16="http://schemas.microsoft.com/office/drawing/2014/main" id="{7EA62E21-B95F-46A0-9609-6FA9F65415A8}"/>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70" name="Groep 269">
                <a:extLst>
                  <a:ext uri="{FF2B5EF4-FFF2-40B4-BE49-F238E27FC236}">
                    <a16:creationId xmlns:a16="http://schemas.microsoft.com/office/drawing/2014/main" id="{90808785-59DA-4748-A1F4-9EFD8712A5C3}"/>
                  </a:ext>
                </a:extLst>
              </p:cNvPr>
              <p:cNvGrpSpPr/>
              <p:nvPr userDrawn="1"/>
            </p:nvGrpSpPr>
            <p:grpSpPr>
              <a:xfrm>
                <a:off x="12822311" y="3178534"/>
                <a:ext cx="182309" cy="163794"/>
                <a:chOff x="12832541" y="3162395"/>
                <a:chExt cx="219532" cy="197236"/>
              </a:xfrm>
            </p:grpSpPr>
            <p:sp>
              <p:nvSpPr>
                <p:cNvPr id="275" name="Rechthoek 274">
                  <a:extLst>
                    <a:ext uri="{FF2B5EF4-FFF2-40B4-BE49-F238E27FC236}">
                      <a16:creationId xmlns:a16="http://schemas.microsoft.com/office/drawing/2014/main" id="{ABDC1EAB-84B3-49ED-8D0B-E799299D2CAB}"/>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276" name="Rechthoek 275">
                  <a:extLst>
                    <a:ext uri="{FF2B5EF4-FFF2-40B4-BE49-F238E27FC236}">
                      <a16:creationId xmlns:a16="http://schemas.microsoft.com/office/drawing/2014/main" id="{8C660497-F5E5-41E7-9208-7673AC6F4D9D}"/>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277" name="Rechthoek 276">
                  <a:extLst>
                    <a:ext uri="{FF2B5EF4-FFF2-40B4-BE49-F238E27FC236}">
                      <a16:creationId xmlns:a16="http://schemas.microsoft.com/office/drawing/2014/main" id="{0672E17E-BC3A-488B-AF2D-510FEF850AD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nvGrpSpPr>
              <p:cNvPr id="271" name="Groep 270">
                <a:extLst>
                  <a:ext uri="{FF2B5EF4-FFF2-40B4-BE49-F238E27FC236}">
                    <a16:creationId xmlns:a16="http://schemas.microsoft.com/office/drawing/2014/main" id="{AD5B832E-290A-4C57-87C6-747ACE00158E}"/>
                  </a:ext>
                </a:extLst>
              </p:cNvPr>
              <p:cNvGrpSpPr/>
              <p:nvPr userDrawn="1"/>
            </p:nvGrpSpPr>
            <p:grpSpPr>
              <a:xfrm>
                <a:off x="12822311" y="3480352"/>
                <a:ext cx="182309" cy="163794"/>
                <a:chOff x="12832541" y="3162395"/>
                <a:chExt cx="219532" cy="197236"/>
              </a:xfrm>
            </p:grpSpPr>
            <p:sp>
              <p:nvSpPr>
                <p:cNvPr id="272" name="Rechthoek 271">
                  <a:extLst>
                    <a:ext uri="{FF2B5EF4-FFF2-40B4-BE49-F238E27FC236}">
                      <a16:creationId xmlns:a16="http://schemas.microsoft.com/office/drawing/2014/main" id="{B7456BCF-EBDB-43EE-8DB4-DEDB47762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273" name="Rechthoek 272">
                  <a:extLst>
                    <a:ext uri="{FF2B5EF4-FFF2-40B4-BE49-F238E27FC236}">
                      <a16:creationId xmlns:a16="http://schemas.microsoft.com/office/drawing/2014/main" id="{A59F3A86-1244-448C-88C4-20F1E95B7885}"/>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274" name="Rechthoek 273">
                  <a:extLst>
                    <a:ext uri="{FF2B5EF4-FFF2-40B4-BE49-F238E27FC236}">
                      <a16:creationId xmlns:a16="http://schemas.microsoft.com/office/drawing/2014/main" id="{366471D4-3556-4A1B-A7F0-4BDA26CE44A2}"/>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
          <p:nvSpPr>
            <p:cNvPr id="242" name="Rechthoek 241">
              <a:extLst>
                <a:ext uri="{FF2B5EF4-FFF2-40B4-BE49-F238E27FC236}">
                  <a16:creationId xmlns:a16="http://schemas.microsoft.com/office/drawing/2014/main" id="{7F4F5C60-1F67-4C31-897B-D7C807FF3A9C}"/>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Afbeelding invoegen/veranderen</a:t>
              </a:r>
            </a:p>
          </p:txBody>
        </p:sp>
        <p:sp>
          <p:nvSpPr>
            <p:cNvPr id="243" name="Ovaal 242">
              <a:extLst>
                <a:ext uri="{FF2B5EF4-FFF2-40B4-BE49-F238E27FC236}">
                  <a16:creationId xmlns:a16="http://schemas.microsoft.com/office/drawing/2014/main" id="{3B8192CF-FF08-4E42-AFAE-AFF24262776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44" name="Rechte verbindingslijn 243">
              <a:extLst>
                <a:ext uri="{FF2B5EF4-FFF2-40B4-BE49-F238E27FC236}">
                  <a16:creationId xmlns:a16="http://schemas.microsoft.com/office/drawing/2014/main" id="{92A9A90B-F5D1-4489-817C-6AAB86EBDF76}"/>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245" name="Rechte verbindingslijn 244">
              <a:extLst>
                <a:ext uri="{FF2B5EF4-FFF2-40B4-BE49-F238E27FC236}">
                  <a16:creationId xmlns:a16="http://schemas.microsoft.com/office/drawing/2014/main" id="{06008E7B-F5A4-4CED-B734-9C1D3D9A287A}"/>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246" name="Rechthoek 245">
              <a:extLst>
                <a:ext uri="{FF2B5EF4-FFF2-40B4-BE49-F238E27FC236}">
                  <a16:creationId xmlns:a16="http://schemas.microsoft.com/office/drawing/2014/main" id="{203F024B-60C4-4D71-9EA0-3621B42A3ED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47" name="Rechte verbindingslijn 246">
              <a:extLst>
                <a:ext uri="{FF2B5EF4-FFF2-40B4-BE49-F238E27FC236}">
                  <a16:creationId xmlns:a16="http://schemas.microsoft.com/office/drawing/2014/main" id="{7EABF443-8CD1-458D-A549-C93744F20F48}"/>
                </a:ext>
              </a:extLst>
            </p:cNvPr>
            <p:cNvCxnSpPr>
              <a:cxnSpLocks/>
            </p:cNvCxnSpPr>
            <p:nvPr userDrawn="1"/>
          </p:nvCxnSpPr>
          <p:spPr>
            <a:xfrm>
              <a:off x="12397261" y="3883011"/>
              <a:ext cx="3178017" cy="0"/>
            </a:xfrm>
            <a:prstGeom prst="line">
              <a:avLst/>
            </a:prstGeom>
            <a:noFill/>
            <a:ln w="3175" cap="flat" cmpd="sng" algn="ctr">
              <a:solidFill>
                <a:schemeClr val="bg1">
                  <a:lumMod val="50000"/>
                </a:schemeClr>
              </a:solidFill>
              <a:prstDash val="solid"/>
            </a:ln>
            <a:effectLst/>
          </p:spPr>
        </p:cxnSp>
        <p:sp>
          <p:nvSpPr>
            <p:cNvPr id="248" name="Ovaal 247">
              <a:extLst>
                <a:ext uri="{FF2B5EF4-FFF2-40B4-BE49-F238E27FC236}">
                  <a16:creationId xmlns:a16="http://schemas.microsoft.com/office/drawing/2014/main" id="{96243A47-BA60-458B-8515-9699DB2BC06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49" name="Rechthoek 248">
              <a:extLst>
                <a:ext uri="{FF2B5EF4-FFF2-40B4-BE49-F238E27FC236}">
                  <a16:creationId xmlns:a16="http://schemas.microsoft.com/office/drawing/2014/main" id="{9F28C744-5C9A-406A-A233-25F71A82B3D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50" name="Groep 249">
              <a:extLst>
                <a:ext uri="{FF2B5EF4-FFF2-40B4-BE49-F238E27FC236}">
                  <a16:creationId xmlns:a16="http://schemas.microsoft.com/office/drawing/2014/main" id="{2ADC90C0-E8A7-45BE-8C19-32CF2684F04B}"/>
                </a:ext>
              </a:extLst>
            </p:cNvPr>
            <p:cNvGrpSpPr/>
            <p:nvPr userDrawn="1"/>
          </p:nvGrpSpPr>
          <p:grpSpPr>
            <a:xfrm>
              <a:off x="12757282" y="2184550"/>
              <a:ext cx="825500" cy="209550"/>
              <a:chOff x="13504624" y="2482850"/>
              <a:chExt cx="825500" cy="209550"/>
            </a:xfrm>
          </p:grpSpPr>
          <p:sp>
            <p:nvSpPr>
              <p:cNvPr id="261" name="Rechthoek 260">
                <a:extLst>
                  <a:ext uri="{FF2B5EF4-FFF2-40B4-BE49-F238E27FC236}">
                    <a16:creationId xmlns:a16="http://schemas.microsoft.com/office/drawing/2014/main" id="{F8552CA6-F6C7-4327-AE13-0489A94AF44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62" name="Rechte verbindingslijn 261">
                <a:extLst>
                  <a:ext uri="{FF2B5EF4-FFF2-40B4-BE49-F238E27FC236}">
                    <a16:creationId xmlns:a16="http://schemas.microsoft.com/office/drawing/2014/main" id="{54F435DC-C63E-4FF0-9405-D66348673BD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63" name="Gelijkbenige driehoek 262">
                <a:extLst>
                  <a:ext uri="{FF2B5EF4-FFF2-40B4-BE49-F238E27FC236}">
                    <a16:creationId xmlns:a16="http://schemas.microsoft.com/office/drawing/2014/main" id="{D65CEBD3-80AC-42E7-A9B8-FD4A9D69828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51" name="Groep 250">
              <a:extLst>
                <a:ext uri="{FF2B5EF4-FFF2-40B4-BE49-F238E27FC236}">
                  <a16:creationId xmlns:a16="http://schemas.microsoft.com/office/drawing/2014/main" id="{62C5F95C-44A3-440C-988C-043424C611D1}"/>
                </a:ext>
              </a:extLst>
            </p:cNvPr>
            <p:cNvGrpSpPr/>
            <p:nvPr userDrawn="1"/>
          </p:nvGrpSpPr>
          <p:grpSpPr>
            <a:xfrm>
              <a:off x="12757282" y="1141626"/>
              <a:ext cx="294789" cy="318834"/>
              <a:chOff x="14466489" y="1001522"/>
              <a:chExt cx="290627" cy="314333"/>
            </a:xfrm>
          </p:grpSpPr>
          <p:sp>
            <p:nvSpPr>
              <p:cNvPr id="255" name="Rechthoek 254">
                <a:extLst>
                  <a:ext uri="{FF2B5EF4-FFF2-40B4-BE49-F238E27FC236}">
                    <a16:creationId xmlns:a16="http://schemas.microsoft.com/office/drawing/2014/main" id="{F0EDDF1E-3C33-4F98-8C07-280DBEBDA389}"/>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56" name="Ovaal 255">
                <a:extLst>
                  <a:ext uri="{FF2B5EF4-FFF2-40B4-BE49-F238E27FC236}">
                    <a16:creationId xmlns:a16="http://schemas.microsoft.com/office/drawing/2014/main" id="{593EEAF9-A0D9-4C4A-B674-E1D8658EF565}"/>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7" name="Vrije vorm: vorm 256">
                <a:extLst>
                  <a:ext uri="{FF2B5EF4-FFF2-40B4-BE49-F238E27FC236}">
                    <a16:creationId xmlns:a16="http://schemas.microsoft.com/office/drawing/2014/main" id="{3BE204A8-843C-469A-97BE-06F2C06C507F}"/>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8" name="Rechthoek: afgeronde hoeken 257">
                <a:extLst>
                  <a:ext uri="{FF2B5EF4-FFF2-40B4-BE49-F238E27FC236}">
                    <a16:creationId xmlns:a16="http://schemas.microsoft.com/office/drawing/2014/main" id="{70D35218-ACCA-48B8-B440-E9D19C5714C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59" name="Rechte verbindingslijn 258">
                <a:extLst>
                  <a:ext uri="{FF2B5EF4-FFF2-40B4-BE49-F238E27FC236}">
                    <a16:creationId xmlns:a16="http://schemas.microsoft.com/office/drawing/2014/main" id="{5A9D4445-125E-49D6-B34D-0D641D7808E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60" name="Rechte verbindingslijn 259">
                <a:extLst>
                  <a:ext uri="{FF2B5EF4-FFF2-40B4-BE49-F238E27FC236}">
                    <a16:creationId xmlns:a16="http://schemas.microsoft.com/office/drawing/2014/main" id="{11B68801-55B3-4408-82AC-29D8E6881934}"/>
                  </a:ext>
                </a:extLst>
              </p:cNvPr>
              <p:cNvCxnSpPr>
                <a:cxnSpLocks/>
                <a:stCxn id="25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52" name="Ovaal 251">
              <a:extLst>
                <a:ext uri="{FF2B5EF4-FFF2-40B4-BE49-F238E27FC236}">
                  <a16:creationId xmlns:a16="http://schemas.microsoft.com/office/drawing/2014/main" id="{44303F5E-67D9-4A8F-98D8-56F2581C51BB}"/>
                </a:ext>
              </a:extLst>
            </p:cNvPr>
            <p:cNvSpPr/>
            <p:nvPr userDrawn="1"/>
          </p:nvSpPr>
          <p:spPr>
            <a:xfrm>
              <a:off x="12391601" y="2617951"/>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53" name="Rechthoek 252">
              <a:extLst>
                <a:ext uri="{FF2B5EF4-FFF2-40B4-BE49-F238E27FC236}">
                  <a16:creationId xmlns:a16="http://schemas.microsoft.com/office/drawing/2014/main" id="{F19011DA-D85D-4B6B-9046-D65D8C1BF809}"/>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Naar achtergrond´</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54" name="Rechte verbindingslijn 253">
              <a:extLst>
                <a:ext uri="{FF2B5EF4-FFF2-40B4-BE49-F238E27FC236}">
                  <a16:creationId xmlns:a16="http://schemas.microsoft.com/office/drawing/2014/main" id="{2F225B54-B8FA-4201-A60B-FEC37354923F}"/>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spTree>
    <p:extLst>
      <p:ext uri="{BB962C8B-B14F-4D97-AF65-F5344CB8AC3E}">
        <p14:creationId xmlns:p14="http://schemas.microsoft.com/office/powerpoint/2010/main" val="7868864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oud van twee - rood">
    <p:spTree>
      <p:nvGrpSpPr>
        <p:cNvPr id="1" name=""/>
        <p:cNvGrpSpPr/>
        <p:nvPr/>
      </p:nvGrpSpPr>
      <p:grpSpPr>
        <a:xfrm>
          <a:off x="0" y="0"/>
          <a:ext cx="0" cy="0"/>
          <a:chOff x="0" y="0"/>
          <a:chExt cx="0" cy="0"/>
        </a:xfrm>
      </p:grpSpPr>
      <p:grpSp>
        <p:nvGrpSpPr>
          <p:cNvPr id="10" name="Groep 9"/>
          <p:cNvGrpSpPr/>
          <p:nvPr userDrawn="1"/>
        </p:nvGrpSpPr>
        <p:grpSpPr>
          <a:xfrm>
            <a:off x="8026593" y="1534407"/>
            <a:ext cx="3609281" cy="4474402"/>
            <a:chOff x="6014916" y="1914964"/>
            <a:chExt cx="2706961" cy="4474402"/>
          </a:xfrm>
          <a:solidFill>
            <a:schemeClr val="tx2"/>
          </a:solidFill>
        </p:grpSpPr>
        <p:sp>
          <p:nvSpPr>
            <p:cNvPr id="11" name="Vrije vorm 10"/>
            <p:cNvSpPr/>
            <p:nvPr/>
          </p:nvSpPr>
          <p:spPr>
            <a:xfrm>
              <a:off x="8377238" y="1914964"/>
              <a:ext cx="344639" cy="337506"/>
            </a:xfrm>
            <a:custGeom>
              <a:avLst/>
              <a:gdLst>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79937 w 2607128"/>
                <a:gd name="connsiteY7" fmla="*/ 176943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4501 w 2607128"/>
                <a:gd name="connsiteY6" fmla="*/ 176943 h 279788"/>
                <a:gd name="connsiteX7" fmla="*/ 2264946 w 2607128"/>
                <a:gd name="connsiteY7" fmla="*/ 181940 h 279788"/>
                <a:gd name="connsiteX8" fmla="*/ 2404269 w 2607128"/>
                <a:gd name="connsiteY8" fmla="*/ 111570 h 279788"/>
                <a:gd name="connsiteX9" fmla="*/ 2563503 w 2607128"/>
                <a:gd name="connsiteY9" fmla="*/ 436 h 279788"/>
                <a:gd name="connsiteX10" fmla="*/ 2570319 w 2607128"/>
                <a:gd name="connsiteY10" fmla="*/ 95 h 279788"/>
                <a:gd name="connsiteX0" fmla="*/ 2570319 w 2607128"/>
                <a:gd name="connsiteY0" fmla="*/ 95 h 279788"/>
                <a:gd name="connsiteX1" fmla="*/ 2607128 w 2607128"/>
                <a:gd name="connsiteY1" fmla="*/ 76704 h 279788"/>
                <a:gd name="connsiteX2" fmla="*/ 2607128 w 2607128"/>
                <a:gd name="connsiteY2" fmla="*/ 279788 h 279788"/>
                <a:gd name="connsiteX3" fmla="*/ 2604208 w 2607128"/>
                <a:gd name="connsiteY3" fmla="*/ 265325 h 279788"/>
                <a:gd name="connsiteX4" fmla="*/ 2478272 w 2607128"/>
                <a:gd name="connsiteY4" fmla="*/ 181849 h 279788"/>
                <a:gd name="connsiteX5" fmla="*/ 0 w 2607128"/>
                <a:gd name="connsiteY5" fmla="*/ 181849 h 279788"/>
                <a:gd name="connsiteX6" fmla="*/ 2264946 w 2607128"/>
                <a:gd name="connsiteY6" fmla="*/ 181940 h 279788"/>
                <a:gd name="connsiteX7" fmla="*/ 2404269 w 2607128"/>
                <a:gd name="connsiteY7" fmla="*/ 111570 h 279788"/>
                <a:gd name="connsiteX8" fmla="*/ 2563503 w 2607128"/>
                <a:gd name="connsiteY8" fmla="*/ 436 h 279788"/>
                <a:gd name="connsiteX9" fmla="*/ 2570319 w 2607128"/>
                <a:gd name="connsiteY9" fmla="*/ 95 h 279788"/>
                <a:gd name="connsiteX0" fmla="*/ 305373 w 342182"/>
                <a:gd name="connsiteY0" fmla="*/ 95 h 279788"/>
                <a:gd name="connsiteX1" fmla="*/ 342182 w 342182"/>
                <a:gd name="connsiteY1" fmla="*/ 76704 h 279788"/>
                <a:gd name="connsiteX2" fmla="*/ 342182 w 342182"/>
                <a:gd name="connsiteY2" fmla="*/ 279788 h 279788"/>
                <a:gd name="connsiteX3" fmla="*/ 339262 w 342182"/>
                <a:gd name="connsiteY3" fmla="*/ 265325 h 279788"/>
                <a:gd name="connsiteX4" fmla="*/ 213326 w 342182"/>
                <a:gd name="connsiteY4" fmla="*/ 181849 h 279788"/>
                <a:gd name="connsiteX5" fmla="*/ 0 w 342182"/>
                <a:gd name="connsiteY5" fmla="*/ 181940 h 279788"/>
                <a:gd name="connsiteX6" fmla="*/ 139323 w 342182"/>
                <a:gd name="connsiteY6" fmla="*/ 111570 h 279788"/>
                <a:gd name="connsiteX7" fmla="*/ 298557 w 342182"/>
                <a:gd name="connsiteY7" fmla="*/ 436 h 279788"/>
                <a:gd name="connsiteX8" fmla="*/ 305373 w 342182"/>
                <a:gd name="connsiteY8" fmla="*/ 95 h 279788"/>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65325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41681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9262 w 347020"/>
                <a:gd name="connsiteY3" fmla="*/ 277420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7020"/>
                <a:gd name="connsiteY0" fmla="*/ 95 h 316074"/>
                <a:gd name="connsiteX1" fmla="*/ 342182 w 347020"/>
                <a:gd name="connsiteY1" fmla="*/ 76704 h 316074"/>
                <a:gd name="connsiteX2" fmla="*/ 347020 w 347020"/>
                <a:gd name="connsiteY2" fmla="*/ 316074 h 316074"/>
                <a:gd name="connsiteX3" fmla="*/ 334424 w 347020"/>
                <a:gd name="connsiteY3" fmla="*/ 267744 h 316074"/>
                <a:gd name="connsiteX4" fmla="*/ 213326 w 347020"/>
                <a:gd name="connsiteY4" fmla="*/ 181849 h 316074"/>
                <a:gd name="connsiteX5" fmla="*/ 0 w 347020"/>
                <a:gd name="connsiteY5" fmla="*/ 181940 h 316074"/>
                <a:gd name="connsiteX6" fmla="*/ 139323 w 347020"/>
                <a:gd name="connsiteY6" fmla="*/ 111570 h 316074"/>
                <a:gd name="connsiteX7" fmla="*/ 298557 w 347020"/>
                <a:gd name="connsiteY7" fmla="*/ 436 h 316074"/>
                <a:gd name="connsiteX8" fmla="*/ 305373 w 347020"/>
                <a:gd name="connsiteY8" fmla="*/ 95 h 316074"/>
                <a:gd name="connsiteX0" fmla="*/ 305373 w 344639"/>
                <a:gd name="connsiteY0" fmla="*/ 95 h 337506"/>
                <a:gd name="connsiteX1" fmla="*/ 342182 w 344639"/>
                <a:gd name="connsiteY1" fmla="*/ 76704 h 337506"/>
                <a:gd name="connsiteX2" fmla="*/ 344639 w 344639"/>
                <a:gd name="connsiteY2" fmla="*/ 337506 h 337506"/>
                <a:gd name="connsiteX3" fmla="*/ 334424 w 344639"/>
                <a:gd name="connsiteY3" fmla="*/ 267744 h 337506"/>
                <a:gd name="connsiteX4" fmla="*/ 213326 w 344639"/>
                <a:gd name="connsiteY4" fmla="*/ 181849 h 337506"/>
                <a:gd name="connsiteX5" fmla="*/ 0 w 344639"/>
                <a:gd name="connsiteY5" fmla="*/ 181940 h 337506"/>
                <a:gd name="connsiteX6" fmla="*/ 139323 w 344639"/>
                <a:gd name="connsiteY6" fmla="*/ 111570 h 337506"/>
                <a:gd name="connsiteX7" fmla="*/ 298557 w 344639"/>
                <a:gd name="connsiteY7" fmla="*/ 436 h 337506"/>
                <a:gd name="connsiteX8" fmla="*/ 305373 w 344639"/>
                <a:gd name="connsiteY8" fmla="*/ 95 h 33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639" h="337506">
                  <a:moveTo>
                    <a:pt x="305373" y="95"/>
                  </a:moveTo>
                  <a:cubicBezTo>
                    <a:pt x="317643" y="1117"/>
                    <a:pt x="342182" y="11331"/>
                    <a:pt x="342182" y="76704"/>
                  </a:cubicBezTo>
                  <a:cubicBezTo>
                    <a:pt x="343795" y="156494"/>
                    <a:pt x="343026" y="257716"/>
                    <a:pt x="344639" y="337506"/>
                  </a:cubicBezTo>
                  <a:cubicBezTo>
                    <a:pt x="340440" y="321396"/>
                    <a:pt x="338623" y="283854"/>
                    <a:pt x="334424" y="267744"/>
                  </a:cubicBezTo>
                  <a:cubicBezTo>
                    <a:pt x="313676" y="218689"/>
                    <a:pt x="269940" y="181849"/>
                    <a:pt x="213326" y="181849"/>
                  </a:cubicBezTo>
                  <a:lnTo>
                    <a:pt x="0" y="181940"/>
                  </a:lnTo>
                  <a:cubicBezTo>
                    <a:pt x="0" y="181940"/>
                    <a:pt x="100061" y="170406"/>
                    <a:pt x="139323" y="111570"/>
                  </a:cubicBezTo>
                  <a:cubicBezTo>
                    <a:pt x="139323" y="111570"/>
                    <a:pt x="235299" y="436"/>
                    <a:pt x="298557" y="436"/>
                  </a:cubicBezTo>
                  <a:cubicBezTo>
                    <a:pt x="298557" y="436"/>
                    <a:pt x="301284" y="-245"/>
                    <a:pt x="305373" y="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2" name="Afgeronde rechthoek 11"/>
            <p:cNvSpPr/>
            <p:nvPr/>
          </p:nvSpPr>
          <p:spPr>
            <a:xfrm>
              <a:off x="6014916" y="2088295"/>
              <a:ext cx="2706885" cy="4301071"/>
            </a:xfrm>
            <a:prstGeom prst="roundRect">
              <a:avLst>
                <a:gd name="adj" fmla="val 481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8" name="Afgeronde rechthoek 7"/>
          <p:cNvSpPr/>
          <p:nvPr userDrawn="1"/>
        </p:nvSpPr>
        <p:spPr>
          <a:xfrm>
            <a:off x="658302" y="1708486"/>
            <a:ext cx="7136801" cy="4268241"/>
          </a:xfrm>
          <a:prstGeom prst="roundRect">
            <a:avLst>
              <a:gd name="adj" fmla="val 3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 name="Title 1"/>
          <p:cNvSpPr>
            <a:spLocks noGrp="1"/>
          </p:cNvSpPr>
          <p:nvPr>
            <p:ph type="title"/>
          </p:nvPr>
        </p:nvSpPr>
        <p:spPr>
          <a:xfrm>
            <a:off x="502652" y="533569"/>
            <a:ext cx="11133221" cy="584775"/>
          </a:xfrm>
        </p:spPr>
        <p:txBody>
          <a:bodyPr>
            <a:spAutoFit/>
          </a:bodyPr>
          <a:lstStyle>
            <a:lvl1pPr>
              <a:defRPr>
                <a:solidFill>
                  <a:schemeClr val="tx2"/>
                </a:solidFill>
              </a:defRPr>
            </a:lvl1pPr>
          </a:lstStyle>
          <a:p>
            <a:r>
              <a:rPr lang="nl-NL" noProof="0"/>
              <a:t>Klik om de stijl te bewerken</a:t>
            </a:r>
          </a:p>
        </p:txBody>
      </p:sp>
      <p:sp>
        <p:nvSpPr>
          <p:cNvPr id="13" name="Tekstvak 12"/>
          <p:cNvSpPr txBox="1"/>
          <p:nvPr userDrawn="1"/>
        </p:nvSpPr>
        <p:spPr>
          <a:xfrm>
            <a:off x="-113408" y="-421452"/>
            <a:ext cx="4144896" cy="338554"/>
          </a:xfrm>
          <a:prstGeom prst="rect">
            <a:avLst/>
          </a:prstGeom>
          <a:noFill/>
        </p:spPr>
        <p:txBody>
          <a:bodyPr wrap="square" rtlCol="0">
            <a:spAutoFit/>
          </a:bodyPr>
          <a:lstStyle/>
          <a:p>
            <a:r>
              <a:rPr lang="nl-NL" sz="1600" b="1" noProof="0">
                <a:solidFill>
                  <a:schemeClr val="tx1"/>
                </a:solidFill>
              </a:rPr>
              <a:t>Inhoud van twee</a:t>
            </a:r>
            <a:r>
              <a:rPr lang="nl-NL" sz="1600" b="1" baseline="0" noProof="0">
                <a:solidFill>
                  <a:schemeClr val="tx1"/>
                </a:solidFill>
              </a:rPr>
              <a:t> - rood</a:t>
            </a:r>
            <a:endParaRPr lang="nl-NL" sz="1600" b="1" noProof="0">
              <a:solidFill>
                <a:schemeClr val="tx1"/>
              </a:solidFill>
            </a:endParaRPr>
          </a:p>
        </p:txBody>
      </p:sp>
      <p:sp>
        <p:nvSpPr>
          <p:cNvPr id="46" name="Tijdelijke aanduiding voor tekst 99"/>
          <p:cNvSpPr>
            <a:spLocks noGrp="1"/>
          </p:cNvSpPr>
          <p:nvPr>
            <p:ph type="body" sz="quarter" idx="13" hasCustomPrompt="1"/>
          </p:nvPr>
        </p:nvSpPr>
        <p:spPr>
          <a:xfrm>
            <a:off x="501651" y="1134076"/>
            <a:ext cx="11133667" cy="355600"/>
          </a:xfrm>
        </p:spPr>
        <p:txBody>
          <a:bodyPr/>
          <a:lstStyle>
            <a:lvl1pPr>
              <a:defRPr/>
            </a:lvl1pPr>
          </a:lstStyle>
          <a:p>
            <a:pPr lvl="0"/>
            <a:r>
              <a:rPr lang="nl-NL" noProof="0"/>
              <a:t>Subtitel</a:t>
            </a:r>
          </a:p>
        </p:txBody>
      </p:sp>
      <p:sp>
        <p:nvSpPr>
          <p:cNvPr id="47" name="Content Placeholder 2"/>
          <p:cNvSpPr>
            <a:spLocks noGrp="1"/>
          </p:cNvSpPr>
          <p:nvPr>
            <p:ph sz="half" idx="1"/>
          </p:nvPr>
        </p:nvSpPr>
        <p:spPr>
          <a:xfrm>
            <a:off x="762066" y="1708486"/>
            <a:ext cx="6916300" cy="3897184"/>
          </a:xfrm>
        </p:spPr>
        <p:txBody>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48" name="Content Placeholder 3"/>
          <p:cNvSpPr>
            <a:spLocks noGrp="1"/>
          </p:cNvSpPr>
          <p:nvPr>
            <p:ph sz="half" idx="2"/>
          </p:nvPr>
        </p:nvSpPr>
        <p:spPr bwMode="gray">
          <a:xfrm>
            <a:off x="8130359" y="1708485"/>
            <a:ext cx="3387191" cy="307777"/>
          </a:xfrm>
        </p:spPr>
        <p:txBody>
          <a:bodyPr>
            <a:spAutoFit/>
          </a:bodyPr>
          <a:lstStyle>
            <a:lvl1pPr>
              <a:defRPr sz="1400" b="1">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noProof="0"/>
              <a:t>Klik om de modelstijlen te bewerken</a:t>
            </a:r>
          </a:p>
        </p:txBody>
      </p:sp>
      <p:sp>
        <p:nvSpPr>
          <p:cNvPr id="50" name="Content Placeholder 3"/>
          <p:cNvSpPr>
            <a:spLocks noGrp="1"/>
          </p:cNvSpPr>
          <p:nvPr>
            <p:ph sz="half" idx="15"/>
          </p:nvPr>
        </p:nvSpPr>
        <p:spPr bwMode="gray">
          <a:xfrm>
            <a:off x="8130359" y="2315817"/>
            <a:ext cx="3387191" cy="3766524"/>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grpSp>
        <p:nvGrpSpPr>
          <p:cNvPr id="72" name="Groep 71"/>
          <p:cNvGrpSpPr/>
          <p:nvPr userDrawn="1"/>
        </p:nvGrpSpPr>
        <p:grpSpPr>
          <a:xfrm>
            <a:off x="-3279573" y="5020705"/>
            <a:ext cx="3086613" cy="1841358"/>
            <a:chOff x="8427776" y="4654945"/>
            <a:chExt cx="2314960" cy="1841358"/>
          </a:xfrm>
        </p:grpSpPr>
        <p:grpSp>
          <p:nvGrpSpPr>
            <p:cNvPr id="73" name="Groep 72"/>
            <p:cNvGrpSpPr/>
            <p:nvPr userDrawn="1"/>
          </p:nvGrpSpPr>
          <p:grpSpPr>
            <a:xfrm>
              <a:off x="8432864" y="4781014"/>
              <a:ext cx="2309872" cy="1592662"/>
              <a:chOff x="-3092517" y="-83840"/>
              <a:chExt cx="3136706" cy="2509126"/>
            </a:xfrm>
          </p:grpSpPr>
          <p:sp>
            <p:nvSpPr>
              <p:cNvPr id="76" name="Textfield placeholder"/>
              <p:cNvSpPr txBox="1">
                <a:spLocks/>
              </p:cNvSpPr>
              <p:nvPr userDrawn="1"/>
            </p:nvSpPr>
            <p:spPr>
              <a:xfrm>
                <a:off x="-2658624" y="103018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kern="1200" noProof="0">
                    <a:solidFill>
                      <a:schemeClr val="tx1"/>
                    </a:solidFill>
                    <a:latin typeface="+mn-lt"/>
                    <a:ea typeface="+mn-ea"/>
                    <a:cs typeface="+mn-cs"/>
                  </a:rPr>
                  <a:t>Typ-tekst (18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77" name="Ovaal 76"/>
              <p:cNvSpPr/>
              <p:nvPr userDrawn="1"/>
            </p:nvSpPr>
            <p:spPr>
              <a:xfrm>
                <a:off x="-3092517" y="98821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3</a:t>
                </a:r>
              </a:p>
            </p:txBody>
          </p:sp>
          <p:sp>
            <p:nvSpPr>
              <p:cNvPr id="78" name="Ovaal 77"/>
              <p:cNvSpPr/>
              <p:nvPr userDrawn="1"/>
            </p:nvSpPr>
            <p:spPr>
              <a:xfrm>
                <a:off x="-3092517" y="1517803"/>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4</a:t>
                </a:r>
              </a:p>
            </p:txBody>
          </p:sp>
          <p:sp>
            <p:nvSpPr>
              <p:cNvPr id="79" name="Ovaal 78"/>
              <p:cNvSpPr/>
              <p:nvPr userDrawn="1"/>
            </p:nvSpPr>
            <p:spPr>
              <a:xfrm>
                <a:off x="-3092517" y="2047394"/>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5</a:t>
                </a:r>
              </a:p>
            </p:txBody>
          </p:sp>
          <p:sp>
            <p:nvSpPr>
              <p:cNvPr id="80" name="Textfield placeholder"/>
              <p:cNvSpPr txBox="1">
                <a:spLocks/>
              </p:cNvSpPr>
              <p:nvPr userDrawn="1"/>
            </p:nvSpPr>
            <p:spPr>
              <a:xfrm>
                <a:off x="-2658624" y="1559780"/>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49263" lvl="1" indent="-184150" algn="l" defTabSz="914400" rtl="0" eaLnBrk="1" latinLnBrk="0" hangingPunct="1">
                  <a:lnSpc>
                    <a:spcPct val="100000"/>
                  </a:lnSpc>
                  <a:spcBef>
                    <a:spcPts val="0"/>
                  </a:spcBef>
                  <a:buClr>
                    <a:schemeClr val="tx1"/>
                  </a:buClr>
                  <a:buSzPct val="100000"/>
                  <a:buFont typeface="Arial" panose="020B0604020202020204" pitchFamily="34" charset="0"/>
                  <a:buChar char="•"/>
                </a:pP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1" name="Textfield placeholder"/>
              <p:cNvSpPr txBox="1">
                <a:spLocks/>
              </p:cNvSpPr>
              <p:nvPr userDrawn="1"/>
            </p:nvSpPr>
            <p:spPr>
              <a:xfrm>
                <a:off x="-2658624" y="2089369"/>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25475" lvl="2" indent="-176213"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tab pos="4394200" algn="l"/>
                  </a:tabLst>
                </a:pPr>
                <a:r>
                  <a:rPr lang="nl-NL" sz="1400" kern="1200" noProof="0">
                    <a:solidFill>
                      <a:schemeClr val="tx1"/>
                    </a:solidFill>
                    <a:latin typeface="+mn-lt"/>
                    <a:ea typeface="+mn-ea"/>
                    <a:cs typeface="+mn-cs"/>
                  </a:rPr>
                  <a:t>Sub-</a:t>
                </a:r>
                <a:r>
                  <a:rPr lang="nl-NL" sz="1400" kern="1200" noProof="0" err="1">
                    <a:solidFill>
                      <a:schemeClr val="tx1"/>
                    </a:solidFill>
                    <a:latin typeface="+mn-lt"/>
                    <a:ea typeface="+mn-ea"/>
                    <a:cs typeface="+mn-cs"/>
                  </a:rPr>
                  <a:t>bullet</a:t>
                </a:r>
                <a:r>
                  <a:rPr lang="nl-NL" sz="1400" kern="1200" noProof="0">
                    <a:solidFill>
                      <a:schemeClr val="tx1"/>
                    </a:solidFill>
                    <a:latin typeface="+mn-lt"/>
                    <a:ea typeface="+mn-ea"/>
                    <a:cs typeface="+mn-cs"/>
                  </a:rPr>
                  <a:t> (14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sp>
            <p:nvSpPr>
              <p:cNvPr id="82" name="Textfield placeholder"/>
              <p:cNvSpPr txBox="1">
                <a:spLocks/>
              </p:cNvSpPr>
              <p:nvPr userDrawn="1"/>
            </p:nvSpPr>
            <p:spPr>
              <a:xfrm>
                <a:off x="-2658624" y="-41864"/>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400" b="1" kern="1200" noProof="0">
                    <a:solidFill>
                      <a:schemeClr val="tx1"/>
                    </a:solidFill>
                    <a:latin typeface="+mn-lt"/>
                    <a:ea typeface="+mn-ea"/>
                    <a:cs typeface="+mn-cs"/>
                  </a:rPr>
                  <a:t>Titel </a:t>
                </a:r>
                <a:r>
                  <a:rPr lang="nl-NL" sz="1400" b="1" kern="1200" noProof="0" err="1">
                    <a:solidFill>
                      <a:schemeClr val="tx1"/>
                    </a:solidFill>
                    <a:latin typeface="+mn-lt"/>
                    <a:ea typeface="+mn-ea"/>
                    <a:cs typeface="+mn-cs"/>
                  </a:rPr>
                  <a:t>bold</a:t>
                </a:r>
                <a:r>
                  <a:rPr lang="nl-NL" sz="1400" b="1" kern="1200" noProof="0">
                    <a:solidFill>
                      <a:schemeClr val="tx1"/>
                    </a:solidFill>
                    <a:latin typeface="+mn-lt"/>
                    <a:ea typeface="+mn-ea"/>
                    <a:cs typeface="+mn-cs"/>
                  </a:rPr>
                  <a:t> (32 </a:t>
                </a:r>
                <a:r>
                  <a:rPr lang="nl-NL" sz="1400" b="1" kern="1200" noProof="0" err="1">
                    <a:solidFill>
                      <a:schemeClr val="tx1"/>
                    </a:solidFill>
                    <a:latin typeface="+mn-lt"/>
                    <a:ea typeface="+mn-ea"/>
                    <a:cs typeface="+mn-cs"/>
                  </a:rPr>
                  <a:t>pt</a:t>
                </a:r>
                <a:r>
                  <a:rPr lang="nl-NL" sz="1400" b="1" kern="1200" noProof="0">
                    <a:solidFill>
                      <a:schemeClr val="tx1"/>
                    </a:solidFill>
                    <a:latin typeface="+mn-lt"/>
                    <a:ea typeface="+mn-ea"/>
                    <a:cs typeface="+mn-cs"/>
                  </a:rPr>
                  <a:t>.)</a:t>
                </a:r>
              </a:p>
            </p:txBody>
          </p:sp>
          <p:sp>
            <p:nvSpPr>
              <p:cNvPr id="83" name="Ovaal 82"/>
              <p:cNvSpPr/>
              <p:nvPr userDrawn="1"/>
            </p:nvSpPr>
            <p:spPr>
              <a:xfrm>
                <a:off x="-3092517" y="-8384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1</a:t>
                </a:r>
              </a:p>
            </p:txBody>
          </p:sp>
          <p:sp>
            <p:nvSpPr>
              <p:cNvPr id="84" name="Ovaal 83"/>
              <p:cNvSpPr/>
              <p:nvPr userDrawn="1"/>
            </p:nvSpPr>
            <p:spPr>
              <a:xfrm>
                <a:off x="-3092517" y="445750"/>
                <a:ext cx="327539" cy="3778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noProof="0">
                    <a:solidFill>
                      <a:schemeClr val="bg1"/>
                    </a:solidFill>
                  </a:rPr>
                  <a:t>2</a:t>
                </a:r>
              </a:p>
            </p:txBody>
          </p:sp>
          <p:sp>
            <p:nvSpPr>
              <p:cNvPr id="85" name="Textfield placeholder"/>
              <p:cNvSpPr txBox="1">
                <a:spLocks/>
              </p:cNvSpPr>
              <p:nvPr userDrawn="1"/>
            </p:nvSpPr>
            <p:spPr>
              <a:xfrm>
                <a:off x="-2658624" y="487727"/>
                <a:ext cx="2702813" cy="29394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6513" lvl="0" indent="0" algn="l" defTabSz="914400" rtl="0" eaLnBrk="1" latinLnBrk="0" hangingPunct="1">
                  <a:lnSpc>
                    <a:spcPct val="100000"/>
                  </a:lnSpc>
                  <a:spcBef>
                    <a:spcPts val="0"/>
                  </a:spcBef>
                  <a:buClr>
                    <a:schemeClr val="tx1"/>
                  </a:buClr>
                  <a:buSzPct val="100000"/>
                  <a:buFont typeface="Arial" panose="020B0604020202020204" pitchFamily="34" charset="0"/>
                  <a:buNone/>
                </a:pPr>
                <a:r>
                  <a:rPr lang="nl-NL" sz="1400" kern="1200" noProof="0">
                    <a:solidFill>
                      <a:schemeClr val="tx1"/>
                    </a:solidFill>
                    <a:latin typeface="+mn-lt"/>
                    <a:ea typeface="+mn-ea"/>
                    <a:cs typeface="+mn-cs"/>
                  </a:rPr>
                  <a:t>Subtitel (16 </a:t>
                </a:r>
                <a:r>
                  <a:rPr lang="nl-NL" sz="1400" kern="1200" noProof="0" err="1">
                    <a:solidFill>
                      <a:schemeClr val="tx1"/>
                    </a:solidFill>
                    <a:latin typeface="+mn-lt"/>
                    <a:ea typeface="+mn-ea"/>
                    <a:cs typeface="+mn-cs"/>
                  </a:rPr>
                  <a:t>pt</a:t>
                </a:r>
                <a:r>
                  <a:rPr lang="nl-NL" sz="1400" kern="1200" noProof="0">
                    <a:solidFill>
                      <a:schemeClr val="tx1"/>
                    </a:solidFill>
                    <a:latin typeface="+mn-lt"/>
                    <a:ea typeface="+mn-ea"/>
                    <a:cs typeface="+mn-cs"/>
                  </a:rPr>
                  <a:t>.)</a:t>
                </a:r>
              </a:p>
            </p:txBody>
          </p:sp>
        </p:grpSp>
        <p:cxnSp>
          <p:nvCxnSpPr>
            <p:cNvPr id="74" name="Rechte verbindingslijn 73"/>
            <p:cNvCxnSpPr/>
            <p:nvPr userDrawn="1"/>
          </p:nvCxnSpPr>
          <p:spPr>
            <a:xfrm>
              <a:off x="8427776" y="4654945"/>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Rechte verbindingslijn 74"/>
            <p:cNvCxnSpPr/>
            <p:nvPr userDrawn="1"/>
          </p:nvCxnSpPr>
          <p:spPr>
            <a:xfrm>
              <a:off x="8427776" y="6496303"/>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Tijdelijke aanduiding voor tekst 46"/>
          <p:cNvSpPr>
            <a:spLocks noGrp="1"/>
          </p:cNvSpPr>
          <p:nvPr userDrawn="1">
            <p:ph type="body" sz="quarter" idx="14" hasCustomPrompt="1"/>
          </p:nvPr>
        </p:nvSpPr>
        <p:spPr>
          <a:xfrm>
            <a:off x="762066" y="5611213"/>
            <a:ext cx="6916300" cy="476671"/>
          </a:xfrm>
        </p:spPr>
        <p:txBody>
          <a:bodyPr/>
          <a:lstStyle>
            <a:lvl1pPr>
              <a:lnSpc>
                <a:spcPts val="1100"/>
              </a:lnSpc>
              <a:defRPr sz="1000" i="1">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nl-NL" noProof="0"/>
              <a:t>Legenda</a:t>
            </a:r>
          </a:p>
        </p:txBody>
      </p:sp>
      <p:sp>
        <p:nvSpPr>
          <p:cNvPr id="87" name="Footer Placeholder 4"/>
          <p:cNvSpPr>
            <a:spLocks noGrp="1"/>
          </p:cNvSpPr>
          <p:nvPr userDrawn="1">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88" name="Slide Number Placeholder 5"/>
          <p:cNvSpPr>
            <a:spLocks noGrp="1"/>
          </p:cNvSpPr>
          <p:nvPr userDrawn="1">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89" name="Groep 88"/>
          <p:cNvGrpSpPr/>
          <p:nvPr userDrawn="1"/>
        </p:nvGrpSpPr>
        <p:grpSpPr>
          <a:xfrm>
            <a:off x="-3471145" y="-46322"/>
            <a:ext cx="3471145" cy="3781320"/>
            <a:chOff x="-2603359" y="-46322"/>
            <a:chExt cx="2603359" cy="3781320"/>
          </a:xfrm>
        </p:grpSpPr>
        <p:sp>
          <p:nvSpPr>
            <p:cNvPr id="90" name="Afgeronde rechthoek 89"/>
            <p:cNvSpPr/>
            <p:nvPr userDrawn="1"/>
          </p:nvSpPr>
          <p:spPr>
            <a:xfrm>
              <a:off x="-2459680" y="835209"/>
              <a:ext cx="949986"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Light </a:t>
              </a:r>
              <a:r>
                <a:rPr lang="nl-NL" sz="1100" b="1" noProof="0" err="1"/>
                <a:t>Grey</a:t>
              </a:r>
              <a:endParaRPr lang="nl-NL" sz="1100" b="1" noProof="0"/>
            </a:p>
          </p:txBody>
        </p:sp>
        <p:sp>
          <p:nvSpPr>
            <p:cNvPr id="91" name="Tekstvak 29"/>
            <p:cNvSpPr txBox="1"/>
            <p:nvPr userDrawn="1"/>
          </p:nvSpPr>
          <p:spPr>
            <a:xfrm>
              <a:off x="-1493489" y="834756"/>
              <a:ext cx="1355354" cy="261610"/>
            </a:xfrm>
            <a:prstGeom prst="rect">
              <a:avLst/>
            </a:prstGeom>
            <a:noFill/>
          </p:spPr>
          <p:txBody>
            <a:bodyPr wrap="square" rtlCol="0">
              <a:spAutoFit/>
            </a:bodyPr>
            <a:lstStyle/>
            <a:p>
              <a:pPr algn="l" defTabSz="355600"/>
              <a:r>
                <a:rPr lang="nl-NL" sz="1100" b="0" cap="none" baseline="0" noProof="0">
                  <a:solidFill>
                    <a:schemeClr val="tx1"/>
                  </a:solidFill>
                </a:rPr>
                <a:t>R 178, G 178, B 178</a:t>
              </a:r>
            </a:p>
          </p:txBody>
        </p:sp>
        <p:sp>
          <p:nvSpPr>
            <p:cNvPr id="92" name="Afgeronde rechthoek 27"/>
            <p:cNvSpPr/>
            <p:nvPr userDrawn="1"/>
          </p:nvSpPr>
          <p:spPr>
            <a:xfrm>
              <a:off x="-2459680" y="1211676"/>
              <a:ext cx="949986"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Red</a:t>
              </a:r>
            </a:p>
          </p:txBody>
        </p:sp>
        <p:sp>
          <p:nvSpPr>
            <p:cNvPr id="93" name="Afgeronde rechthoek 27"/>
            <p:cNvSpPr/>
            <p:nvPr userDrawn="1"/>
          </p:nvSpPr>
          <p:spPr>
            <a:xfrm>
              <a:off x="-2459680" y="1588143"/>
              <a:ext cx="949986" cy="259745"/>
            </a:xfrm>
            <a:prstGeom prst="round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Black</a:t>
              </a:r>
            </a:p>
          </p:txBody>
        </p:sp>
        <p:sp>
          <p:nvSpPr>
            <p:cNvPr id="94" name="Afgeronde rechthoek 27"/>
            <p:cNvSpPr/>
            <p:nvPr userDrawn="1"/>
          </p:nvSpPr>
          <p:spPr>
            <a:xfrm>
              <a:off x="-2459680" y="1964610"/>
              <a:ext cx="949986"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Orange</a:t>
              </a:r>
            </a:p>
          </p:txBody>
        </p:sp>
        <p:sp>
          <p:nvSpPr>
            <p:cNvPr id="95" name="Afgeronde rechthoek 94"/>
            <p:cNvSpPr/>
            <p:nvPr userDrawn="1"/>
          </p:nvSpPr>
          <p:spPr>
            <a:xfrm>
              <a:off x="-2459680" y="2341077"/>
              <a:ext cx="949986"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etrol</a:t>
              </a:r>
              <a:r>
                <a:rPr lang="nl-NL" sz="1100" b="1" noProof="0"/>
                <a:t> blue</a:t>
              </a:r>
            </a:p>
          </p:txBody>
        </p:sp>
        <p:sp>
          <p:nvSpPr>
            <p:cNvPr id="96" name="Rechthoek 95"/>
            <p:cNvSpPr/>
            <p:nvPr userDrawn="1"/>
          </p:nvSpPr>
          <p:spPr>
            <a:xfrm>
              <a:off x="-2603359" y="-46322"/>
              <a:ext cx="2603359"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800" b="1" baseline="0" noProof="0">
                  <a:solidFill>
                    <a:schemeClr val="tx1"/>
                  </a:solidFill>
                </a:rPr>
                <a:t>RGB-KLEUREN</a:t>
              </a:r>
              <a:endParaRPr lang="nl-NL" sz="1800" b="1" noProof="0">
                <a:solidFill>
                  <a:schemeClr val="tx1"/>
                </a:solidFill>
              </a:endParaRPr>
            </a:p>
          </p:txBody>
        </p:sp>
        <p:cxnSp>
          <p:nvCxnSpPr>
            <p:cNvPr id="97" name="Rechte verbindingslijn 96"/>
            <p:cNvCxnSpPr/>
            <p:nvPr userDrawn="1"/>
          </p:nvCxnSpPr>
          <p:spPr>
            <a:xfrm>
              <a:off x="-2459680" y="338664"/>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Afgeronde rechthoek 27"/>
            <p:cNvSpPr/>
            <p:nvPr userDrawn="1"/>
          </p:nvSpPr>
          <p:spPr>
            <a:xfrm>
              <a:off x="-2459680" y="2717544"/>
              <a:ext cx="949986"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baseline="0" noProof="0"/>
                <a:t>Green</a:t>
              </a:r>
              <a:endParaRPr lang="nl-NL" sz="1100" b="1" noProof="0"/>
            </a:p>
          </p:txBody>
        </p:sp>
        <p:sp>
          <p:nvSpPr>
            <p:cNvPr id="99" name="Tekstvak 29"/>
            <p:cNvSpPr txBox="1"/>
            <p:nvPr userDrawn="1"/>
          </p:nvSpPr>
          <p:spPr>
            <a:xfrm>
              <a:off x="-1493489" y="1211703"/>
              <a:ext cx="1355354" cy="261610"/>
            </a:xfrm>
            <a:prstGeom prst="rect">
              <a:avLst/>
            </a:prstGeom>
            <a:noFill/>
          </p:spPr>
          <p:txBody>
            <a:bodyPr wrap="square" rtlCol="0">
              <a:spAutoFit/>
            </a:bodyPr>
            <a:lstStyle/>
            <a:p>
              <a:pPr algn="l" defTabSz="355600"/>
              <a:r>
                <a:rPr lang="nl-NL" sz="1100" b="0" cap="none" baseline="0" noProof="0">
                  <a:solidFill>
                    <a:schemeClr val="tx1"/>
                  </a:solidFill>
                </a:rPr>
                <a:t>R 204 , G 0, B 0</a:t>
              </a:r>
            </a:p>
          </p:txBody>
        </p:sp>
        <p:sp>
          <p:nvSpPr>
            <p:cNvPr id="100" name="Tekstvak 29"/>
            <p:cNvSpPr txBox="1"/>
            <p:nvPr userDrawn="1"/>
          </p:nvSpPr>
          <p:spPr>
            <a:xfrm>
              <a:off x="-1493489" y="1588650"/>
              <a:ext cx="1355354" cy="261610"/>
            </a:xfrm>
            <a:prstGeom prst="rect">
              <a:avLst/>
            </a:prstGeom>
            <a:noFill/>
          </p:spPr>
          <p:txBody>
            <a:bodyPr wrap="square" rtlCol="0">
              <a:spAutoFit/>
            </a:bodyPr>
            <a:lstStyle/>
            <a:p>
              <a:pPr algn="l" defTabSz="355600"/>
              <a:r>
                <a:rPr lang="nl-NL" sz="1100" b="0" cap="none" baseline="0" noProof="0">
                  <a:solidFill>
                    <a:schemeClr val="tx1"/>
                  </a:solidFill>
                </a:rPr>
                <a:t>R 0 , G 0, B 0</a:t>
              </a:r>
            </a:p>
          </p:txBody>
        </p:sp>
        <p:sp>
          <p:nvSpPr>
            <p:cNvPr id="101" name="Tekstvak 29"/>
            <p:cNvSpPr txBox="1"/>
            <p:nvPr userDrawn="1"/>
          </p:nvSpPr>
          <p:spPr>
            <a:xfrm>
              <a:off x="-1493489" y="1965597"/>
              <a:ext cx="1355354" cy="261610"/>
            </a:xfrm>
            <a:prstGeom prst="rect">
              <a:avLst/>
            </a:prstGeom>
            <a:noFill/>
          </p:spPr>
          <p:txBody>
            <a:bodyPr wrap="square" rtlCol="0">
              <a:spAutoFit/>
            </a:bodyPr>
            <a:lstStyle/>
            <a:p>
              <a:pPr algn="l" defTabSz="355600"/>
              <a:r>
                <a:rPr lang="nl-NL" sz="1100" b="0" cap="none" baseline="0" noProof="0">
                  <a:solidFill>
                    <a:schemeClr val="tx1"/>
                  </a:solidFill>
                </a:rPr>
                <a:t>R 229 , G 123, B 003</a:t>
              </a:r>
            </a:p>
          </p:txBody>
        </p:sp>
        <p:sp>
          <p:nvSpPr>
            <p:cNvPr id="102" name="Tekstvak 29"/>
            <p:cNvSpPr txBox="1"/>
            <p:nvPr userDrawn="1"/>
          </p:nvSpPr>
          <p:spPr>
            <a:xfrm>
              <a:off x="-1493489" y="2342544"/>
              <a:ext cx="1355354" cy="261610"/>
            </a:xfrm>
            <a:prstGeom prst="rect">
              <a:avLst/>
            </a:prstGeom>
            <a:noFill/>
          </p:spPr>
          <p:txBody>
            <a:bodyPr wrap="square" rtlCol="0">
              <a:spAutoFit/>
            </a:bodyPr>
            <a:lstStyle/>
            <a:p>
              <a:pPr algn="l" defTabSz="355600"/>
              <a:r>
                <a:rPr lang="nl-NL" sz="1100" b="0" cap="none" baseline="0" noProof="0">
                  <a:solidFill>
                    <a:schemeClr val="tx1"/>
                  </a:solidFill>
                </a:rPr>
                <a:t>R 065 , G 127, B 162</a:t>
              </a:r>
            </a:p>
          </p:txBody>
        </p:sp>
        <p:sp>
          <p:nvSpPr>
            <p:cNvPr id="103" name="Tekstvak 29"/>
            <p:cNvSpPr txBox="1"/>
            <p:nvPr userDrawn="1"/>
          </p:nvSpPr>
          <p:spPr>
            <a:xfrm>
              <a:off x="-1493489" y="2719491"/>
              <a:ext cx="1355354" cy="261610"/>
            </a:xfrm>
            <a:prstGeom prst="rect">
              <a:avLst/>
            </a:prstGeom>
            <a:noFill/>
          </p:spPr>
          <p:txBody>
            <a:bodyPr wrap="square" rtlCol="0">
              <a:spAutoFit/>
            </a:bodyPr>
            <a:lstStyle/>
            <a:p>
              <a:pPr algn="l" defTabSz="355600"/>
              <a:r>
                <a:rPr lang="nl-NL" sz="1100" b="0" cap="none" baseline="0" noProof="0">
                  <a:solidFill>
                    <a:schemeClr val="tx1"/>
                  </a:solidFill>
                </a:rPr>
                <a:t>R 134 , G 135, B 034</a:t>
              </a:r>
            </a:p>
          </p:txBody>
        </p:sp>
        <p:sp>
          <p:nvSpPr>
            <p:cNvPr id="104" name="Afgeronde rechthoek 103"/>
            <p:cNvSpPr/>
            <p:nvPr userDrawn="1"/>
          </p:nvSpPr>
          <p:spPr>
            <a:xfrm>
              <a:off x="-2459680" y="458742"/>
              <a:ext cx="949986"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Grey</a:t>
              </a:r>
              <a:endParaRPr lang="nl-NL" sz="1100" b="1" noProof="0"/>
            </a:p>
          </p:txBody>
        </p:sp>
        <p:sp>
          <p:nvSpPr>
            <p:cNvPr id="105" name="Tekstvak 29"/>
            <p:cNvSpPr txBox="1"/>
            <p:nvPr userDrawn="1"/>
          </p:nvSpPr>
          <p:spPr>
            <a:xfrm>
              <a:off x="-1493489" y="457809"/>
              <a:ext cx="1355354" cy="261610"/>
            </a:xfrm>
            <a:prstGeom prst="rect">
              <a:avLst/>
            </a:prstGeom>
            <a:noFill/>
          </p:spPr>
          <p:txBody>
            <a:bodyPr wrap="square" rtlCol="0">
              <a:spAutoFit/>
            </a:bodyPr>
            <a:lstStyle/>
            <a:p>
              <a:pPr algn="l" defTabSz="355600"/>
              <a:r>
                <a:rPr lang="nl-NL" sz="1100" b="0" cap="none" baseline="0" noProof="0">
                  <a:solidFill>
                    <a:schemeClr val="tx1"/>
                  </a:solidFill>
                </a:rPr>
                <a:t>R 97 , G 97, B 97</a:t>
              </a:r>
            </a:p>
          </p:txBody>
        </p:sp>
        <p:sp>
          <p:nvSpPr>
            <p:cNvPr id="106" name="Afgeronde rechthoek 27"/>
            <p:cNvSpPr/>
            <p:nvPr userDrawn="1"/>
          </p:nvSpPr>
          <p:spPr>
            <a:xfrm>
              <a:off x="-2459680" y="3094010"/>
              <a:ext cx="949986"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err="1"/>
                <a:t>Purple</a:t>
              </a:r>
              <a:endParaRPr lang="nl-NL" sz="1100" b="1" noProof="0"/>
            </a:p>
          </p:txBody>
        </p:sp>
        <p:sp>
          <p:nvSpPr>
            <p:cNvPr id="107" name="Afgeronde rechthoek 27"/>
            <p:cNvSpPr/>
            <p:nvPr userDrawn="1"/>
          </p:nvSpPr>
          <p:spPr>
            <a:xfrm>
              <a:off x="-2459680" y="3470474"/>
              <a:ext cx="949986" cy="2597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b="1" noProof="0"/>
                <a:t>Cyaan</a:t>
              </a:r>
            </a:p>
          </p:txBody>
        </p:sp>
        <p:sp>
          <p:nvSpPr>
            <p:cNvPr id="108" name="Tekstvak 29"/>
            <p:cNvSpPr txBox="1"/>
            <p:nvPr userDrawn="1"/>
          </p:nvSpPr>
          <p:spPr>
            <a:xfrm>
              <a:off x="-1493489" y="3096438"/>
              <a:ext cx="1355354" cy="261610"/>
            </a:xfrm>
            <a:prstGeom prst="rect">
              <a:avLst/>
            </a:prstGeom>
            <a:noFill/>
          </p:spPr>
          <p:txBody>
            <a:bodyPr wrap="square" rtlCol="0">
              <a:spAutoFit/>
            </a:bodyPr>
            <a:lstStyle/>
            <a:p>
              <a:pPr algn="l" defTabSz="355600"/>
              <a:r>
                <a:rPr lang="nl-NL" sz="1100" b="0" cap="none" baseline="0" noProof="0">
                  <a:solidFill>
                    <a:schemeClr val="tx1"/>
                  </a:solidFill>
                </a:rPr>
                <a:t>R 082 , G 083, B 135</a:t>
              </a:r>
            </a:p>
          </p:txBody>
        </p:sp>
        <p:sp>
          <p:nvSpPr>
            <p:cNvPr id="109" name="Tekstvak 29"/>
            <p:cNvSpPr txBox="1"/>
            <p:nvPr userDrawn="1"/>
          </p:nvSpPr>
          <p:spPr>
            <a:xfrm>
              <a:off x="-1493489" y="3473388"/>
              <a:ext cx="1355354" cy="261610"/>
            </a:xfrm>
            <a:prstGeom prst="rect">
              <a:avLst/>
            </a:prstGeom>
            <a:noFill/>
          </p:spPr>
          <p:txBody>
            <a:bodyPr wrap="square" rtlCol="0">
              <a:spAutoFit/>
            </a:bodyPr>
            <a:lstStyle/>
            <a:p>
              <a:pPr algn="l" defTabSz="355600"/>
              <a:r>
                <a:rPr lang="nl-NL" sz="1100" b="0" cap="none" baseline="0" noProof="0">
                  <a:solidFill>
                    <a:schemeClr val="tx1"/>
                  </a:solidFill>
                </a:rPr>
                <a:t>R 70 , G 181, B 212</a:t>
              </a:r>
            </a:p>
          </p:txBody>
        </p:sp>
      </p:grpSp>
    </p:spTree>
    <p:extLst>
      <p:ext uri="{BB962C8B-B14F-4D97-AF65-F5344CB8AC3E}">
        <p14:creationId xmlns:p14="http://schemas.microsoft.com/office/powerpoint/2010/main" val="152875145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KST / 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451371FC-809B-4A6E-82C6-DC1BFA3034F7}"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GRAFIEK</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7"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99" name="Instructie">
            <a:extLst>
              <a:ext uri="{FF2B5EF4-FFF2-40B4-BE49-F238E27FC236}">
                <a16:creationId xmlns:a16="http://schemas.microsoft.com/office/drawing/2014/main" id="{73DF0AAA-2D08-4FFB-8F59-5AC0380A2539}"/>
              </a:ext>
            </a:extLst>
          </p:cNvPr>
          <p:cNvGrpSpPr/>
          <p:nvPr userDrawn="1"/>
        </p:nvGrpSpPr>
        <p:grpSpPr>
          <a:xfrm>
            <a:off x="12389714" y="5221435"/>
            <a:ext cx="3183677" cy="1636565"/>
            <a:chOff x="12389714" y="4327164"/>
            <a:chExt cx="3183677" cy="1636565"/>
          </a:xfrm>
        </p:grpSpPr>
        <p:cxnSp>
          <p:nvCxnSpPr>
            <p:cNvPr id="101" name="Rechte verbindingslijn 100">
              <a:extLst>
                <a:ext uri="{FF2B5EF4-FFF2-40B4-BE49-F238E27FC236}">
                  <a16:creationId xmlns:a16="http://schemas.microsoft.com/office/drawing/2014/main" id="{6BEB8563-6DFC-49A1-A0EC-60E06EEAA630}"/>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102" name="Rechthoek 101">
              <a:extLst>
                <a:ext uri="{FF2B5EF4-FFF2-40B4-BE49-F238E27FC236}">
                  <a16:creationId xmlns:a16="http://schemas.microsoft.com/office/drawing/2014/main" id="{25862629-8712-49B9-B934-80319E3F3E2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103" name="Ovaal 102">
              <a:extLst>
                <a:ext uri="{FF2B5EF4-FFF2-40B4-BE49-F238E27FC236}">
                  <a16:creationId xmlns:a16="http://schemas.microsoft.com/office/drawing/2014/main" id="{AE50A387-EF89-4639-A5D5-51B2046494EF}"/>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4" name="Rechte verbindingslijn 103">
              <a:extLst>
                <a:ext uri="{FF2B5EF4-FFF2-40B4-BE49-F238E27FC236}">
                  <a16:creationId xmlns:a16="http://schemas.microsoft.com/office/drawing/2014/main" id="{3485DBD1-B8BC-4E1F-AC58-C1EA763F8C4E}"/>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105" name="Rechthoek 104">
              <a:extLst>
                <a:ext uri="{FF2B5EF4-FFF2-40B4-BE49-F238E27FC236}">
                  <a16:creationId xmlns:a16="http://schemas.microsoft.com/office/drawing/2014/main" id="{6796C7CB-DCE4-4B74-971D-8C6D54AFFEC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106" name="Groep 105">
              <a:extLst>
                <a:ext uri="{FF2B5EF4-FFF2-40B4-BE49-F238E27FC236}">
                  <a16:creationId xmlns:a16="http://schemas.microsoft.com/office/drawing/2014/main" id="{9716417D-3023-4155-9D06-0B4920509541}"/>
                </a:ext>
              </a:extLst>
            </p:cNvPr>
            <p:cNvGrpSpPr/>
            <p:nvPr userDrawn="1"/>
          </p:nvGrpSpPr>
          <p:grpSpPr>
            <a:xfrm>
              <a:off x="12755394" y="5222855"/>
              <a:ext cx="1714530" cy="639425"/>
              <a:chOff x="12757283" y="4365594"/>
              <a:chExt cx="1714530" cy="639425"/>
            </a:xfrm>
          </p:grpSpPr>
          <p:sp>
            <p:nvSpPr>
              <p:cNvPr id="107" name="Rechthoek 106">
                <a:extLst>
                  <a:ext uri="{FF2B5EF4-FFF2-40B4-BE49-F238E27FC236}">
                    <a16:creationId xmlns:a16="http://schemas.microsoft.com/office/drawing/2014/main" id="{728C42C2-1608-48F7-A640-CEF8E15ACCED}"/>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8" name="Rechthoek 107">
                <a:extLst>
                  <a:ext uri="{FF2B5EF4-FFF2-40B4-BE49-F238E27FC236}">
                    <a16:creationId xmlns:a16="http://schemas.microsoft.com/office/drawing/2014/main" id="{C577C2D9-F34C-41C5-A88B-56A65CC38187}"/>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9" name="Tekstvak 108">
                <a:extLst>
                  <a:ext uri="{FF2B5EF4-FFF2-40B4-BE49-F238E27FC236}">
                    <a16:creationId xmlns:a16="http://schemas.microsoft.com/office/drawing/2014/main" id="{E1EEB95A-A0C6-4FFD-BA71-BB3ED11CCB08}"/>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110" name="Tekstvak 109">
                <a:extLst>
                  <a:ext uri="{FF2B5EF4-FFF2-40B4-BE49-F238E27FC236}">
                    <a16:creationId xmlns:a16="http://schemas.microsoft.com/office/drawing/2014/main" id="{4DDD0F85-BA7A-4BEE-A3B3-970743F41683}"/>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111" name="Picture 3">
                <a:extLst>
                  <a:ext uri="{FF2B5EF4-FFF2-40B4-BE49-F238E27FC236}">
                    <a16:creationId xmlns:a16="http://schemas.microsoft.com/office/drawing/2014/main" id="{0D7FE121-0BDF-43BA-BBBB-F86E7F31A7A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2" name="Groep 111">
                <a:extLst>
                  <a:ext uri="{FF2B5EF4-FFF2-40B4-BE49-F238E27FC236}">
                    <a16:creationId xmlns:a16="http://schemas.microsoft.com/office/drawing/2014/main" id="{212B7847-F5F6-4D59-AE9D-9EAABAE8D77C}"/>
                  </a:ext>
                </a:extLst>
              </p:cNvPr>
              <p:cNvGrpSpPr/>
              <p:nvPr userDrawn="1"/>
            </p:nvGrpSpPr>
            <p:grpSpPr>
              <a:xfrm>
                <a:off x="12831198" y="4432250"/>
                <a:ext cx="139861" cy="152244"/>
                <a:chOff x="12574450" y="6053892"/>
                <a:chExt cx="169232" cy="184215"/>
              </a:xfrm>
            </p:grpSpPr>
            <p:sp>
              <p:nvSpPr>
                <p:cNvPr id="135" name="Rechthoek 134">
                  <a:extLst>
                    <a:ext uri="{FF2B5EF4-FFF2-40B4-BE49-F238E27FC236}">
                      <a16:creationId xmlns:a16="http://schemas.microsoft.com/office/drawing/2014/main" id="{268D2472-27C1-49B2-8251-A0C6D175C1F1}"/>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36" name="Rechthoek 135">
                  <a:extLst>
                    <a:ext uri="{FF2B5EF4-FFF2-40B4-BE49-F238E27FC236}">
                      <a16:creationId xmlns:a16="http://schemas.microsoft.com/office/drawing/2014/main" id="{887E6C83-00B9-4617-8913-29138F5061B7}"/>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37" name="Rechthoek 136">
                  <a:extLst>
                    <a:ext uri="{FF2B5EF4-FFF2-40B4-BE49-F238E27FC236}">
                      <a16:creationId xmlns:a16="http://schemas.microsoft.com/office/drawing/2014/main" id="{3E774B55-7142-42FF-A6E7-5D943F99E96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113" name="Groep 112">
                <a:extLst>
                  <a:ext uri="{FF2B5EF4-FFF2-40B4-BE49-F238E27FC236}">
                    <a16:creationId xmlns:a16="http://schemas.microsoft.com/office/drawing/2014/main" id="{5C9C1B5B-1E61-4BF2-8C72-C16A8E010740}"/>
                  </a:ext>
                </a:extLst>
              </p:cNvPr>
              <p:cNvGrpSpPr/>
              <p:nvPr userDrawn="1"/>
            </p:nvGrpSpPr>
            <p:grpSpPr>
              <a:xfrm>
                <a:off x="12831198" y="4748585"/>
                <a:ext cx="184916" cy="120210"/>
                <a:chOff x="8815516" y="1076284"/>
                <a:chExt cx="503174" cy="327105"/>
              </a:xfrm>
            </p:grpSpPr>
            <p:sp>
              <p:nvSpPr>
                <p:cNvPr id="114" name="Rechthoek 113">
                  <a:extLst>
                    <a:ext uri="{FF2B5EF4-FFF2-40B4-BE49-F238E27FC236}">
                      <a16:creationId xmlns:a16="http://schemas.microsoft.com/office/drawing/2014/main" id="{C9B84E01-38BB-46C1-B625-11E7EEC852CA}"/>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15" name="Groep 114">
                  <a:extLst>
                    <a:ext uri="{FF2B5EF4-FFF2-40B4-BE49-F238E27FC236}">
                      <a16:creationId xmlns:a16="http://schemas.microsoft.com/office/drawing/2014/main" id="{8590933D-EB33-4894-AB7D-9C7CB738AB9B}"/>
                    </a:ext>
                  </a:extLst>
                </p:cNvPr>
                <p:cNvGrpSpPr/>
                <p:nvPr userDrawn="1"/>
              </p:nvGrpSpPr>
              <p:grpSpPr>
                <a:xfrm>
                  <a:off x="8815517" y="1076284"/>
                  <a:ext cx="503173" cy="327105"/>
                  <a:chOff x="1351248" y="-683635"/>
                  <a:chExt cx="503173" cy="327105"/>
                </a:xfrm>
              </p:grpSpPr>
              <p:grpSp>
                <p:nvGrpSpPr>
                  <p:cNvPr id="116" name="Groep 115">
                    <a:extLst>
                      <a:ext uri="{FF2B5EF4-FFF2-40B4-BE49-F238E27FC236}">
                        <a16:creationId xmlns:a16="http://schemas.microsoft.com/office/drawing/2014/main" id="{80670382-A1AA-4B46-9350-D25A4ACDB479}"/>
                      </a:ext>
                    </a:extLst>
                  </p:cNvPr>
                  <p:cNvGrpSpPr/>
                  <p:nvPr userDrawn="1"/>
                </p:nvGrpSpPr>
                <p:grpSpPr>
                  <a:xfrm>
                    <a:off x="1351248" y="-683635"/>
                    <a:ext cx="375186" cy="293652"/>
                    <a:chOff x="1094874" y="-884923"/>
                    <a:chExt cx="884668" cy="692417"/>
                  </a:xfrm>
                </p:grpSpPr>
                <p:sp>
                  <p:nvSpPr>
                    <p:cNvPr id="121" name="Rechthoek 120">
                      <a:extLst>
                        <a:ext uri="{FF2B5EF4-FFF2-40B4-BE49-F238E27FC236}">
                          <a16:creationId xmlns:a16="http://schemas.microsoft.com/office/drawing/2014/main" id="{3025728E-2CEA-4382-8347-5A36E93DD146}"/>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22" name="Groep 121">
                      <a:extLst>
                        <a:ext uri="{FF2B5EF4-FFF2-40B4-BE49-F238E27FC236}">
                          <a16:creationId xmlns:a16="http://schemas.microsoft.com/office/drawing/2014/main" id="{646E0C40-3752-43B1-8E26-D36BBF4E56CA}"/>
                        </a:ext>
                      </a:extLst>
                    </p:cNvPr>
                    <p:cNvGrpSpPr/>
                    <p:nvPr userDrawn="1"/>
                  </p:nvGrpSpPr>
                  <p:grpSpPr>
                    <a:xfrm>
                      <a:off x="1094874" y="-878306"/>
                      <a:ext cx="867364" cy="685800"/>
                      <a:chOff x="1094874" y="-878306"/>
                      <a:chExt cx="867364" cy="613611"/>
                    </a:xfrm>
                  </p:grpSpPr>
                  <p:cxnSp>
                    <p:nvCxnSpPr>
                      <p:cNvPr id="128" name="Rechte verbindingslijn 127">
                        <a:extLst>
                          <a:ext uri="{FF2B5EF4-FFF2-40B4-BE49-F238E27FC236}">
                            <a16:creationId xmlns:a16="http://schemas.microsoft.com/office/drawing/2014/main" id="{F37616B4-7414-41E8-92FB-7BC57E05DB80}"/>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128">
                        <a:extLst>
                          <a:ext uri="{FF2B5EF4-FFF2-40B4-BE49-F238E27FC236}">
                            <a16:creationId xmlns:a16="http://schemas.microsoft.com/office/drawing/2014/main" id="{FDBB523A-157C-4881-AF8B-5746D6372C1D}"/>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0" name="Groep 129">
                        <a:extLst>
                          <a:ext uri="{FF2B5EF4-FFF2-40B4-BE49-F238E27FC236}">
                            <a16:creationId xmlns:a16="http://schemas.microsoft.com/office/drawing/2014/main" id="{34B6646E-FB21-417D-BE8C-C36E995E6FC5}"/>
                          </a:ext>
                        </a:extLst>
                      </p:cNvPr>
                      <p:cNvGrpSpPr/>
                      <p:nvPr userDrawn="1"/>
                    </p:nvGrpSpPr>
                    <p:grpSpPr>
                      <a:xfrm>
                        <a:off x="1270535" y="-878306"/>
                        <a:ext cx="526983" cy="613611"/>
                        <a:chOff x="1270535" y="-745959"/>
                        <a:chExt cx="526983" cy="481264"/>
                      </a:xfrm>
                    </p:grpSpPr>
                    <p:cxnSp>
                      <p:nvCxnSpPr>
                        <p:cNvPr id="131" name="Rechte verbindingslijn 130">
                          <a:extLst>
                            <a:ext uri="{FF2B5EF4-FFF2-40B4-BE49-F238E27FC236}">
                              <a16:creationId xmlns:a16="http://schemas.microsoft.com/office/drawing/2014/main" id="{983AF75F-1929-4F5A-99E0-BFABF6FBA658}"/>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2" name="Rechte verbindingslijn 131">
                          <a:extLst>
                            <a:ext uri="{FF2B5EF4-FFF2-40B4-BE49-F238E27FC236}">
                              <a16:creationId xmlns:a16="http://schemas.microsoft.com/office/drawing/2014/main" id="{57D0A238-F249-4020-9BCF-BC8BFB035317}"/>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CD15E116-4AE7-4D12-8892-CE468919BF33}"/>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F01A9A8C-ADF4-4435-A6E6-34455903D86A}"/>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3" name="Rechte verbindingslijn 122">
                      <a:extLst>
                        <a:ext uri="{FF2B5EF4-FFF2-40B4-BE49-F238E27FC236}">
                          <a16:creationId xmlns:a16="http://schemas.microsoft.com/office/drawing/2014/main" id="{FE0560BC-EA9F-418D-9ECF-BDF360242B6B}"/>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4" name="Groep 123">
                      <a:extLst>
                        <a:ext uri="{FF2B5EF4-FFF2-40B4-BE49-F238E27FC236}">
                          <a16:creationId xmlns:a16="http://schemas.microsoft.com/office/drawing/2014/main" id="{9653F7C3-0A4F-4767-9091-88D852C23603}"/>
                        </a:ext>
                      </a:extLst>
                    </p:cNvPr>
                    <p:cNvGrpSpPr/>
                    <p:nvPr userDrawn="1"/>
                  </p:nvGrpSpPr>
                  <p:grpSpPr>
                    <a:xfrm>
                      <a:off x="1094874" y="-607596"/>
                      <a:ext cx="878306" cy="276726"/>
                      <a:chOff x="1106905" y="-607596"/>
                      <a:chExt cx="878307" cy="276726"/>
                    </a:xfrm>
                  </p:grpSpPr>
                  <p:cxnSp>
                    <p:nvCxnSpPr>
                      <p:cNvPr id="125" name="Rechte verbindingslijn 124">
                        <a:extLst>
                          <a:ext uri="{FF2B5EF4-FFF2-40B4-BE49-F238E27FC236}">
                            <a16:creationId xmlns:a16="http://schemas.microsoft.com/office/drawing/2014/main" id="{CE6ABAF4-E3DD-454A-8DF7-81EBEC1F875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25B0FEB7-E215-42F7-9BD2-1E7870E3E5A1}"/>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7" name="Rechte verbindingslijn 126">
                        <a:extLst>
                          <a:ext uri="{FF2B5EF4-FFF2-40B4-BE49-F238E27FC236}">
                            <a16:creationId xmlns:a16="http://schemas.microsoft.com/office/drawing/2014/main" id="{78151A24-E5EF-490E-B4A9-66802AB200C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7" name="Groep 116">
                    <a:extLst>
                      <a:ext uri="{FF2B5EF4-FFF2-40B4-BE49-F238E27FC236}">
                        <a16:creationId xmlns:a16="http://schemas.microsoft.com/office/drawing/2014/main" id="{EF76349C-3F05-4659-AF54-8C8D216D1386}"/>
                      </a:ext>
                    </a:extLst>
                  </p:cNvPr>
                  <p:cNvGrpSpPr/>
                  <p:nvPr userDrawn="1"/>
                </p:nvGrpSpPr>
                <p:grpSpPr>
                  <a:xfrm rot="2700000">
                    <a:off x="1605871" y="-605080"/>
                    <a:ext cx="90079" cy="407021"/>
                    <a:chOff x="3130062" y="-817193"/>
                    <a:chExt cx="131884" cy="595920"/>
                  </a:xfrm>
                  <a:solidFill>
                    <a:srgbClr val="3399FF"/>
                  </a:solidFill>
                </p:grpSpPr>
                <p:sp>
                  <p:nvSpPr>
                    <p:cNvPr id="118" name="Rechthoek 117">
                      <a:extLst>
                        <a:ext uri="{FF2B5EF4-FFF2-40B4-BE49-F238E27FC236}">
                          <a16:creationId xmlns:a16="http://schemas.microsoft.com/office/drawing/2014/main" id="{995964A0-4C57-4D3B-9A70-E48D54293A7B}"/>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9" name="Rechthoek: afgeronde bovenhoeken 118">
                      <a:extLst>
                        <a:ext uri="{FF2B5EF4-FFF2-40B4-BE49-F238E27FC236}">
                          <a16:creationId xmlns:a16="http://schemas.microsoft.com/office/drawing/2014/main" id="{A77CDF6C-827E-4E68-AA74-26174235466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0" name="Gelijkbenige driehoek 119">
                      <a:extLst>
                        <a:ext uri="{FF2B5EF4-FFF2-40B4-BE49-F238E27FC236}">
                          <a16:creationId xmlns:a16="http://schemas.microsoft.com/office/drawing/2014/main" id="{68CD787E-A881-4439-A049-78274DAC56E5}"/>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141" name="Instructie">
            <a:extLst>
              <a:ext uri="{FF2B5EF4-FFF2-40B4-BE49-F238E27FC236}">
                <a16:creationId xmlns:a16="http://schemas.microsoft.com/office/drawing/2014/main" id="{8956ACCE-1B94-4C4E-9621-35D9581BCE44}"/>
              </a:ext>
            </a:extLst>
          </p:cNvPr>
          <p:cNvGrpSpPr/>
          <p:nvPr userDrawn="1"/>
        </p:nvGrpSpPr>
        <p:grpSpPr>
          <a:xfrm>
            <a:off x="12391601" y="0"/>
            <a:ext cx="3183677" cy="2499789"/>
            <a:chOff x="12391601" y="0"/>
            <a:chExt cx="3183677" cy="2499789"/>
          </a:xfrm>
        </p:grpSpPr>
        <p:sp>
          <p:nvSpPr>
            <p:cNvPr id="142" name="Rechthoek 141">
              <a:extLst>
                <a:ext uri="{FF2B5EF4-FFF2-40B4-BE49-F238E27FC236}">
                  <a16:creationId xmlns:a16="http://schemas.microsoft.com/office/drawing/2014/main" id="{605E8FAB-9C56-4547-B1FD-19063089BC0E}"/>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43" name="Ovaal 142">
              <a:extLst>
                <a:ext uri="{FF2B5EF4-FFF2-40B4-BE49-F238E27FC236}">
                  <a16:creationId xmlns:a16="http://schemas.microsoft.com/office/drawing/2014/main" id="{D89E2BA8-0724-4099-A077-278A116A1009}"/>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4" name="Rechte verbindingslijn 143">
              <a:extLst>
                <a:ext uri="{FF2B5EF4-FFF2-40B4-BE49-F238E27FC236}">
                  <a16:creationId xmlns:a16="http://schemas.microsoft.com/office/drawing/2014/main" id="{98FD3CFA-A053-4F41-BB82-F685B92C6EF4}"/>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45" name="Rechte verbindingslijn 144">
              <a:extLst>
                <a:ext uri="{FF2B5EF4-FFF2-40B4-BE49-F238E27FC236}">
                  <a16:creationId xmlns:a16="http://schemas.microsoft.com/office/drawing/2014/main" id="{ED668D21-7594-4AFD-8412-D7A5872CC3C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46" name="Rechthoek 145">
              <a:extLst>
                <a:ext uri="{FF2B5EF4-FFF2-40B4-BE49-F238E27FC236}">
                  <a16:creationId xmlns:a16="http://schemas.microsoft.com/office/drawing/2014/main" id="{EBFEC36A-063B-4FC3-8220-2A2BFE33D86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47" name="Ovaal 146">
              <a:extLst>
                <a:ext uri="{FF2B5EF4-FFF2-40B4-BE49-F238E27FC236}">
                  <a16:creationId xmlns:a16="http://schemas.microsoft.com/office/drawing/2014/main" id="{59752D84-20A7-4452-A01B-B98AE1AC6A1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8" name="Rechthoek 147">
              <a:extLst>
                <a:ext uri="{FF2B5EF4-FFF2-40B4-BE49-F238E27FC236}">
                  <a16:creationId xmlns:a16="http://schemas.microsoft.com/office/drawing/2014/main" id="{1377E063-3182-4D26-AEF2-D5B7EF22F1B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9" name="Groep 148">
              <a:extLst>
                <a:ext uri="{FF2B5EF4-FFF2-40B4-BE49-F238E27FC236}">
                  <a16:creationId xmlns:a16="http://schemas.microsoft.com/office/drawing/2014/main" id="{BB89C1D8-CC05-4815-8409-B4B05BD21D3A}"/>
                </a:ext>
              </a:extLst>
            </p:cNvPr>
            <p:cNvGrpSpPr/>
            <p:nvPr userDrawn="1"/>
          </p:nvGrpSpPr>
          <p:grpSpPr>
            <a:xfrm>
              <a:off x="12757282" y="2184550"/>
              <a:ext cx="825500" cy="209550"/>
              <a:chOff x="13504624" y="2482850"/>
              <a:chExt cx="825500" cy="209550"/>
            </a:xfrm>
          </p:grpSpPr>
          <p:sp>
            <p:nvSpPr>
              <p:cNvPr id="155" name="Rechthoek 154">
                <a:extLst>
                  <a:ext uri="{FF2B5EF4-FFF2-40B4-BE49-F238E27FC236}">
                    <a16:creationId xmlns:a16="http://schemas.microsoft.com/office/drawing/2014/main" id="{E1BB336F-C4AC-41FB-8183-A4F1E150DF5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56" name="Rechte verbindingslijn 155">
                <a:extLst>
                  <a:ext uri="{FF2B5EF4-FFF2-40B4-BE49-F238E27FC236}">
                    <a16:creationId xmlns:a16="http://schemas.microsoft.com/office/drawing/2014/main" id="{9454AA9D-7433-4729-BE41-2E93DB73FFB7}"/>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7" name="Gelijkbenige driehoek 156">
                <a:extLst>
                  <a:ext uri="{FF2B5EF4-FFF2-40B4-BE49-F238E27FC236}">
                    <a16:creationId xmlns:a16="http://schemas.microsoft.com/office/drawing/2014/main" id="{BDF07484-B1ED-4966-955C-14977E47069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50" name="Rechte verbindingslijn 149">
              <a:extLst>
                <a:ext uri="{FF2B5EF4-FFF2-40B4-BE49-F238E27FC236}">
                  <a16:creationId xmlns:a16="http://schemas.microsoft.com/office/drawing/2014/main" id="{97FA8868-A24F-4AAD-B0DC-C48FE650EFDB}"/>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51" name="Groep 150">
              <a:extLst>
                <a:ext uri="{FF2B5EF4-FFF2-40B4-BE49-F238E27FC236}">
                  <a16:creationId xmlns:a16="http://schemas.microsoft.com/office/drawing/2014/main" id="{19DBE4BD-6A6B-473A-AF79-CBF857EE43C0}"/>
                </a:ext>
              </a:extLst>
            </p:cNvPr>
            <p:cNvGrpSpPr/>
            <p:nvPr userDrawn="1"/>
          </p:nvGrpSpPr>
          <p:grpSpPr>
            <a:xfrm>
              <a:off x="12751697" y="1147804"/>
              <a:ext cx="289372" cy="314992"/>
              <a:chOff x="7322769" y="-310267"/>
              <a:chExt cx="289372" cy="314992"/>
            </a:xfrm>
          </p:grpSpPr>
          <p:sp>
            <p:nvSpPr>
              <p:cNvPr id="152" name="Rechthoek 151">
                <a:extLst>
                  <a:ext uri="{FF2B5EF4-FFF2-40B4-BE49-F238E27FC236}">
                    <a16:creationId xmlns:a16="http://schemas.microsoft.com/office/drawing/2014/main" id="{21422EE9-9966-4204-9FBC-787109172B3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53" name="Rechthoek 152">
                <a:extLst>
                  <a:ext uri="{FF2B5EF4-FFF2-40B4-BE49-F238E27FC236}">
                    <a16:creationId xmlns:a16="http://schemas.microsoft.com/office/drawing/2014/main" id="{7E93F936-57D3-480F-9F5B-1D1FD404E4F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54" name="Rechthoek 153">
                <a:extLst>
                  <a:ext uri="{FF2B5EF4-FFF2-40B4-BE49-F238E27FC236}">
                    <a16:creationId xmlns:a16="http://schemas.microsoft.com/office/drawing/2014/main" id="{20B4A955-E3DA-446D-9B63-E2A32B79D71D}"/>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nvGrpSpPr>
          <p:cNvPr id="316" name="Instructie">
            <a:extLst>
              <a:ext uri="{FF2B5EF4-FFF2-40B4-BE49-F238E27FC236}">
                <a16:creationId xmlns:a16="http://schemas.microsoft.com/office/drawing/2014/main" id="{3010A3CC-B7B6-4B80-B2BD-DB010FDBA6EF}"/>
              </a:ext>
            </a:extLst>
          </p:cNvPr>
          <p:cNvGrpSpPr/>
          <p:nvPr userDrawn="1"/>
        </p:nvGrpSpPr>
        <p:grpSpPr>
          <a:xfrm>
            <a:off x="-3437547" y="1434"/>
            <a:ext cx="3201327" cy="6041867"/>
            <a:chOff x="-3437547" y="1434"/>
            <a:chExt cx="3201327" cy="6041867"/>
          </a:xfrm>
        </p:grpSpPr>
        <p:cxnSp>
          <p:nvCxnSpPr>
            <p:cNvPr id="317" name="Rechte verbindingslijn 316">
              <a:extLst>
                <a:ext uri="{FF2B5EF4-FFF2-40B4-BE49-F238E27FC236}">
                  <a16:creationId xmlns:a16="http://schemas.microsoft.com/office/drawing/2014/main" id="{75FF2CD6-4E38-473C-B674-8C9DA96730ED}"/>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18" name="Ovaal 317">
              <a:extLst>
                <a:ext uri="{FF2B5EF4-FFF2-40B4-BE49-F238E27FC236}">
                  <a16:creationId xmlns:a16="http://schemas.microsoft.com/office/drawing/2014/main" id="{2E05482E-440A-4EDE-A2FB-365DCC9C9E96}"/>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19" name="Rechthoek 318">
              <a:extLst>
                <a:ext uri="{FF2B5EF4-FFF2-40B4-BE49-F238E27FC236}">
                  <a16:creationId xmlns:a16="http://schemas.microsoft.com/office/drawing/2014/main" id="{43A816CC-54C9-4B8A-9ACB-494519E890EF}"/>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0" name="Ovaal 319">
              <a:extLst>
                <a:ext uri="{FF2B5EF4-FFF2-40B4-BE49-F238E27FC236}">
                  <a16:creationId xmlns:a16="http://schemas.microsoft.com/office/drawing/2014/main" id="{A1FF1582-7030-4A7E-B9EE-E881FCE00ABC}"/>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21" name="Rechthoek 320">
              <a:extLst>
                <a:ext uri="{FF2B5EF4-FFF2-40B4-BE49-F238E27FC236}">
                  <a16:creationId xmlns:a16="http://schemas.microsoft.com/office/drawing/2014/main" id="{26126E7F-D7C0-401E-AD94-5393C3BD40A6}"/>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22" name="Ovaal 321">
              <a:extLst>
                <a:ext uri="{FF2B5EF4-FFF2-40B4-BE49-F238E27FC236}">
                  <a16:creationId xmlns:a16="http://schemas.microsoft.com/office/drawing/2014/main" id="{0E9C8282-E155-49B1-9A92-EAE8D704AD6B}"/>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23" name="Rechthoek 322">
              <a:extLst>
                <a:ext uri="{FF2B5EF4-FFF2-40B4-BE49-F238E27FC236}">
                  <a16:creationId xmlns:a16="http://schemas.microsoft.com/office/drawing/2014/main" id="{FF73E9DB-39CE-43EC-B840-81DEAFC7207E}"/>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24" name="Ovaal 323">
              <a:extLst>
                <a:ext uri="{FF2B5EF4-FFF2-40B4-BE49-F238E27FC236}">
                  <a16:creationId xmlns:a16="http://schemas.microsoft.com/office/drawing/2014/main" id="{F1B03572-9FDA-469B-B101-B2730256DAB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25" name="Rechthoek 324">
              <a:extLst>
                <a:ext uri="{FF2B5EF4-FFF2-40B4-BE49-F238E27FC236}">
                  <a16:creationId xmlns:a16="http://schemas.microsoft.com/office/drawing/2014/main" id="{3C0D8723-EF3E-4FD1-B9F7-78AA464812AA}"/>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26" name="Rechthoek 325">
              <a:extLst>
                <a:ext uri="{FF2B5EF4-FFF2-40B4-BE49-F238E27FC236}">
                  <a16:creationId xmlns:a16="http://schemas.microsoft.com/office/drawing/2014/main" id="{A06D57EA-06C7-40D2-AD2E-7F9403839B40}"/>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27" name="Ovaal 326">
              <a:extLst>
                <a:ext uri="{FF2B5EF4-FFF2-40B4-BE49-F238E27FC236}">
                  <a16:creationId xmlns:a16="http://schemas.microsoft.com/office/drawing/2014/main" id="{F20C5B54-FD87-4B64-8543-8557E68EBE14}"/>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28" name="Rechte verbindingslijn 327">
              <a:extLst>
                <a:ext uri="{FF2B5EF4-FFF2-40B4-BE49-F238E27FC236}">
                  <a16:creationId xmlns:a16="http://schemas.microsoft.com/office/drawing/2014/main" id="{9BD0A976-FFCA-4C0F-A8D6-48F187123D9D}"/>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29" name="Groep 328">
              <a:extLst>
                <a:ext uri="{FF2B5EF4-FFF2-40B4-BE49-F238E27FC236}">
                  <a16:creationId xmlns:a16="http://schemas.microsoft.com/office/drawing/2014/main" id="{A22DA597-09F1-406C-86A5-1DE1958D3437}"/>
                </a:ext>
              </a:extLst>
            </p:cNvPr>
            <p:cNvGrpSpPr/>
            <p:nvPr userDrawn="1"/>
          </p:nvGrpSpPr>
          <p:grpSpPr>
            <a:xfrm>
              <a:off x="-3437547" y="1295337"/>
              <a:ext cx="2933825" cy="558875"/>
              <a:chOff x="-3419346" y="368233"/>
              <a:chExt cx="3904920" cy="743862"/>
            </a:xfrm>
          </p:grpSpPr>
          <p:sp>
            <p:nvSpPr>
              <p:cNvPr id="346" name="Rechthoek 345">
                <a:extLst>
                  <a:ext uri="{FF2B5EF4-FFF2-40B4-BE49-F238E27FC236}">
                    <a16:creationId xmlns:a16="http://schemas.microsoft.com/office/drawing/2014/main" id="{F33556BD-A572-4EAA-905B-D27297A5DC2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47" name="Rechte verbindingslijn 346">
                <a:extLst>
                  <a:ext uri="{FF2B5EF4-FFF2-40B4-BE49-F238E27FC236}">
                    <a16:creationId xmlns:a16="http://schemas.microsoft.com/office/drawing/2014/main" id="{D83BA96D-D231-4E16-9868-21314108FAC3}"/>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8" name="Rechte verbindingslijn 347">
                <a:extLst>
                  <a:ext uri="{FF2B5EF4-FFF2-40B4-BE49-F238E27FC236}">
                    <a16:creationId xmlns:a16="http://schemas.microsoft.com/office/drawing/2014/main" id="{17C621A5-4CB1-4CD6-8AA6-8FA9E60213B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9" name="Rechthoek 348">
                <a:extLst>
                  <a:ext uri="{FF2B5EF4-FFF2-40B4-BE49-F238E27FC236}">
                    <a16:creationId xmlns:a16="http://schemas.microsoft.com/office/drawing/2014/main" id="{A5BD966A-5E2D-4267-A0B5-BF990A6633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50" name="Groep 349">
                <a:extLst>
                  <a:ext uri="{FF2B5EF4-FFF2-40B4-BE49-F238E27FC236}">
                    <a16:creationId xmlns:a16="http://schemas.microsoft.com/office/drawing/2014/main" id="{7C1BFD87-4A85-4E6C-AA2A-11985BABFAF9}"/>
                  </a:ext>
                </a:extLst>
              </p:cNvPr>
              <p:cNvGrpSpPr/>
              <p:nvPr userDrawn="1"/>
            </p:nvGrpSpPr>
            <p:grpSpPr>
              <a:xfrm>
                <a:off x="-3002834" y="720303"/>
                <a:ext cx="182598" cy="143759"/>
                <a:chOff x="-3310843" y="700986"/>
                <a:chExt cx="182598" cy="143759"/>
              </a:xfrm>
            </p:grpSpPr>
            <p:grpSp>
              <p:nvGrpSpPr>
                <p:cNvPr id="389" name="Groep 388">
                  <a:extLst>
                    <a:ext uri="{FF2B5EF4-FFF2-40B4-BE49-F238E27FC236}">
                      <a16:creationId xmlns:a16="http://schemas.microsoft.com/office/drawing/2014/main" id="{072CA49D-334A-4ABD-A1AC-E17807EADAC9}"/>
                    </a:ext>
                  </a:extLst>
                </p:cNvPr>
                <p:cNvGrpSpPr/>
                <p:nvPr userDrawn="1"/>
              </p:nvGrpSpPr>
              <p:grpSpPr>
                <a:xfrm>
                  <a:off x="-3310843" y="700986"/>
                  <a:ext cx="182598" cy="143759"/>
                  <a:chOff x="-3310843" y="700986"/>
                  <a:chExt cx="182598" cy="143759"/>
                </a:xfrm>
              </p:grpSpPr>
              <p:cxnSp>
                <p:nvCxnSpPr>
                  <p:cNvPr id="393" name="Rechte verbindingslijn 392">
                    <a:extLst>
                      <a:ext uri="{FF2B5EF4-FFF2-40B4-BE49-F238E27FC236}">
                        <a16:creationId xmlns:a16="http://schemas.microsoft.com/office/drawing/2014/main" id="{F6A590D6-A2D8-498D-A62D-87AAB084856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716B24B5-98C4-4DE2-B5BC-8171A8FAA496}"/>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95" name="Rechte verbindingslijn 394">
                    <a:extLst>
                      <a:ext uri="{FF2B5EF4-FFF2-40B4-BE49-F238E27FC236}">
                        <a16:creationId xmlns:a16="http://schemas.microsoft.com/office/drawing/2014/main" id="{B54E32F3-9CD7-4139-8F00-969822DCD3B0}"/>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96" name="Rechte verbindingslijn 395">
                    <a:extLst>
                      <a:ext uri="{FF2B5EF4-FFF2-40B4-BE49-F238E27FC236}">
                        <a16:creationId xmlns:a16="http://schemas.microsoft.com/office/drawing/2014/main" id="{A55D25B1-8869-43E1-97BF-3D37CF474E0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97" name="Rechte verbindingslijn 396">
                    <a:extLst>
                      <a:ext uri="{FF2B5EF4-FFF2-40B4-BE49-F238E27FC236}">
                        <a16:creationId xmlns:a16="http://schemas.microsoft.com/office/drawing/2014/main" id="{D9907389-BE10-41D6-96B1-66869569E0C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90" name="Groep 389">
                  <a:extLst>
                    <a:ext uri="{FF2B5EF4-FFF2-40B4-BE49-F238E27FC236}">
                      <a16:creationId xmlns:a16="http://schemas.microsoft.com/office/drawing/2014/main" id="{A32F2143-4216-4B7F-B346-9C79C94C0A2B}"/>
                    </a:ext>
                  </a:extLst>
                </p:cNvPr>
                <p:cNvGrpSpPr/>
                <p:nvPr userDrawn="1"/>
              </p:nvGrpSpPr>
              <p:grpSpPr>
                <a:xfrm flipH="1">
                  <a:off x="-3310774" y="735854"/>
                  <a:ext cx="88801" cy="72568"/>
                  <a:chOff x="-2091059" y="1395403"/>
                  <a:chExt cx="157316" cy="128558"/>
                </a:xfrm>
              </p:grpSpPr>
              <p:sp>
                <p:nvSpPr>
                  <p:cNvPr id="391" name="Rechthoek 390">
                    <a:extLst>
                      <a:ext uri="{FF2B5EF4-FFF2-40B4-BE49-F238E27FC236}">
                        <a16:creationId xmlns:a16="http://schemas.microsoft.com/office/drawing/2014/main" id="{C12DD89B-3EAD-47F5-8159-D601AD20B38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2" name="Pijl: punthaak 391">
                    <a:extLst>
                      <a:ext uri="{FF2B5EF4-FFF2-40B4-BE49-F238E27FC236}">
                        <a16:creationId xmlns:a16="http://schemas.microsoft.com/office/drawing/2014/main" id="{EA05B45A-34F3-4936-9844-CB8940610E8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51" name="Groep 350">
                <a:extLst>
                  <a:ext uri="{FF2B5EF4-FFF2-40B4-BE49-F238E27FC236}">
                    <a16:creationId xmlns:a16="http://schemas.microsoft.com/office/drawing/2014/main" id="{068AA8B8-C0B7-40D2-B14E-F3728966E7C0}"/>
                  </a:ext>
                </a:extLst>
              </p:cNvPr>
              <p:cNvGrpSpPr/>
              <p:nvPr userDrawn="1"/>
            </p:nvGrpSpPr>
            <p:grpSpPr>
              <a:xfrm>
                <a:off x="-3326107" y="720303"/>
                <a:ext cx="182598" cy="143759"/>
                <a:chOff x="-3634116" y="700986"/>
                <a:chExt cx="182598" cy="143759"/>
              </a:xfrm>
            </p:grpSpPr>
            <p:grpSp>
              <p:nvGrpSpPr>
                <p:cNvPr id="380" name="Groep 379">
                  <a:extLst>
                    <a:ext uri="{FF2B5EF4-FFF2-40B4-BE49-F238E27FC236}">
                      <a16:creationId xmlns:a16="http://schemas.microsoft.com/office/drawing/2014/main" id="{9E7FA22F-2802-4620-8C18-80669795840C}"/>
                    </a:ext>
                  </a:extLst>
                </p:cNvPr>
                <p:cNvGrpSpPr/>
                <p:nvPr userDrawn="1"/>
              </p:nvGrpSpPr>
              <p:grpSpPr>
                <a:xfrm>
                  <a:off x="-3634116" y="700986"/>
                  <a:ext cx="182598" cy="143759"/>
                  <a:chOff x="-3634116" y="700986"/>
                  <a:chExt cx="182598" cy="143759"/>
                </a:xfrm>
              </p:grpSpPr>
              <p:cxnSp>
                <p:nvCxnSpPr>
                  <p:cNvPr id="384" name="Rechte verbindingslijn 383">
                    <a:extLst>
                      <a:ext uri="{FF2B5EF4-FFF2-40B4-BE49-F238E27FC236}">
                        <a16:creationId xmlns:a16="http://schemas.microsoft.com/office/drawing/2014/main" id="{C53A5BF2-D7D6-40B8-8E92-FE9ED4930F62}"/>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DDDD0B66-5359-48E0-B2D0-23B4BB88617A}"/>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86" name="Rechte verbindingslijn 385">
                    <a:extLst>
                      <a:ext uri="{FF2B5EF4-FFF2-40B4-BE49-F238E27FC236}">
                        <a16:creationId xmlns:a16="http://schemas.microsoft.com/office/drawing/2014/main" id="{26667792-8DAB-4304-8F1C-C4CB49775001}"/>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87" name="Rechte verbindingslijn 386">
                    <a:extLst>
                      <a:ext uri="{FF2B5EF4-FFF2-40B4-BE49-F238E27FC236}">
                        <a16:creationId xmlns:a16="http://schemas.microsoft.com/office/drawing/2014/main" id="{20751DD5-03CF-4BA3-8005-554FA2DD2C1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88" name="Rechte verbindingslijn 387">
                    <a:extLst>
                      <a:ext uri="{FF2B5EF4-FFF2-40B4-BE49-F238E27FC236}">
                        <a16:creationId xmlns:a16="http://schemas.microsoft.com/office/drawing/2014/main" id="{44216857-45AB-4D1A-B268-6113E124C84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81" name="Groep 380">
                  <a:extLst>
                    <a:ext uri="{FF2B5EF4-FFF2-40B4-BE49-F238E27FC236}">
                      <a16:creationId xmlns:a16="http://schemas.microsoft.com/office/drawing/2014/main" id="{1B914C82-BF7F-4E3A-B8BC-4BA51D0FD915}"/>
                    </a:ext>
                  </a:extLst>
                </p:cNvPr>
                <p:cNvGrpSpPr/>
                <p:nvPr userDrawn="1"/>
              </p:nvGrpSpPr>
              <p:grpSpPr>
                <a:xfrm>
                  <a:off x="-3634047" y="735854"/>
                  <a:ext cx="88801" cy="72568"/>
                  <a:chOff x="-2091059" y="1395403"/>
                  <a:chExt cx="157316" cy="128558"/>
                </a:xfrm>
              </p:grpSpPr>
              <p:sp>
                <p:nvSpPr>
                  <p:cNvPr id="382" name="Rechthoek 381">
                    <a:extLst>
                      <a:ext uri="{FF2B5EF4-FFF2-40B4-BE49-F238E27FC236}">
                        <a16:creationId xmlns:a16="http://schemas.microsoft.com/office/drawing/2014/main" id="{6CFE0D3F-01A9-4095-A9BC-22DE4D22A0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3" name="Pijl: punthaak 382">
                    <a:extLst>
                      <a:ext uri="{FF2B5EF4-FFF2-40B4-BE49-F238E27FC236}">
                        <a16:creationId xmlns:a16="http://schemas.microsoft.com/office/drawing/2014/main" id="{74DA5B26-23AE-495E-B754-51EA3B293D8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52" name="Rechte verbindingslijn 351">
                <a:extLst>
                  <a:ext uri="{FF2B5EF4-FFF2-40B4-BE49-F238E27FC236}">
                    <a16:creationId xmlns:a16="http://schemas.microsoft.com/office/drawing/2014/main" id="{BA00214F-1002-4D45-B9A5-9E37AC060F3F}"/>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53" name="Rechte verbindingslijn 352">
                <a:extLst>
                  <a:ext uri="{FF2B5EF4-FFF2-40B4-BE49-F238E27FC236}">
                    <a16:creationId xmlns:a16="http://schemas.microsoft.com/office/drawing/2014/main" id="{ABCE834E-6552-4069-88C3-84B91C332CB5}"/>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54" name="Groep 353">
                <a:extLst>
                  <a:ext uri="{FF2B5EF4-FFF2-40B4-BE49-F238E27FC236}">
                    <a16:creationId xmlns:a16="http://schemas.microsoft.com/office/drawing/2014/main" id="{F2C0C1CF-6A93-4A78-964A-43F278CE2834}"/>
                  </a:ext>
                </a:extLst>
              </p:cNvPr>
              <p:cNvGrpSpPr/>
              <p:nvPr userDrawn="1"/>
            </p:nvGrpSpPr>
            <p:grpSpPr>
              <a:xfrm>
                <a:off x="-2425037" y="370226"/>
                <a:ext cx="357690" cy="330595"/>
                <a:chOff x="-2721817" y="347336"/>
                <a:chExt cx="432805" cy="400021"/>
              </a:xfrm>
            </p:grpSpPr>
            <p:sp>
              <p:nvSpPr>
                <p:cNvPr id="369" name="Rechthoek 368">
                  <a:extLst>
                    <a:ext uri="{FF2B5EF4-FFF2-40B4-BE49-F238E27FC236}">
                      <a16:creationId xmlns:a16="http://schemas.microsoft.com/office/drawing/2014/main" id="{1099A26C-A204-41A8-A35B-EE61D6084F7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0" name="Groep 369">
                  <a:extLst>
                    <a:ext uri="{FF2B5EF4-FFF2-40B4-BE49-F238E27FC236}">
                      <a16:creationId xmlns:a16="http://schemas.microsoft.com/office/drawing/2014/main" id="{63E3090A-2634-4FB0-BF25-3C962B2CD0B7}"/>
                    </a:ext>
                  </a:extLst>
                </p:cNvPr>
                <p:cNvGrpSpPr/>
                <p:nvPr userDrawn="1"/>
              </p:nvGrpSpPr>
              <p:grpSpPr>
                <a:xfrm>
                  <a:off x="-2652453" y="431583"/>
                  <a:ext cx="294076" cy="231526"/>
                  <a:chOff x="-3634116" y="700986"/>
                  <a:chExt cx="182598" cy="143759"/>
                </a:xfrm>
              </p:grpSpPr>
              <p:grpSp>
                <p:nvGrpSpPr>
                  <p:cNvPr id="371" name="Groep 370">
                    <a:extLst>
                      <a:ext uri="{FF2B5EF4-FFF2-40B4-BE49-F238E27FC236}">
                        <a16:creationId xmlns:a16="http://schemas.microsoft.com/office/drawing/2014/main" id="{513C8097-8B9B-4020-B30E-6F2452C2FE0C}"/>
                      </a:ext>
                    </a:extLst>
                  </p:cNvPr>
                  <p:cNvGrpSpPr/>
                  <p:nvPr userDrawn="1"/>
                </p:nvGrpSpPr>
                <p:grpSpPr>
                  <a:xfrm>
                    <a:off x="-3634116" y="700986"/>
                    <a:ext cx="182598" cy="143759"/>
                    <a:chOff x="-3634116" y="700986"/>
                    <a:chExt cx="182598" cy="143759"/>
                  </a:xfrm>
                </p:grpSpPr>
                <p:cxnSp>
                  <p:nvCxnSpPr>
                    <p:cNvPr id="375" name="Rechte verbindingslijn 374">
                      <a:extLst>
                        <a:ext uri="{FF2B5EF4-FFF2-40B4-BE49-F238E27FC236}">
                          <a16:creationId xmlns:a16="http://schemas.microsoft.com/office/drawing/2014/main" id="{7DC15605-CE5F-459D-BD08-27B7FB25AF0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76" name="Rechte verbindingslijn 375">
                      <a:extLst>
                        <a:ext uri="{FF2B5EF4-FFF2-40B4-BE49-F238E27FC236}">
                          <a16:creationId xmlns:a16="http://schemas.microsoft.com/office/drawing/2014/main" id="{7C8740B3-9E9C-4B6C-8DF1-DD67073A08F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77" name="Rechte verbindingslijn 376">
                      <a:extLst>
                        <a:ext uri="{FF2B5EF4-FFF2-40B4-BE49-F238E27FC236}">
                          <a16:creationId xmlns:a16="http://schemas.microsoft.com/office/drawing/2014/main" id="{A19A4AED-8169-4324-968F-ECF7795A3A01}"/>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78" name="Rechte verbindingslijn 377">
                      <a:extLst>
                        <a:ext uri="{FF2B5EF4-FFF2-40B4-BE49-F238E27FC236}">
                          <a16:creationId xmlns:a16="http://schemas.microsoft.com/office/drawing/2014/main" id="{0A40B635-6B25-4F81-A0B0-979AF174335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79" name="Rechte verbindingslijn 378">
                      <a:extLst>
                        <a:ext uri="{FF2B5EF4-FFF2-40B4-BE49-F238E27FC236}">
                          <a16:creationId xmlns:a16="http://schemas.microsoft.com/office/drawing/2014/main" id="{26122291-D968-4EC1-9D23-AC7A9636B9D7}"/>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72" name="Groep 371">
                    <a:extLst>
                      <a:ext uri="{FF2B5EF4-FFF2-40B4-BE49-F238E27FC236}">
                        <a16:creationId xmlns:a16="http://schemas.microsoft.com/office/drawing/2014/main" id="{4A7336B3-DDE4-44B6-8602-7D753B9CB6E8}"/>
                      </a:ext>
                    </a:extLst>
                  </p:cNvPr>
                  <p:cNvGrpSpPr/>
                  <p:nvPr userDrawn="1"/>
                </p:nvGrpSpPr>
                <p:grpSpPr>
                  <a:xfrm>
                    <a:off x="-3634047" y="735854"/>
                    <a:ext cx="88801" cy="72568"/>
                    <a:chOff x="-2091059" y="1395403"/>
                    <a:chExt cx="157316" cy="128558"/>
                  </a:xfrm>
                </p:grpSpPr>
                <p:sp>
                  <p:nvSpPr>
                    <p:cNvPr id="373" name="Rechthoek 372">
                      <a:extLst>
                        <a:ext uri="{FF2B5EF4-FFF2-40B4-BE49-F238E27FC236}">
                          <a16:creationId xmlns:a16="http://schemas.microsoft.com/office/drawing/2014/main" id="{298D231A-9A59-4EDA-A6D0-8AEAA89ECE0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4" name="Pijl: punthaak 373">
                      <a:extLst>
                        <a:ext uri="{FF2B5EF4-FFF2-40B4-BE49-F238E27FC236}">
                          <a16:creationId xmlns:a16="http://schemas.microsoft.com/office/drawing/2014/main" id="{9EED97A4-DF11-4ECA-8820-D54F9252512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55" name="Groep 354">
                <a:extLst>
                  <a:ext uri="{FF2B5EF4-FFF2-40B4-BE49-F238E27FC236}">
                    <a16:creationId xmlns:a16="http://schemas.microsoft.com/office/drawing/2014/main" id="{A2E1157B-25E7-4D1A-97E9-37BD26CC30C2}"/>
                  </a:ext>
                </a:extLst>
              </p:cNvPr>
              <p:cNvGrpSpPr/>
              <p:nvPr userDrawn="1"/>
            </p:nvGrpSpPr>
            <p:grpSpPr>
              <a:xfrm>
                <a:off x="-2425037" y="781500"/>
                <a:ext cx="357690" cy="330595"/>
                <a:chOff x="-2721817" y="782525"/>
                <a:chExt cx="432805" cy="400021"/>
              </a:xfrm>
            </p:grpSpPr>
            <p:sp>
              <p:nvSpPr>
                <p:cNvPr id="358" name="Rechthoek 357">
                  <a:extLst>
                    <a:ext uri="{FF2B5EF4-FFF2-40B4-BE49-F238E27FC236}">
                      <a16:creationId xmlns:a16="http://schemas.microsoft.com/office/drawing/2014/main" id="{1A8A9248-E8DB-45B0-AD2D-70E310278E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59" name="Groep 358">
                  <a:extLst>
                    <a:ext uri="{FF2B5EF4-FFF2-40B4-BE49-F238E27FC236}">
                      <a16:creationId xmlns:a16="http://schemas.microsoft.com/office/drawing/2014/main" id="{2F0967AE-4F80-4156-BF4A-33A8A3611ACE}"/>
                    </a:ext>
                  </a:extLst>
                </p:cNvPr>
                <p:cNvGrpSpPr/>
                <p:nvPr userDrawn="1"/>
              </p:nvGrpSpPr>
              <p:grpSpPr>
                <a:xfrm>
                  <a:off x="-2652453" y="866772"/>
                  <a:ext cx="294076" cy="231526"/>
                  <a:chOff x="-3310843" y="700986"/>
                  <a:chExt cx="182598" cy="143759"/>
                </a:xfrm>
              </p:grpSpPr>
              <p:grpSp>
                <p:nvGrpSpPr>
                  <p:cNvPr id="360" name="Groep 359">
                    <a:extLst>
                      <a:ext uri="{FF2B5EF4-FFF2-40B4-BE49-F238E27FC236}">
                        <a16:creationId xmlns:a16="http://schemas.microsoft.com/office/drawing/2014/main" id="{77B3F645-1FF3-43EC-B339-499CDC0C080E}"/>
                      </a:ext>
                    </a:extLst>
                  </p:cNvPr>
                  <p:cNvGrpSpPr/>
                  <p:nvPr userDrawn="1"/>
                </p:nvGrpSpPr>
                <p:grpSpPr>
                  <a:xfrm>
                    <a:off x="-3310843" y="700986"/>
                    <a:ext cx="182598" cy="143759"/>
                    <a:chOff x="-3310843" y="700986"/>
                    <a:chExt cx="182598" cy="143759"/>
                  </a:xfrm>
                </p:grpSpPr>
                <p:cxnSp>
                  <p:nvCxnSpPr>
                    <p:cNvPr id="364" name="Rechte verbindingslijn 363">
                      <a:extLst>
                        <a:ext uri="{FF2B5EF4-FFF2-40B4-BE49-F238E27FC236}">
                          <a16:creationId xmlns:a16="http://schemas.microsoft.com/office/drawing/2014/main" id="{24157FE2-E6A8-4611-977A-09D5FFDCE99C}"/>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65" name="Rechte verbindingslijn 364">
                      <a:extLst>
                        <a:ext uri="{FF2B5EF4-FFF2-40B4-BE49-F238E27FC236}">
                          <a16:creationId xmlns:a16="http://schemas.microsoft.com/office/drawing/2014/main" id="{91CABBAA-A157-4D1C-B33A-72EA0257511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66" name="Rechte verbindingslijn 365">
                      <a:extLst>
                        <a:ext uri="{FF2B5EF4-FFF2-40B4-BE49-F238E27FC236}">
                          <a16:creationId xmlns:a16="http://schemas.microsoft.com/office/drawing/2014/main" id="{4E45C82A-36BE-4B1C-8F8F-60E578C97D94}"/>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67" name="Rechte verbindingslijn 366">
                      <a:extLst>
                        <a:ext uri="{FF2B5EF4-FFF2-40B4-BE49-F238E27FC236}">
                          <a16:creationId xmlns:a16="http://schemas.microsoft.com/office/drawing/2014/main" id="{3DB7E9A3-41F2-4082-A763-B52B1286313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68" name="Rechte verbindingslijn 367">
                      <a:extLst>
                        <a:ext uri="{FF2B5EF4-FFF2-40B4-BE49-F238E27FC236}">
                          <a16:creationId xmlns:a16="http://schemas.microsoft.com/office/drawing/2014/main" id="{B89FFBB0-D09F-4B7F-BC77-E5050F4D054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61" name="Groep 360">
                    <a:extLst>
                      <a:ext uri="{FF2B5EF4-FFF2-40B4-BE49-F238E27FC236}">
                        <a16:creationId xmlns:a16="http://schemas.microsoft.com/office/drawing/2014/main" id="{7FE5F342-B893-4E55-BA20-F0BFD29E2F43}"/>
                      </a:ext>
                    </a:extLst>
                  </p:cNvPr>
                  <p:cNvGrpSpPr/>
                  <p:nvPr userDrawn="1"/>
                </p:nvGrpSpPr>
                <p:grpSpPr>
                  <a:xfrm flipH="1">
                    <a:off x="-3310774" y="735854"/>
                    <a:ext cx="88801" cy="72568"/>
                    <a:chOff x="-2091059" y="1395403"/>
                    <a:chExt cx="157316" cy="128558"/>
                  </a:xfrm>
                </p:grpSpPr>
                <p:sp>
                  <p:nvSpPr>
                    <p:cNvPr id="362" name="Rechthoek 361">
                      <a:extLst>
                        <a:ext uri="{FF2B5EF4-FFF2-40B4-BE49-F238E27FC236}">
                          <a16:creationId xmlns:a16="http://schemas.microsoft.com/office/drawing/2014/main" id="{E62FED07-2B91-4ACF-A9CE-5271B7FACD6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63" name="Pijl: punthaak 362">
                      <a:extLst>
                        <a:ext uri="{FF2B5EF4-FFF2-40B4-BE49-F238E27FC236}">
                          <a16:creationId xmlns:a16="http://schemas.microsoft.com/office/drawing/2014/main" id="{06081880-6BEB-4A66-AA21-85043D66EB5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56" name="Rechthoek 355">
                <a:extLst>
                  <a:ext uri="{FF2B5EF4-FFF2-40B4-BE49-F238E27FC236}">
                    <a16:creationId xmlns:a16="http://schemas.microsoft.com/office/drawing/2014/main" id="{66752CC0-F146-4E09-B309-8FC5D3662EE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57" name="Rechthoek 356">
                <a:extLst>
                  <a:ext uri="{FF2B5EF4-FFF2-40B4-BE49-F238E27FC236}">
                    <a16:creationId xmlns:a16="http://schemas.microsoft.com/office/drawing/2014/main" id="{38D3580D-5AEB-4D3B-9267-A09A202E694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30" name="Rechte verbindingslijn 329">
              <a:extLst>
                <a:ext uri="{FF2B5EF4-FFF2-40B4-BE49-F238E27FC236}">
                  <a16:creationId xmlns:a16="http://schemas.microsoft.com/office/drawing/2014/main" id="{040A39BF-6E15-4E74-871A-337236124809}"/>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31" name="Rechthoek 330">
              <a:extLst>
                <a:ext uri="{FF2B5EF4-FFF2-40B4-BE49-F238E27FC236}">
                  <a16:creationId xmlns:a16="http://schemas.microsoft.com/office/drawing/2014/main" id="{1E3C7959-F670-4873-80A3-3821F627E86D}"/>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2" name="Ovaal 331">
              <a:extLst>
                <a:ext uri="{FF2B5EF4-FFF2-40B4-BE49-F238E27FC236}">
                  <a16:creationId xmlns:a16="http://schemas.microsoft.com/office/drawing/2014/main" id="{2C49A7E4-FA33-4FDF-9BCB-3FAF63482C0C}"/>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33" name="Rechthoek 332">
              <a:extLst>
                <a:ext uri="{FF2B5EF4-FFF2-40B4-BE49-F238E27FC236}">
                  <a16:creationId xmlns:a16="http://schemas.microsoft.com/office/drawing/2014/main" id="{47E7C30E-FC61-42D8-BD56-F3B5246397D5}"/>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34" name="Ovaal 333">
              <a:extLst>
                <a:ext uri="{FF2B5EF4-FFF2-40B4-BE49-F238E27FC236}">
                  <a16:creationId xmlns:a16="http://schemas.microsoft.com/office/drawing/2014/main" id="{89F64F9C-7462-4EA5-B45E-6519245C1068}"/>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35" name="Rechthoek 334">
              <a:extLst>
                <a:ext uri="{FF2B5EF4-FFF2-40B4-BE49-F238E27FC236}">
                  <a16:creationId xmlns:a16="http://schemas.microsoft.com/office/drawing/2014/main" id="{C557BD62-33D3-4F32-80C6-486DF41E1FF7}"/>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36" name="Ovaal 335">
              <a:extLst>
                <a:ext uri="{FF2B5EF4-FFF2-40B4-BE49-F238E27FC236}">
                  <a16:creationId xmlns:a16="http://schemas.microsoft.com/office/drawing/2014/main" id="{48AE62D7-F720-45C9-A625-B464A78C723B}"/>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37" name="Rechthoek 336">
              <a:extLst>
                <a:ext uri="{FF2B5EF4-FFF2-40B4-BE49-F238E27FC236}">
                  <a16:creationId xmlns:a16="http://schemas.microsoft.com/office/drawing/2014/main" id="{4FF97FFA-BC1F-4342-B8DA-CA02F53674C3}"/>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38" name="Ovaal 337">
              <a:extLst>
                <a:ext uri="{FF2B5EF4-FFF2-40B4-BE49-F238E27FC236}">
                  <a16:creationId xmlns:a16="http://schemas.microsoft.com/office/drawing/2014/main" id="{7E051CC2-1F33-4705-BB88-59EC687832D7}"/>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39" name="Rechthoek 338">
              <a:extLst>
                <a:ext uri="{FF2B5EF4-FFF2-40B4-BE49-F238E27FC236}">
                  <a16:creationId xmlns:a16="http://schemas.microsoft.com/office/drawing/2014/main" id="{921306E3-3DCF-407B-A8D7-126F3CAFEC42}"/>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40" name="Rechthoek 339">
              <a:extLst>
                <a:ext uri="{FF2B5EF4-FFF2-40B4-BE49-F238E27FC236}">
                  <a16:creationId xmlns:a16="http://schemas.microsoft.com/office/drawing/2014/main" id="{99507576-D01B-44BF-9FFF-361F906437EC}"/>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41" name="Rechte verbindingslijn 340">
              <a:extLst>
                <a:ext uri="{FF2B5EF4-FFF2-40B4-BE49-F238E27FC236}">
                  <a16:creationId xmlns:a16="http://schemas.microsoft.com/office/drawing/2014/main" id="{2FA3C41D-5C86-437D-987F-B8D8D7614D8F}"/>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42" name="Ovaal 341">
              <a:extLst>
                <a:ext uri="{FF2B5EF4-FFF2-40B4-BE49-F238E27FC236}">
                  <a16:creationId xmlns:a16="http://schemas.microsoft.com/office/drawing/2014/main" id="{095E1608-AD9E-40F0-B62B-09AA75C0C395}"/>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43" name="Rechthoek 342">
              <a:extLst>
                <a:ext uri="{FF2B5EF4-FFF2-40B4-BE49-F238E27FC236}">
                  <a16:creationId xmlns:a16="http://schemas.microsoft.com/office/drawing/2014/main" id="{2DBA4166-5E02-4EC6-AA88-351D73F682A0}"/>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44" name="Ovaal 343">
              <a:extLst>
                <a:ext uri="{FF2B5EF4-FFF2-40B4-BE49-F238E27FC236}">
                  <a16:creationId xmlns:a16="http://schemas.microsoft.com/office/drawing/2014/main" id="{78C34700-B609-4D1B-9FC0-A172ED69AC80}"/>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5" name="Rechthoek 344">
              <a:extLst>
                <a:ext uri="{FF2B5EF4-FFF2-40B4-BE49-F238E27FC236}">
                  <a16:creationId xmlns:a16="http://schemas.microsoft.com/office/drawing/2014/main" id="{865C8E08-DFFB-4DBE-B03B-A4F0396A4CAC}"/>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32728740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KST / GRAFIEK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A8A94C4-611F-4E04-95A1-8C82CF6BFC5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GRAFIEK 2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7" y="1459111"/>
            <a:ext cx="5015239" cy="1878840"/>
          </a:xfrm>
          <a:solidFill>
            <a:schemeClr val="bg1">
              <a:lumMod val="95000"/>
            </a:schemeClr>
          </a:solidFill>
        </p:spPr>
        <p:txBody>
          <a:bodyPr tIns="504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95CDFAA9-BDB5-4D8F-938D-9F60774CE5B7}"/>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D7E82FEE-89D5-4142-8839-67BDEF20414F}"/>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6636507" y="3698999"/>
            <a:ext cx="5015239" cy="1878840"/>
          </a:xfrm>
          <a:solidFill>
            <a:schemeClr val="bg1">
              <a:lumMod val="95000"/>
            </a:schemeClr>
          </a:solidFill>
        </p:spPr>
        <p:txBody>
          <a:bodyPr tIns="504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331" name="Instructie">
            <a:extLst>
              <a:ext uri="{FF2B5EF4-FFF2-40B4-BE49-F238E27FC236}">
                <a16:creationId xmlns:a16="http://schemas.microsoft.com/office/drawing/2014/main" id="{6D7E66DE-6C48-42A6-9F81-DC67C808EC69}"/>
              </a:ext>
            </a:extLst>
          </p:cNvPr>
          <p:cNvGrpSpPr/>
          <p:nvPr userDrawn="1"/>
        </p:nvGrpSpPr>
        <p:grpSpPr>
          <a:xfrm>
            <a:off x="-3437547" y="1434"/>
            <a:ext cx="3201327" cy="6041867"/>
            <a:chOff x="-3437547" y="1434"/>
            <a:chExt cx="3201327" cy="6041867"/>
          </a:xfrm>
        </p:grpSpPr>
        <p:cxnSp>
          <p:nvCxnSpPr>
            <p:cNvPr id="332" name="Rechte verbindingslijn 331">
              <a:extLst>
                <a:ext uri="{FF2B5EF4-FFF2-40B4-BE49-F238E27FC236}">
                  <a16:creationId xmlns:a16="http://schemas.microsoft.com/office/drawing/2014/main" id="{3DA2682F-3D0F-4CA4-920D-2ADF99C906DE}"/>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33" name="Ovaal 332">
              <a:extLst>
                <a:ext uri="{FF2B5EF4-FFF2-40B4-BE49-F238E27FC236}">
                  <a16:creationId xmlns:a16="http://schemas.microsoft.com/office/drawing/2014/main" id="{6A564E50-1B5E-4A41-9520-647B0E1C378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34" name="Rechthoek 333">
              <a:extLst>
                <a:ext uri="{FF2B5EF4-FFF2-40B4-BE49-F238E27FC236}">
                  <a16:creationId xmlns:a16="http://schemas.microsoft.com/office/drawing/2014/main" id="{5D6145B1-0044-4007-90AE-4F84F6F9483C}"/>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5" name="Ovaal 334">
              <a:extLst>
                <a:ext uri="{FF2B5EF4-FFF2-40B4-BE49-F238E27FC236}">
                  <a16:creationId xmlns:a16="http://schemas.microsoft.com/office/drawing/2014/main" id="{1EFD867F-E8FC-461A-8D98-1B9B280F2F9E}"/>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36" name="Rechthoek 335">
              <a:extLst>
                <a:ext uri="{FF2B5EF4-FFF2-40B4-BE49-F238E27FC236}">
                  <a16:creationId xmlns:a16="http://schemas.microsoft.com/office/drawing/2014/main" id="{BD376027-23AE-4850-9031-6FB44EF1A92F}"/>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37" name="Ovaal 336">
              <a:extLst>
                <a:ext uri="{FF2B5EF4-FFF2-40B4-BE49-F238E27FC236}">
                  <a16:creationId xmlns:a16="http://schemas.microsoft.com/office/drawing/2014/main" id="{329F773E-6568-4D98-8C94-4D76225239FE}"/>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38" name="Rechthoek 337">
              <a:extLst>
                <a:ext uri="{FF2B5EF4-FFF2-40B4-BE49-F238E27FC236}">
                  <a16:creationId xmlns:a16="http://schemas.microsoft.com/office/drawing/2014/main" id="{2806D305-F3D4-4EE5-8189-F615B63ADA05}"/>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39" name="Ovaal 338">
              <a:extLst>
                <a:ext uri="{FF2B5EF4-FFF2-40B4-BE49-F238E27FC236}">
                  <a16:creationId xmlns:a16="http://schemas.microsoft.com/office/drawing/2014/main" id="{35DBE988-EBDA-4753-BE5A-0E0472189A54}"/>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40" name="Rechthoek 339">
              <a:extLst>
                <a:ext uri="{FF2B5EF4-FFF2-40B4-BE49-F238E27FC236}">
                  <a16:creationId xmlns:a16="http://schemas.microsoft.com/office/drawing/2014/main" id="{8D745FA2-1431-45BB-9FF4-D1A83CF7AD24}"/>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41" name="Rechthoek 340">
              <a:extLst>
                <a:ext uri="{FF2B5EF4-FFF2-40B4-BE49-F238E27FC236}">
                  <a16:creationId xmlns:a16="http://schemas.microsoft.com/office/drawing/2014/main" id="{FD430301-FC57-415E-B18B-C8224E72FCC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42" name="Ovaal 341">
              <a:extLst>
                <a:ext uri="{FF2B5EF4-FFF2-40B4-BE49-F238E27FC236}">
                  <a16:creationId xmlns:a16="http://schemas.microsoft.com/office/drawing/2014/main" id="{F368EAF6-EE48-47DE-A004-0CA4F1417457}"/>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43" name="Rechte verbindingslijn 342">
              <a:extLst>
                <a:ext uri="{FF2B5EF4-FFF2-40B4-BE49-F238E27FC236}">
                  <a16:creationId xmlns:a16="http://schemas.microsoft.com/office/drawing/2014/main" id="{D64337B1-F754-415E-82D2-D1316466BD74}"/>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44" name="Groep 343">
              <a:extLst>
                <a:ext uri="{FF2B5EF4-FFF2-40B4-BE49-F238E27FC236}">
                  <a16:creationId xmlns:a16="http://schemas.microsoft.com/office/drawing/2014/main" id="{C7B1CA79-54CC-4A65-BAE2-A2BE520B4F2C}"/>
                </a:ext>
              </a:extLst>
            </p:cNvPr>
            <p:cNvGrpSpPr/>
            <p:nvPr userDrawn="1"/>
          </p:nvGrpSpPr>
          <p:grpSpPr>
            <a:xfrm>
              <a:off x="-3437547" y="1295337"/>
              <a:ext cx="2933825" cy="558875"/>
              <a:chOff x="-3419346" y="368233"/>
              <a:chExt cx="3904920" cy="743862"/>
            </a:xfrm>
          </p:grpSpPr>
          <p:sp>
            <p:nvSpPr>
              <p:cNvPr id="361" name="Rechthoek 360">
                <a:extLst>
                  <a:ext uri="{FF2B5EF4-FFF2-40B4-BE49-F238E27FC236}">
                    <a16:creationId xmlns:a16="http://schemas.microsoft.com/office/drawing/2014/main" id="{A69353A9-BFF5-41CA-8D7F-48790027126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62" name="Rechte verbindingslijn 361">
                <a:extLst>
                  <a:ext uri="{FF2B5EF4-FFF2-40B4-BE49-F238E27FC236}">
                    <a16:creationId xmlns:a16="http://schemas.microsoft.com/office/drawing/2014/main" id="{EA5C9AE6-B2F2-4268-8D34-0325D7A431A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3" name="Rechte verbindingslijn 362">
                <a:extLst>
                  <a:ext uri="{FF2B5EF4-FFF2-40B4-BE49-F238E27FC236}">
                    <a16:creationId xmlns:a16="http://schemas.microsoft.com/office/drawing/2014/main" id="{9BCC3302-F95D-43E9-9929-C3FA92B8E2AC}"/>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4" name="Rechthoek 363">
                <a:extLst>
                  <a:ext uri="{FF2B5EF4-FFF2-40B4-BE49-F238E27FC236}">
                    <a16:creationId xmlns:a16="http://schemas.microsoft.com/office/drawing/2014/main" id="{AFDC76A0-4AD7-4A08-88A9-6EE5D2E53D3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65" name="Groep 364">
                <a:extLst>
                  <a:ext uri="{FF2B5EF4-FFF2-40B4-BE49-F238E27FC236}">
                    <a16:creationId xmlns:a16="http://schemas.microsoft.com/office/drawing/2014/main" id="{24A03ABC-0329-4010-8825-F68A3167D026}"/>
                  </a:ext>
                </a:extLst>
              </p:cNvPr>
              <p:cNvGrpSpPr/>
              <p:nvPr userDrawn="1"/>
            </p:nvGrpSpPr>
            <p:grpSpPr>
              <a:xfrm>
                <a:off x="-3002834" y="720303"/>
                <a:ext cx="182598" cy="143759"/>
                <a:chOff x="-3310843" y="700986"/>
                <a:chExt cx="182598" cy="143759"/>
              </a:xfrm>
            </p:grpSpPr>
            <p:grpSp>
              <p:nvGrpSpPr>
                <p:cNvPr id="404" name="Groep 403">
                  <a:extLst>
                    <a:ext uri="{FF2B5EF4-FFF2-40B4-BE49-F238E27FC236}">
                      <a16:creationId xmlns:a16="http://schemas.microsoft.com/office/drawing/2014/main" id="{594B09C5-DC81-4E5B-B151-396EDD16CF7E}"/>
                    </a:ext>
                  </a:extLst>
                </p:cNvPr>
                <p:cNvGrpSpPr/>
                <p:nvPr userDrawn="1"/>
              </p:nvGrpSpPr>
              <p:grpSpPr>
                <a:xfrm>
                  <a:off x="-3310843" y="700986"/>
                  <a:ext cx="182598" cy="143759"/>
                  <a:chOff x="-3310843" y="700986"/>
                  <a:chExt cx="182598" cy="143759"/>
                </a:xfrm>
              </p:grpSpPr>
              <p:cxnSp>
                <p:nvCxnSpPr>
                  <p:cNvPr id="408" name="Rechte verbindingslijn 407">
                    <a:extLst>
                      <a:ext uri="{FF2B5EF4-FFF2-40B4-BE49-F238E27FC236}">
                        <a16:creationId xmlns:a16="http://schemas.microsoft.com/office/drawing/2014/main" id="{04D9AEE6-BA20-4EE4-8B04-2FA8A4EF9DF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09" name="Rechte verbindingslijn 408">
                    <a:extLst>
                      <a:ext uri="{FF2B5EF4-FFF2-40B4-BE49-F238E27FC236}">
                        <a16:creationId xmlns:a16="http://schemas.microsoft.com/office/drawing/2014/main" id="{A49F7EBA-2DB3-463D-A487-253081DB285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10" name="Rechte verbindingslijn 409">
                    <a:extLst>
                      <a:ext uri="{FF2B5EF4-FFF2-40B4-BE49-F238E27FC236}">
                        <a16:creationId xmlns:a16="http://schemas.microsoft.com/office/drawing/2014/main" id="{11C8C5CB-94FF-4FEE-9ED0-B4DBA2F6454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E60EA423-5D0F-4104-A638-ECF8E4EAB90F}"/>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308C5293-003B-4BC8-860A-5D812AA50E3D}"/>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05" name="Groep 404">
                  <a:extLst>
                    <a:ext uri="{FF2B5EF4-FFF2-40B4-BE49-F238E27FC236}">
                      <a16:creationId xmlns:a16="http://schemas.microsoft.com/office/drawing/2014/main" id="{0D67E565-900A-4C16-B33F-8E5C85270E3A}"/>
                    </a:ext>
                  </a:extLst>
                </p:cNvPr>
                <p:cNvGrpSpPr/>
                <p:nvPr userDrawn="1"/>
              </p:nvGrpSpPr>
              <p:grpSpPr>
                <a:xfrm flipH="1">
                  <a:off x="-3310774" y="735854"/>
                  <a:ext cx="88801" cy="72568"/>
                  <a:chOff x="-2091059" y="1395403"/>
                  <a:chExt cx="157316" cy="128558"/>
                </a:xfrm>
              </p:grpSpPr>
              <p:sp>
                <p:nvSpPr>
                  <p:cNvPr id="406" name="Rechthoek 405">
                    <a:extLst>
                      <a:ext uri="{FF2B5EF4-FFF2-40B4-BE49-F238E27FC236}">
                        <a16:creationId xmlns:a16="http://schemas.microsoft.com/office/drawing/2014/main" id="{A85AD5A3-66BF-44E0-8839-1E0991429C8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07" name="Pijl: punthaak 406">
                    <a:extLst>
                      <a:ext uri="{FF2B5EF4-FFF2-40B4-BE49-F238E27FC236}">
                        <a16:creationId xmlns:a16="http://schemas.microsoft.com/office/drawing/2014/main" id="{EBFC023F-EDAA-4643-91EA-6D161E4C5ED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66" name="Groep 365">
                <a:extLst>
                  <a:ext uri="{FF2B5EF4-FFF2-40B4-BE49-F238E27FC236}">
                    <a16:creationId xmlns:a16="http://schemas.microsoft.com/office/drawing/2014/main" id="{114BE9DD-D7C3-40EA-8B18-ACB1DCC43728}"/>
                  </a:ext>
                </a:extLst>
              </p:cNvPr>
              <p:cNvGrpSpPr/>
              <p:nvPr userDrawn="1"/>
            </p:nvGrpSpPr>
            <p:grpSpPr>
              <a:xfrm>
                <a:off x="-3326107" y="720303"/>
                <a:ext cx="182598" cy="143759"/>
                <a:chOff x="-3634116" y="700986"/>
                <a:chExt cx="182598" cy="143759"/>
              </a:xfrm>
            </p:grpSpPr>
            <p:grpSp>
              <p:nvGrpSpPr>
                <p:cNvPr id="395" name="Groep 394">
                  <a:extLst>
                    <a:ext uri="{FF2B5EF4-FFF2-40B4-BE49-F238E27FC236}">
                      <a16:creationId xmlns:a16="http://schemas.microsoft.com/office/drawing/2014/main" id="{399CF803-AD5A-491A-91E2-6367AEEF0C26}"/>
                    </a:ext>
                  </a:extLst>
                </p:cNvPr>
                <p:cNvGrpSpPr/>
                <p:nvPr userDrawn="1"/>
              </p:nvGrpSpPr>
              <p:grpSpPr>
                <a:xfrm>
                  <a:off x="-3634116" y="700986"/>
                  <a:ext cx="182598" cy="143759"/>
                  <a:chOff x="-3634116" y="700986"/>
                  <a:chExt cx="182598" cy="143759"/>
                </a:xfrm>
              </p:grpSpPr>
              <p:cxnSp>
                <p:nvCxnSpPr>
                  <p:cNvPr id="399" name="Rechte verbindingslijn 398">
                    <a:extLst>
                      <a:ext uri="{FF2B5EF4-FFF2-40B4-BE49-F238E27FC236}">
                        <a16:creationId xmlns:a16="http://schemas.microsoft.com/office/drawing/2014/main" id="{147A4464-1D78-4F16-A881-B18ABB27FF1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00" name="Rechte verbindingslijn 399">
                    <a:extLst>
                      <a:ext uri="{FF2B5EF4-FFF2-40B4-BE49-F238E27FC236}">
                        <a16:creationId xmlns:a16="http://schemas.microsoft.com/office/drawing/2014/main" id="{17494F5A-CEA4-4099-BA65-64F44AE3005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01" name="Rechte verbindingslijn 400">
                    <a:extLst>
                      <a:ext uri="{FF2B5EF4-FFF2-40B4-BE49-F238E27FC236}">
                        <a16:creationId xmlns:a16="http://schemas.microsoft.com/office/drawing/2014/main" id="{A3AE517A-6433-4A45-B2FF-9069D1FFDACC}"/>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C097D53E-5FC8-420A-8DE3-5AF2714B3AC1}"/>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A99F0992-22F1-4C4E-A12A-1199CBC3AD7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96" name="Groep 395">
                  <a:extLst>
                    <a:ext uri="{FF2B5EF4-FFF2-40B4-BE49-F238E27FC236}">
                      <a16:creationId xmlns:a16="http://schemas.microsoft.com/office/drawing/2014/main" id="{E94CB91C-62E0-4A75-91B0-B0AD272BC28F}"/>
                    </a:ext>
                  </a:extLst>
                </p:cNvPr>
                <p:cNvGrpSpPr/>
                <p:nvPr userDrawn="1"/>
              </p:nvGrpSpPr>
              <p:grpSpPr>
                <a:xfrm>
                  <a:off x="-3634047" y="735854"/>
                  <a:ext cx="88801" cy="72568"/>
                  <a:chOff x="-2091059" y="1395403"/>
                  <a:chExt cx="157316" cy="128558"/>
                </a:xfrm>
              </p:grpSpPr>
              <p:sp>
                <p:nvSpPr>
                  <p:cNvPr id="397" name="Rechthoek 396">
                    <a:extLst>
                      <a:ext uri="{FF2B5EF4-FFF2-40B4-BE49-F238E27FC236}">
                        <a16:creationId xmlns:a16="http://schemas.microsoft.com/office/drawing/2014/main" id="{F6DB2883-9078-45A1-BAD3-5BD2AAEAE19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8" name="Pijl: punthaak 397">
                    <a:extLst>
                      <a:ext uri="{FF2B5EF4-FFF2-40B4-BE49-F238E27FC236}">
                        <a16:creationId xmlns:a16="http://schemas.microsoft.com/office/drawing/2014/main" id="{F489C05C-4E45-40FF-A1DB-27699543D1A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67" name="Rechte verbindingslijn 366">
                <a:extLst>
                  <a:ext uri="{FF2B5EF4-FFF2-40B4-BE49-F238E27FC236}">
                    <a16:creationId xmlns:a16="http://schemas.microsoft.com/office/drawing/2014/main" id="{AE02A648-384D-41CB-85F2-89B75AF1606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68" name="Rechte verbindingslijn 367">
                <a:extLst>
                  <a:ext uri="{FF2B5EF4-FFF2-40B4-BE49-F238E27FC236}">
                    <a16:creationId xmlns:a16="http://schemas.microsoft.com/office/drawing/2014/main" id="{2B37A1E0-1C52-40F8-BF00-85DE675AAA48}"/>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69" name="Groep 368">
                <a:extLst>
                  <a:ext uri="{FF2B5EF4-FFF2-40B4-BE49-F238E27FC236}">
                    <a16:creationId xmlns:a16="http://schemas.microsoft.com/office/drawing/2014/main" id="{938BCC0C-B982-4493-83D8-E49A3CDE9401}"/>
                  </a:ext>
                </a:extLst>
              </p:cNvPr>
              <p:cNvGrpSpPr/>
              <p:nvPr userDrawn="1"/>
            </p:nvGrpSpPr>
            <p:grpSpPr>
              <a:xfrm>
                <a:off x="-2425037" y="370226"/>
                <a:ext cx="357690" cy="330595"/>
                <a:chOff x="-2721817" y="347336"/>
                <a:chExt cx="432805" cy="400021"/>
              </a:xfrm>
            </p:grpSpPr>
            <p:sp>
              <p:nvSpPr>
                <p:cNvPr id="384" name="Rechthoek 383">
                  <a:extLst>
                    <a:ext uri="{FF2B5EF4-FFF2-40B4-BE49-F238E27FC236}">
                      <a16:creationId xmlns:a16="http://schemas.microsoft.com/office/drawing/2014/main" id="{50286AA2-D58F-4DB1-BA52-9FAED882F1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C22AD013-AAFE-4449-8267-8ADEC138D737}"/>
                    </a:ext>
                  </a:extLst>
                </p:cNvPr>
                <p:cNvGrpSpPr/>
                <p:nvPr userDrawn="1"/>
              </p:nvGrpSpPr>
              <p:grpSpPr>
                <a:xfrm>
                  <a:off x="-2652453" y="431583"/>
                  <a:ext cx="294076" cy="231526"/>
                  <a:chOff x="-3634116" y="700986"/>
                  <a:chExt cx="182598" cy="143759"/>
                </a:xfrm>
              </p:grpSpPr>
              <p:grpSp>
                <p:nvGrpSpPr>
                  <p:cNvPr id="386" name="Groep 385">
                    <a:extLst>
                      <a:ext uri="{FF2B5EF4-FFF2-40B4-BE49-F238E27FC236}">
                        <a16:creationId xmlns:a16="http://schemas.microsoft.com/office/drawing/2014/main" id="{5C70B9C8-ECBA-4990-BC43-EB6E030B9ADE}"/>
                      </a:ext>
                    </a:extLst>
                  </p:cNvPr>
                  <p:cNvGrpSpPr/>
                  <p:nvPr userDrawn="1"/>
                </p:nvGrpSpPr>
                <p:grpSpPr>
                  <a:xfrm>
                    <a:off x="-3634116" y="700986"/>
                    <a:ext cx="182598" cy="143759"/>
                    <a:chOff x="-3634116" y="700986"/>
                    <a:chExt cx="182598" cy="143759"/>
                  </a:xfrm>
                </p:grpSpPr>
                <p:cxnSp>
                  <p:nvCxnSpPr>
                    <p:cNvPr id="390" name="Rechte verbindingslijn 389">
                      <a:extLst>
                        <a:ext uri="{FF2B5EF4-FFF2-40B4-BE49-F238E27FC236}">
                          <a16:creationId xmlns:a16="http://schemas.microsoft.com/office/drawing/2014/main" id="{0B9882EB-99D8-4C51-B60C-108A5CB3C4F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72DE5483-5FF7-4BEE-A776-D7D83AF3D72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87D79D47-8FBB-4D02-A552-1B1CA91CD0D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2E11CA1A-A034-4D30-867D-BDEE9D4202FA}"/>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7AE4E7F0-AA77-44EC-A129-D85F0F920B2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EE25E1AF-32F1-4513-BE51-6345166B48DB}"/>
                      </a:ext>
                    </a:extLst>
                  </p:cNvPr>
                  <p:cNvGrpSpPr/>
                  <p:nvPr userDrawn="1"/>
                </p:nvGrpSpPr>
                <p:grpSpPr>
                  <a:xfrm>
                    <a:off x="-3634047" y="735854"/>
                    <a:ext cx="88801" cy="72568"/>
                    <a:chOff x="-2091059" y="1395403"/>
                    <a:chExt cx="157316" cy="128558"/>
                  </a:xfrm>
                </p:grpSpPr>
                <p:sp>
                  <p:nvSpPr>
                    <p:cNvPr id="388" name="Rechthoek 387">
                      <a:extLst>
                        <a:ext uri="{FF2B5EF4-FFF2-40B4-BE49-F238E27FC236}">
                          <a16:creationId xmlns:a16="http://schemas.microsoft.com/office/drawing/2014/main" id="{C172B22E-A7CA-42EE-9644-2A9A503BCED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9" name="Pijl: punthaak 388">
                      <a:extLst>
                        <a:ext uri="{FF2B5EF4-FFF2-40B4-BE49-F238E27FC236}">
                          <a16:creationId xmlns:a16="http://schemas.microsoft.com/office/drawing/2014/main" id="{DA25C5E6-379D-4D16-9CF9-1EE52DF098A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70" name="Groep 369">
                <a:extLst>
                  <a:ext uri="{FF2B5EF4-FFF2-40B4-BE49-F238E27FC236}">
                    <a16:creationId xmlns:a16="http://schemas.microsoft.com/office/drawing/2014/main" id="{99AA79A3-9437-4975-952E-F5126CC98BE1}"/>
                  </a:ext>
                </a:extLst>
              </p:cNvPr>
              <p:cNvGrpSpPr/>
              <p:nvPr userDrawn="1"/>
            </p:nvGrpSpPr>
            <p:grpSpPr>
              <a:xfrm>
                <a:off x="-2425037" y="781500"/>
                <a:ext cx="357690" cy="330595"/>
                <a:chOff x="-2721817" y="782525"/>
                <a:chExt cx="432805" cy="400021"/>
              </a:xfrm>
            </p:grpSpPr>
            <p:sp>
              <p:nvSpPr>
                <p:cNvPr id="373" name="Rechthoek 372">
                  <a:extLst>
                    <a:ext uri="{FF2B5EF4-FFF2-40B4-BE49-F238E27FC236}">
                      <a16:creationId xmlns:a16="http://schemas.microsoft.com/office/drawing/2014/main" id="{375ED682-3AB6-4F06-BFCB-4AB63E7A67E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4" name="Groep 373">
                  <a:extLst>
                    <a:ext uri="{FF2B5EF4-FFF2-40B4-BE49-F238E27FC236}">
                      <a16:creationId xmlns:a16="http://schemas.microsoft.com/office/drawing/2014/main" id="{B7B5D0CA-3824-4104-B349-2BCD4AFA3CBB}"/>
                    </a:ext>
                  </a:extLst>
                </p:cNvPr>
                <p:cNvGrpSpPr/>
                <p:nvPr userDrawn="1"/>
              </p:nvGrpSpPr>
              <p:grpSpPr>
                <a:xfrm>
                  <a:off x="-2652453" y="866772"/>
                  <a:ext cx="294076" cy="231526"/>
                  <a:chOff x="-3310843" y="700986"/>
                  <a:chExt cx="182598" cy="143759"/>
                </a:xfrm>
              </p:grpSpPr>
              <p:grpSp>
                <p:nvGrpSpPr>
                  <p:cNvPr id="375" name="Groep 374">
                    <a:extLst>
                      <a:ext uri="{FF2B5EF4-FFF2-40B4-BE49-F238E27FC236}">
                        <a16:creationId xmlns:a16="http://schemas.microsoft.com/office/drawing/2014/main" id="{E58111B9-490F-4219-8D4A-82973DD0A7F7}"/>
                      </a:ext>
                    </a:extLst>
                  </p:cNvPr>
                  <p:cNvGrpSpPr/>
                  <p:nvPr userDrawn="1"/>
                </p:nvGrpSpPr>
                <p:grpSpPr>
                  <a:xfrm>
                    <a:off x="-3310843" y="700986"/>
                    <a:ext cx="182598" cy="143759"/>
                    <a:chOff x="-3310843" y="700986"/>
                    <a:chExt cx="182598" cy="143759"/>
                  </a:xfrm>
                </p:grpSpPr>
                <p:cxnSp>
                  <p:nvCxnSpPr>
                    <p:cNvPr id="379" name="Rechte verbindingslijn 378">
                      <a:extLst>
                        <a:ext uri="{FF2B5EF4-FFF2-40B4-BE49-F238E27FC236}">
                          <a16:creationId xmlns:a16="http://schemas.microsoft.com/office/drawing/2014/main" id="{EABC8F82-3487-4AA8-B97C-843C1BB9E51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80" name="Rechte verbindingslijn 379">
                      <a:extLst>
                        <a:ext uri="{FF2B5EF4-FFF2-40B4-BE49-F238E27FC236}">
                          <a16:creationId xmlns:a16="http://schemas.microsoft.com/office/drawing/2014/main" id="{3D727D3A-7AFD-4AF0-9943-C9E3FE49BB5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81" name="Rechte verbindingslijn 380">
                      <a:extLst>
                        <a:ext uri="{FF2B5EF4-FFF2-40B4-BE49-F238E27FC236}">
                          <a16:creationId xmlns:a16="http://schemas.microsoft.com/office/drawing/2014/main" id="{2F7C8B33-C34E-4D7F-A02D-C46DDEA5DD3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82" name="Rechte verbindingslijn 381">
                      <a:extLst>
                        <a:ext uri="{FF2B5EF4-FFF2-40B4-BE49-F238E27FC236}">
                          <a16:creationId xmlns:a16="http://schemas.microsoft.com/office/drawing/2014/main" id="{4D84F2EA-2DC9-4163-838C-325FA0D561DD}"/>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83" name="Rechte verbindingslijn 382">
                      <a:extLst>
                        <a:ext uri="{FF2B5EF4-FFF2-40B4-BE49-F238E27FC236}">
                          <a16:creationId xmlns:a16="http://schemas.microsoft.com/office/drawing/2014/main" id="{D0ADC9CD-10C2-41A9-8A76-B7FAAA538397}"/>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76" name="Groep 375">
                    <a:extLst>
                      <a:ext uri="{FF2B5EF4-FFF2-40B4-BE49-F238E27FC236}">
                        <a16:creationId xmlns:a16="http://schemas.microsoft.com/office/drawing/2014/main" id="{0CB051DD-8A8F-433A-AD79-D23958A923C5}"/>
                      </a:ext>
                    </a:extLst>
                  </p:cNvPr>
                  <p:cNvGrpSpPr/>
                  <p:nvPr userDrawn="1"/>
                </p:nvGrpSpPr>
                <p:grpSpPr>
                  <a:xfrm flipH="1">
                    <a:off x="-3310774" y="735854"/>
                    <a:ext cx="88801" cy="72568"/>
                    <a:chOff x="-2091059" y="1395403"/>
                    <a:chExt cx="157316" cy="128558"/>
                  </a:xfrm>
                </p:grpSpPr>
                <p:sp>
                  <p:nvSpPr>
                    <p:cNvPr id="377" name="Rechthoek 376">
                      <a:extLst>
                        <a:ext uri="{FF2B5EF4-FFF2-40B4-BE49-F238E27FC236}">
                          <a16:creationId xmlns:a16="http://schemas.microsoft.com/office/drawing/2014/main" id="{039330E6-3B69-47BE-84F6-0F49906595D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78" name="Pijl: punthaak 377">
                      <a:extLst>
                        <a:ext uri="{FF2B5EF4-FFF2-40B4-BE49-F238E27FC236}">
                          <a16:creationId xmlns:a16="http://schemas.microsoft.com/office/drawing/2014/main" id="{826F44D2-E9D9-49A2-ACEA-158624A808C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71" name="Rechthoek 370">
                <a:extLst>
                  <a:ext uri="{FF2B5EF4-FFF2-40B4-BE49-F238E27FC236}">
                    <a16:creationId xmlns:a16="http://schemas.microsoft.com/office/drawing/2014/main" id="{B03FB0AC-FA25-4C0C-BE72-AB949516548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72" name="Rechthoek 371">
                <a:extLst>
                  <a:ext uri="{FF2B5EF4-FFF2-40B4-BE49-F238E27FC236}">
                    <a16:creationId xmlns:a16="http://schemas.microsoft.com/office/drawing/2014/main" id="{DD2CD3EC-A962-4BB2-8359-8E561DCA248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45" name="Rechte verbindingslijn 344">
              <a:extLst>
                <a:ext uri="{FF2B5EF4-FFF2-40B4-BE49-F238E27FC236}">
                  <a16:creationId xmlns:a16="http://schemas.microsoft.com/office/drawing/2014/main" id="{2DB0390E-6BD5-4FCB-A11A-5208B0D380B4}"/>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46" name="Rechthoek 345">
              <a:extLst>
                <a:ext uri="{FF2B5EF4-FFF2-40B4-BE49-F238E27FC236}">
                  <a16:creationId xmlns:a16="http://schemas.microsoft.com/office/drawing/2014/main" id="{8401E599-6629-418F-9269-7B6287B1F7D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7" name="Ovaal 346">
              <a:extLst>
                <a:ext uri="{FF2B5EF4-FFF2-40B4-BE49-F238E27FC236}">
                  <a16:creationId xmlns:a16="http://schemas.microsoft.com/office/drawing/2014/main" id="{8F49A5C1-F7AF-45DA-B859-B5C708FDA72F}"/>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48" name="Rechthoek 347">
              <a:extLst>
                <a:ext uri="{FF2B5EF4-FFF2-40B4-BE49-F238E27FC236}">
                  <a16:creationId xmlns:a16="http://schemas.microsoft.com/office/drawing/2014/main" id="{E3CAE000-752F-4A28-AF2E-46E8DDB222D0}"/>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49" name="Ovaal 348">
              <a:extLst>
                <a:ext uri="{FF2B5EF4-FFF2-40B4-BE49-F238E27FC236}">
                  <a16:creationId xmlns:a16="http://schemas.microsoft.com/office/drawing/2014/main" id="{6851E319-3ADF-4ED9-A4D2-77EDBB17E481}"/>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0" name="Rechthoek 349">
              <a:extLst>
                <a:ext uri="{FF2B5EF4-FFF2-40B4-BE49-F238E27FC236}">
                  <a16:creationId xmlns:a16="http://schemas.microsoft.com/office/drawing/2014/main" id="{0C345076-C272-4D4D-B945-BEA0925B4C04}"/>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51" name="Ovaal 350">
              <a:extLst>
                <a:ext uri="{FF2B5EF4-FFF2-40B4-BE49-F238E27FC236}">
                  <a16:creationId xmlns:a16="http://schemas.microsoft.com/office/drawing/2014/main" id="{24504875-F52E-4618-A326-DDAC6C0A5DC4}"/>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52" name="Rechthoek 351">
              <a:extLst>
                <a:ext uri="{FF2B5EF4-FFF2-40B4-BE49-F238E27FC236}">
                  <a16:creationId xmlns:a16="http://schemas.microsoft.com/office/drawing/2014/main" id="{6CFE81D4-C761-4915-9791-F8291A412683}"/>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53" name="Ovaal 352">
              <a:extLst>
                <a:ext uri="{FF2B5EF4-FFF2-40B4-BE49-F238E27FC236}">
                  <a16:creationId xmlns:a16="http://schemas.microsoft.com/office/drawing/2014/main" id="{FB6DED21-2D45-4BA7-A6C1-2D6FE74E4926}"/>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54" name="Rechthoek 353">
              <a:extLst>
                <a:ext uri="{FF2B5EF4-FFF2-40B4-BE49-F238E27FC236}">
                  <a16:creationId xmlns:a16="http://schemas.microsoft.com/office/drawing/2014/main" id="{B1BC0082-DCCA-4B07-B5E9-7303F0021207}"/>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55" name="Rechthoek 354">
              <a:extLst>
                <a:ext uri="{FF2B5EF4-FFF2-40B4-BE49-F238E27FC236}">
                  <a16:creationId xmlns:a16="http://schemas.microsoft.com/office/drawing/2014/main" id="{F8D85C51-A58C-4B2F-80EB-A5437561EE44}"/>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56" name="Rechte verbindingslijn 355">
              <a:extLst>
                <a:ext uri="{FF2B5EF4-FFF2-40B4-BE49-F238E27FC236}">
                  <a16:creationId xmlns:a16="http://schemas.microsoft.com/office/drawing/2014/main" id="{CB0D861B-B0C9-4540-A210-34CBF16CE4F5}"/>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57" name="Ovaal 356">
              <a:extLst>
                <a:ext uri="{FF2B5EF4-FFF2-40B4-BE49-F238E27FC236}">
                  <a16:creationId xmlns:a16="http://schemas.microsoft.com/office/drawing/2014/main" id="{01B3C5E0-5C0F-4F83-9280-525139D247DA}"/>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58" name="Rechthoek 357">
              <a:extLst>
                <a:ext uri="{FF2B5EF4-FFF2-40B4-BE49-F238E27FC236}">
                  <a16:creationId xmlns:a16="http://schemas.microsoft.com/office/drawing/2014/main" id="{22E73C43-B746-48D5-9B33-4960EDB78AD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59" name="Ovaal 358">
              <a:extLst>
                <a:ext uri="{FF2B5EF4-FFF2-40B4-BE49-F238E27FC236}">
                  <a16:creationId xmlns:a16="http://schemas.microsoft.com/office/drawing/2014/main" id="{2FA829D8-F2AD-4FDC-BB9D-5ABA7E6CDFBD}"/>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0" name="Rechthoek 359">
              <a:extLst>
                <a:ext uri="{FF2B5EF4-FFF2-40B4-BE49-F238E27FC236}">
                  <a16:creationId xmlns:a16="http://schemas.microsoft.com/office/drawing/2014/main" id="{3AC63470-DE9E-40FA-9CE0-85990C6A71B0}"/>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413" name="Instructie">
            <a:extLst>
              <a:ext uri="{FF2B5EF4-FFF2-40B4-BE49-F238E27FC236}">
                <a16:creationId xmlns:a16="http://schemas.microsoft.com/office/drawing/2014/main" id="{9B4D08FE-3B9F-4C54-96C9-209DD32C9829}"/>
              </a:ext>
            </a:extLst>
          </p:cNvPr>
          <p:cNvGrpSpPr/>
          <p:nvPr userDrawn="1"/>
        </p:nvGrpSpPr>
        <p:grpSpPr>
          <a:xfrm>
            <a:off x="12389714" y="5221435"/>
            <a:ext cx="3183677" cy="1636565"/>
            <a:chOff x="12389714" y="4327164"/>
            <a:chExt cx="3183677" cy="1636565"/>
          </a:xfrm>
        </p:grpSpPr>
        <p:cxnSp>
          <p:nvCxnSpPr>
            <p:cNvPr id="414" name="Rechte verbindingslijn 413">
              <a:extLst>
                <a:ext uri="{FF2B5EF4-FFF2-40B4-BE49-F238E27FC236}">
                  <a16:creationId xmlns:a16="http://schemas.microsoft.com/office/drawing/2014/main" id="{4B921F6F-0358-4DCA-91E0-E7FC99BE1911}"/>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415" name="Rechthoek 414">
              <a:extLst>
                <a:ext uri="{FF2B5EF4-FFF2-40B4-BE49-F238E27FC236}">
                  <a16:creationId xmlns:a16="http://schemas.microsoft.com/office/drawing/2014/main" id="{C366EED5-E9A5-4836-9C27-2BB486471B58}"/>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416" name="Ovaal 415">
              <a:extLst>
                <a:ext uri="{FF2B5EF4-FFF2-40B4-BE49-F238E27FC236}">
                  <a16:creationId xmlns:a16="http://schemas.microsoft.com/office/drawing/2014/main" id="{2972B8C8-846C-4BF6-835F-A3CD25E8D086}"/>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17" name="Rechte verbindingslijn 416">
              <a:extLst>
                <a:ext uri="{FF2B5EF4-FFF2-40B4-BE49-F238E27FC236}">
                  <a16:creationId xmlns:a16="http://schemas.microsoft.com/office/drawing/2014/main" id="{774CA5D0-74DF-4019-8720-B6E41473200B}"/>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418" name="Rechthoek 417">
              <a:extLst>
                <a:ext uri="{FF2B5EF4-FFF2-40B4-BE49-F238E27FC236}">
                  <a16:creationId xmlns:a16="http://schemas.microsoft.com/office/drawing/2014/main" id="{735A1CF7-89A2-476A-BC09-163E08C0262C}"/>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419" name="Groep 418">
              <a:extLst>
                <a:ext uri="{FF2B5EF4-FFF2-40B4-BE49-F238E27FC236}">
                  <a16:creationId xmlns:a16="http://schemas.microsoft.com/office/drawing/2014/main" id="{B56ECA9B-E982-4D44-AC96-7C265F850E3A}"/>
                </a:ext>
              </a:extLst>
            </p:cNvPr>
            <p:cNvGrpSpPr/>
            <p:nvPr userDrawn="1"/>
          </p:nvGrpSpPr>
          <p:grpSpPr>
            <a:xfrm>
              <a:off x="12755394" y="5222855"/>
              <a:ext cx="1714530" cy="639425"/>
              <a:chOff x="12757283" y="4365594"/>
              <a:chExt cx="1714530" cy="639425"/>
            </a:xfrm>
          </p:grpSpPr>
          <p:sp>
            <p:nvSpPr>
              <p:cNvPr id="420" name="Rechthoek 419">
                <a:extLst>
                  <a:ext uri="{FF2B5EF4-FFF2-40B4-BE49-F238E27FC236}">
                    <a16:creationId xmlns:a16="http://schemas.microsoft.com/office/drawing/2014/main" id="{CB809EF6-9787-44BE-ADD0-AAC346E18A6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421" name="Rechthoek 420">
                <a:extLst>
                  <a:ext uri="{FF2B5EF4-FFF2-40B4-BE49-F238E27FC236}">
                    <a16:creationId xmlns:a16="http://schemas.microsoft.com/office/drawing/2014/main" id="{B6393077-16EB-4782-9C77-3EE691B8044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22" name="Tekstvak 421">
                <a:extLst>
                  <a:ext uri="{FF2B5EF4-FFF2-40B4-BE49-F238E27FC236}">
                    <a16:creationId xmlns:a16="http://schemas.microsoft.com/office/drawing/2014/main" id="{9A999F29-BC59-441E-984E-221C496DF413}"/>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423" name="Tekstvak 422">
                <a:extLst>
                  <a:ext uri="{FF2B5EF4-FFF2-40B4-BE49-F238E27FC236}">
                    <a16:creationId xmlns:a16="http://schemas.microsoft.com/office/drawing/2014/main" id="{EA26D55F-4BB1-40D6-AB23-FC9F53287C3F}"/>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424" name="Picture 3">
                <a:extLst>
                  <a:ext uri="{FF2B5EF4-FFF2-40B4-BE49-F238E27FC236}">
                    <a16:creationId xmlns:a16="http://schemas.microsoft.com/office/drawing/2014/main" id="{0C2AE933-31D8-46F1-886A-47D3D14699F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25" name="Groep 424">
                <a:extLst>
                  <a:ext uri="{FF2B5EF4-FFF2-40B4-BE49-F238E27FC236}">
                    <a16:creationId xmlns:a16="http://schemas.microsoft.com/office/drawing/2014/main" id="{1EE2066A-8F45-4F01-AA61-2EBBA8A7DC41}"/>
                  </a:ext>
                </a:extLst>
              </p:cNvPr>
              <p:cNvGrpSpPr/>
              <p:nvPr userDrawn="1"/>
            </p:nvGrpSpPr>
            <p:grpSpPr>
              <a:xfrm>
                <a:off x="12831198" y="4432250"/>
                <a:ext cx="139861" cy="152244"/>
                <a:chOff x="12574450" y="6053892"/>
                <a:chExt cx="169232" cy="184215"/>
              </a:xfrm>
            </p:grpSpPr>
            <p:sp>
              <p:nvSpPr>
                <p:cNvPr id="448" name="Rechthoek 447">
                  <a:extLst>
                    <a:ext uri="{FF2B5EF4-FFF2-40B4-BE49-F238E27FC236}">
                      <a16:creationId xmlns:a16="http://schemas.microsoft.com/office/drawing/2014/main" id="{EA8BA761-85BA-436C-A059-31152614421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449" name="Rechthoek 448">
                  <a:extLst>
                    <a:ext uri="{FF2B5EF4-FFF2-40B4-BE49-F238E27FC236}">
                      <a16:creationId xmlns:a16="http://schemas.microsoft.com/office/drawing/2014/main" id="{BD4DAAD5-6760-404D-AAFF-798B35A98849}"/>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450" name="Rechthoek 449">
                  <a:extLst>
                    <a:ext uri="{FF2B5EF4-FFF2-40B4-BE49-F238E27FC236}">
                      <a16:creationId xmlns:a16="http://schemas.microsoft.com/office/drawing/2014/main" id="{E2F9CBF8-C926-4B40-A968-A9D2111544E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426" name="Groep 425">
                <a:extLst>
                  <a:ext uri="{FF2B5EF4-FFF2-40B4-BE49-F238E27FC236}">
                    <a16:creationId xmlns:a16="http://schemas.microsoft.com/office/drawing/2014/main" id="{CAC672DC-93C6-42AC-913B-1D7F7D3B043F}"/>
                  </a:ext>
                </a:extLst>
              </p:cNvPr>
              <p:cNvGrpSpPr/>
              <p:nvPr userDrawn="1"/>
            </p:nvGrpSpPr>
            <p:grpSpPr>
              <a:xfrm>
                <a:off x="12831198" y="4748585"/>
                <a:ext cx="184916" cy="120210"/>
                <a:chOff x="8815516" y="1076284"/>
                <a:chExt cx="503174" cy="327105"/>
              </a:xfrm>
            </p:grpSpPr>
            <p:sp>
              <p:nvSpPr>
                <p:cNvPr id="427" name="Rechthoek 426">
                  <a:extLst>
                    <a:ext uri="{FF2B5EF4-FFF2-40B4-BE49-F238E27FC236}">
                      <a16:creationId xmlns:a16="http://schemas.microsoft.com/office/drawing/2014/main" id="{4CEED166-EC7D-463D-A510-577AA161DF3B}"/>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428" name="Groep 427">
                  <a:extLst>
                    <a:ext uri="{FF2B5EF4-FFF2-40B4-BE49-F238E27FC236}">
                      <a16:creationId xmlns:a16="http://schemas.microsoft.com/office/drawing/2014/main" id="{38641603-4295-4417-BD35-F2DB26F24122}"/>
                    </a:ext>
                  </a:extLst>
                </p:cNvPr>
                <p:cNvGrpSpPr/>
                <p:nvPr userDrawn="1"/>
              </p:nvGrpSpPr>
              <p:grpSpPr>
                <a:xfrm>
                  <a:off x="8815517" y="1076284"/>
                  <a:ext cx="503173" cy="327105"/>
                  <a:chOff x="1351248" y="-683635"/>
                  <a:chExt cx="503173" cy="327105"/>
                </a:xfrm>
              </p:grpSpPr>
              <p:grpSp>
                <p:nvGrpSpPr>
                  <p:cNvPr id="429" name="Groep 428">
                    <a:extLst>
                      <a:ext uri="{FF2B5EF4-FFF2-40B4-BE49-F238E27FC236}">
                        <a16:creationId xmlns:a16="http://schemas.microsoft.com/office/drawing/2014/main" id="{F7A85E49-C1D0-4E0C-9F04-353441206484}"/>
                      </a:ext>
                    </a:extLst>
                  </p:cNvPr>
                  <p:cNvGrpSpPr/>
                  <p:nvPr userDrawn="1"/>
                </p:nvGrpSpPr>
                <p:grpSpPr>
                  <a:xfrm>
                    <a:off x="1351248" y="-683635"/>
                    <a:ext cx="375186" cy="293652"/>
                    <a:chOff x="1094874" y="-884923"/>
                    <a:chExt cx="884668" cy="692417"/>
                  </a:xfrm>
                </p:grpSpPr>
                <p:sp>
                  <p:nvSpPr>
                    <p:cNvPr id="434" name="Rechthoek 433">
                      <a:extLst>
                        <a:ext uri="{FF2B5EF4-FFF2-40B4-BE49-F238E27FC236}">
                          <a16:creationId xmlns:a16="http://schemas.microsoft.com/office/drawing/2014/main" id="{7130CC2E-7A9A-4602-91A5-2AB217E4D04C}"/>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435" name="Groep 434">
                      <a:extLst>
                        <a:ext uri="{FF2B5EF4-FFF2-40B4-BE49-F238E27FC236}">
                          <a16:creationId xmlns:a16="http://schemas.microsoft.com/office/drawing/2014/main" id="{985962D7-B463-4F68-8BD1-FC80BA855DEE}"/>
                        </a:ext>
                      </a:extLst>
                    </p:cNvPr>
                    <p:cNvGrpSpPr/>
                    <p:nvPr userDrawn="1"/>
                  </p:nvGrpSpPr>
                  <p:grpSpPr>
                    <a:xfrm>
                      <a:off x="1094874" y="-878306"/>
                      <a:ext cx="867364" cy="685800"/>
                      <a:chOff x="1094874" y="-878306"/>
                      <a:chExt cx="867364" cy="613611"/>
                    </a:xfrm>
                  </p:grpSpPr>
                  <p:cxnSp>
                    <p:nvCxnSpPr>
                      <p:cNvPr id="441" name="Rechte verbindingslijn 440">
                        <a:extLst>
                          <a:ext uri="{FF2B5EF4-FFF2-40B4-BE49-F238E27FC236}">
                            <a16:creationId xmlns:a16="http://schemas.microsoft.com/office/drawing/2014/main" id="{1564854A-018B-4AE9-9E12-67AC8A9ADAF7}"/>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2" name="Rechte verbindingslijn 441">
                        <a:extLst>
                          <a:ext uri="{FF2B5EF4-FFF2-40B4-BE49-F238E27FC236}">
                            <a16:creationId xmlns:a16="http://schemas.microsoft.com/office/drawing/2014/main" id="{CBF4BBCD-DF4F-4CA2-BF9B-FC24B69CF1F8}"/>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3" name="Groep 442">
                        <a:extLst>
                          <a:ext uri="{FF2B5EF4-FFF2-40B4-BE49-F238E27FC236}">
                            <a16:creationId xmlns:a16="http://schemas.microsoft.com/office/drawing/2014/main" id="{3F37742E-B114-4E60-9F40-407545347395}"/>
                          </a:ext>
                        </a:extLst>
                      </p:cNvPr>
                      <p:cNvGrpSpPr/>
                      <p:nvPr userDrawn="1"/>
                    </p:nvGrpSpPr>
                    <p:grpSpPr>
                      <a:xfrm>
                        <a:off x="1270535" y="-878306"/>
                        <a:ext cx="526983" cy="613611"/>
                        <a:chOff x="1270535" y="-745959"/>
                        <a:chExt cx="526983" cy="481264"/>
                      </a:xfrm>
                    </p:grpSpPr>
                    <p:cxnSp>
                      <p:nvCxnSpPr>
                        <p:cNvPr id="444" name="Rechte verbindingslijn 443">
                          <a:extLst>
                            <a:ext uri="{FF2B5EF4-FFF2-40B4-BE49-F238E27FC236}">
                              <a16:creationId xmlns:a16="http://schemas.microsoft.com/office/drawing/2014/main" id="{D0C0EB10-A86C-4EE2-B317-66A93552DCE6}"/>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5" name="Rechte verbindingslijn 444">
                          <a:extLst>
                            <a:ext uri="{FF2B5EF4-FFF2-40B4-BE49-F238E27FC236}">
                              <a16:creationId xmlns:a16="http://schemas.microsoft.com/office/drawing/2014/main" id="{7ABD2918-2533-47CA-8231-4850611F30DD}"/>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6" name="Rechte verbindingslijn 445">
                          <a:extLst>
                            <a:ext uri="{FF2B5EF4-FFF2-40B4-BE49-F238E27FC236}">
                              <a16:creationId xmlns:a16="http://schemas.microsoft.com/office/drawing/2014/main" id="{E19760F4-2802-44D5-87A1-7131593D069E}"/>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7" name="Rechte verbindingslijn 446">
                          <a:extLst>
                            <a:ext uri="{FF2B5EF4-FFF2-40B4-BE49-F238E27FC236}">
                              <a16:creationId xmlns:a16="http://schemas.microsoft.com/office/drawing/2014/main" id="{8F88EA5B-7A8A-47F6-A09F-D50AB33CA16F}"/>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36" name="Rechte verbindingslijn 435">
                      <a:extLst>
                        <a:ext uri="{FF2B5EF4-FFF2-40B4-BE49-F238E27FC236}">
                          <a16:creationId xmlns:a16="http://schemas.microsoft.com/office/drawing/2014/main" id="{B4254931-C035-4023-9155-3F0D34E8A87A}"/>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37" name="Groep 436">
                      <a:extLst>
                        <a:ext uri="{FF2B5EF4-FFF2-40B4-BE49-F238E27FC236}">
                          <a16:creationId xmlns:a16="http://schemas.microsoft.com/office/drawing/2014/main" id="{C2C6F39E-9DAD-49CA-AB4D-904D46EB2CA2}"/>
                        </a:ext>
                      </a:extLst>
                    </p:cNvPr>
                    <p:cNvGrpSpPr/>
                    <p:nvPr userDrawn="1"/>
                  </p:nvGrpSpPr>
                  <p:grpSpPr>
                    <a:xfrm>
                      <a:off x="1094874" y="-607596"/>
                      <a:ext cx="878306" cy="276726"/>
                      <a:chOff x="1106905" y="-607596"/>
                      <a:chExt cx="878307" cy="276726"/>
                    </a:xfrm>
                  </p:grpSpPr>
                  <p:cxnSp>
                    <p:nvCxnSpPr>
                      <p:cNvPr id="438" name="Rechte verbindingslijn 437">
                        <a:extLst>
                          <a:ext uri="{FF2B5EF4-FFF2-40B4-BE49-F238E27FC236}">
                            <a16:creationId xmlns:a16="http://schemas.microsoft.com/office/drawing/2014/main" id="{597988A4-698D-48B4-9B35-D811D0995B42}"/>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39" name="Rechte verbindingslijn 438">
                        <a:extLst>
                          <a:ext uri="{FF2B5EF4-FFF2-40B4-BE49-F238E27FC236}">
                            <a16:creationId xmlns:a16="http://schemas.microsoft.com/office/drawing/2014/main" id="{1257D7DA-D52D-42AB-AD3C-E815373ECD8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0" name="Rechte verbindingslijn 439">
                        <a:extLst>
                          <a:ext uri="{FF2B5EF4-FFF2-40B4-BE49-F238E27FC236}">
                            <a16:creationId xmlns:a16="http://schemas.microsoft.com/office/drawing/2014/main" id="{6127D13F-5741-4431-9709-86BAC0CD1DA8}"/>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30" name="Groep 429">
                    <a:extLst>
                      <a:ext uri="{FF2B5EF4-FFF2-40B4-BE49-F238E27FC236}">
                        <a16:creationId xmlns:a16="http://schemas.microsoft.com/office/drawing/2014/main" id="{876B69FB-0CDA-4086-8C45-CB19F5286262}"/>
                      </a:ext>
                    </a:extLst>
                  </p:cNvPr>
                  <p:cNvGrpSpPr/>
                  <p:nvPr userDrawn="1"/>
                </p:nvGrpSpPr>
                <p:grpSpPr>
                  <a:xfrm rot="2700000">
                    <a:off x="1605871" y="-605080"/>
                    <a:ext cx="90079" cy="407021"/>
                    <a:chOff x="3130062" y="-817193"/>
                    <a:chExt cx="131884" cy="595920"/>
                  </a:xfrm>
                  <a:solidFill>
                    <a:srgbClr val="3399FF"/>
                  </a:solidFill>
                </p:grpSpPr>
                <p:sp>
                  <p:nvSpPr>
                    <p:cNvPr id="431" name="Rechthoek 430">
                      <a:extLst>
                        <a:ext uri="{FF2B5EF4-FFF2-40B4-BE49-F238E27FC236}">
                          <a16:creationId xmlns:a16="http://schemas.microsoft.com/office/drawing/2014/main" id="{F9E8C5B3-1D8C-48F7-B42B-02B479558124}"/>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32" name="Rechthoek: afgeronde bovenhoeken 431">
                      <a:extLst>
                        <a:ext uri="{FF2B5EF4-FFF2-40B4-BE49-F238E27FC236}">
                          <a16:creationId xmlns:a16="http://schemas.microsoft.com/office/drawing/2014/main" id="{B4C2AD3F-AED4-488F-A248-1C8D646F8BE0}"/>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33" name="Gelijkbenige driehoek 432">
                      <a:extLst>
                        <a:ext uri="{FF2B5EF4-FFF2-40B4-BE49-F238E27FC236}">
                          <a16:creationId xmlns:a16="http://schemas.microsoft.com/office/drawing/2014/main" id="{E77F4152-4F2E-40E6-AD49-D1C169ABE1F6}"/>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451" name="Instructie">
            <a:extLst>
              <a:ext uri="{FF2B5EF4-FFF2-40B4-BE49-F238E27FC236}">
                <a16:creationId xmlns:a16="http://schemas.microsoft.com/office/drawing/2014/main" id="{BC046C7C-31B8-4FEE-A41E-023753FA2270}"/>
              </a:ext>
            </a:extLst>
          </p:cNvPr>
          <p:cNvGrpSpPr/>
          <p:nvPr userDrawn="1"/>
        </p:nvGrpSpPr>
        <p:grpSpPr>
          <a:xfrm>
            <a:off x="12391601" y="0"/>
            <a:ext cx="3183677" cy="2499789"/>
            <a:chOff x="12391601" y="0"/>
            <a:chExt cx="3183677" cy="2499789"/>
          </a:xfrm>
        </p:grpSpPr>
        <p:sp>
          <p:nvSpPr>
            <p:cNvPr id="452" name="Rechthoek 451">
              <a:extLst>
                <a:ext uri="{FF2B5EF4-FFF2-40B4-BE49-F238E27FC236}">
                  <a16:creationId xmlns:a16="http://schemas.microsoft.com/office/drawing/2014/main" id="{88A8DADE-A810-4550-93AF-36D79BC56B2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453" name="Ovaal 452">
              <a:extLst>
                <a:ext uri="{FF2B5EF4-FFF2-40B4-BE49-F238E27FC236}">
                  <a16:creationId xmlns:a16="http://schemas.microsoft.com/office/drawing/2014/main" id="{B27BE511-1FB7-4C24-8DE6-4914260A3427}"/>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54" name="Rechte verbindingslijn 453">
              <a:extLst>
                <a:ext uri="{FF2B5EF4-FFF2-40B4-BE49-F238E27FC236}">
                  <a16:creationId xmlns:a16="http://schemas.microsoft.com/office/drawing/2014/main" id="{3F0F176E-B8B4-4D57-89EE-A3AB7AFC41C9}"/>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55" name="Rechte verbindingslijn 454">
              <a:extLst>
                <a:ext uri="{FF2B5EF4-FFF2-40B4-BE49-F238E27FC236}">
                  <a16:creationId xmlns:a16="http://schemas.microsoft.com/office/drawing/2014/main" id="{191079B8-F2A5-4A42-ACF1-A58D43A9F95E}"/>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56" name="Rechthoek 455">
              <a:extLst>
                <a:ext uri="{FF2B5EF4-FFF2-40B4-BE49-F238E27FC236}">
                  <a16:creationId xmlns:a16="http://schemas.microsoft.com/office/drawing/2014/main" id="{81EF7655-386B-4303-BB38-B453138B714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57" name="Ovaal 456">
              <a:extLst>
                <a:ext uri="{FF2B5EF4-FFF2-40B4-BE49-F238E27FC236}">
                  <a16:creationId xmlns:a16="http://schemas.microsoft.com/office/drawing/2014/main" id="{ABCBA678-FEA7-4A43-A4AF-065E86B90E3F}"/>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58" name="Rechthoek 457">
              <a:extLst>
                <a:ext uri="{FF2B5EF4-FFF2-40B4-BE49-F238E27FC236}">
                  <a16:creationId xmlns:a16="http://schemas.microsoft.com/office/drawing/2014/main" id="{D32C15D3-3993-45E3-B75E-6250AB0CFC4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59" name="Groep 458">
              <a:extLst>
                <a:ext uri="{FF2B5EF4-FFF2-40B4-BE49-F238E27FC236}">
                  <a16:creationId xmlns:a16="http://schemas.microsoft.com/office/drawing/2014/main" id="{314A65FB-B8B4-451D-BDF6-0C96844627AF}"/>
                </a:ext>
              </a:extLst>
            </p:cNvPr>
            <p:cNvGrpSpPr/>
            <p:nvPr userDrawn="1"/>
          </p:nvGrpSpPr>
          <p:grpSpPr>
            <a:xfrm>
              <a:off x="12757282" y="2184550"/>
              <a:ext cx="825500" cy="209550"/>
              <a:chOff x="13504624" y="2482850"/>
              <a:chExt cx="825500" cy="209550"/>
            </a:xfrm>
          </p:grpSpPr>
          <p:sp>
            <p:nvSpPr>
              <p:cNvPr id="465" name="Rechthoek 464">
                <a:extLst>
                  <a:ext uri="{FF2B5EF4-FFF2-40B4-BE49-F238E27FC236}">
                    <a16:creationId xmlns:a16="http://schemas.microsoft.com/office/drawing/2014/main" id="{15FEBF33-08AB-46E8-A8D0-DB42B9B9D65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466" name="Rechte verbindingslijn 465">
                <a:extLst>
                  <a:ext uri="{FF2B5EF4-FFF2-40B4-BE49-F238E27FC236}">
                    <a16:creationId xmlns:a16="http://schemas.microsoft.com/office/drawing/2014/main" id="{46989E4A-34C5-4761-8A15-C29103EA52C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67" name="Gelijkbenige driehoek 466">
                <a:extLst>
                  <a:ext uri="{FF2B5EF4-FFF2-40B4-BE49-F238E27FC236}">
                    <a16:creationId xmlns:a16="http://schemas.microsoft.com/office/drawing/2014/main" id="{29FA1127-EED4-4CBE-AB6D-7D480680ADE5}"/>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460" name="Rechte verbindingslijn 459">
              <a:extLst>
                <a:ext uri="{FF2B5EF4-FFF2-40B4-BE49-F238E27FC236}">
                  <a16:creationId xmlns:a16="http://schemas.microsoft.com/office/drawing/2014/main" id="{173879B3-3666-4C72-B73F-020661EAC019}"/>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461" name="Groep 460">
              <a:extLst>
                <a:ext uri="{FF2B5EF4-FFF2-40B4-BE49-F238E27FC236}">
                  <a16:creationId xmlns:a16="http://schemas.microsoft.com/office/drawing/2014/main" id="{8A7A1436-7957-402D-ACAE-0604B5DBE950}"/>
                </a:ext>
              </a:extLst>
            </p:cNvPr>
            <p:cNvGrpSpPr/>
            <p:nvPr userDrawn="1"/>
          </p:nvGrpSpPr>
          <p:grpSpPr>
            <a:xfrm>
              <a:off x="12751697" y="1147804"/>
              <a:ext cx="289372" cy="314992"/>
              <a:chOff x="7322769" y="-310267"/>
              <a:chExt cx="289372" cy="314992"/>
            </a:xfrm>
          </p:grpSpPr>
          <p:sp>
            <p:nvSpPr>
              <p:cNvPr id="462" name="Rechthoek 461">
                <a:extLst>
                  <a:ext uri="{FF2B5EF4-FFF2-40B4-BE49-F238E27FC236}">
                    <a16:creationId xmlns:a16="http://schemas.microsoft.com/office/drawing/2014/main" id="{774F00CE-9B97-4939-BBDC-BAEDEED5ED74}"/>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63" name="Rechthoek 462">
                <a:extLst>
                  <a:ext uri="{FF2B5EF4-FFF2-40B4-BE49-F238E27FC236}">
                    <a16:creationId xmlns:a16="http://schemas.microsoft.com/office/drawing/2014/main" id="{BA671A83-F98F-4E30-B11C-E763BC6BD9DD}"/>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64" name="Rechthoek 463">
                <a:extLst>
                  <a:ext uri="{FF2B5EF4-FFF2-40B4-BE49-F238E27FC236}">
                    <a16:creationId xmlns:a16="http://schemas.microsoft.com/office/drawing/2014/main" id="{0AB2CF06-AA30-459B-A75A-39CDFC167E78}"/>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17410753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KST / GRAFIEK 4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3934476"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8A8F5FD9-59EB-4403-AF16-DFDD0A0EB519}"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GRAFIEK 4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8783618" y="1459111"/>
            <a:ext cx="2868127"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5015238"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8783618" y="3698999"/>
            <a:ext cx="2868128"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6" name="Tijdelijke aanduiding voor grafiek 17">
            <a:extLst>
              <a:ext uri="{FF2B5EF4-FFF2-40B4-BE49-F238E27FC236}">
                <a16:creationId xmlns:a16="http://schemas.microsoft.com/office/drawing/2014/main" id="{6424E38A-BE64-4611-8EA6-56DEDA6F1288}"/>
              </a:ext>
            </a:extLst>
          </p:cNvPr>
          <p:cNvSpPr>
            <a:spLocks noGrp="1"/>
          </p:cNvSpPr>
          <p:nvPr>
            <p:ph type="chart" sz="quarter" idx="18" hasCustomPrompt="1"/>
          </p:nvPr>
        </p:nvSpPr>
        <p:spPr>
          <a:xfrm>
            <a:off x="5555364" y="1459111"/>
            <a:ext cx="2868127"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7" name="Tijdelijke aanduiding voor grafiek 17">
            <a:extLst>
              <a:ext uri="{FF2B5EF4-FFF2-40B4-BE49-F238E27FC236}">
                <a16:creationId xmlns:a16="http://schemas.microsoft.com/office/drawing/2014/main" id="{B1695F49-FFC5-4D3F-8068-C37855441895}"/>
              </a:ext>
            </a:extLst>
          </p:cNvPr>
          <p:cNvSpPr>
            <a:spLocks noGrp="1"/>
          </p:cNvSpPr>
          <p:nvPr>
            <p:ph type="chart" sz="quarter" idx="19" hasCustomPrompt="1"/>
          </p:nvPr>
        </p:nvSpPr>
        <p:spPr>
          <a:xfrm>
            <a:off x="5555364" y="3698999"/>
            <a:ext cx="2868128" cy="1878840"/>
          </a:xfrm>
          <a:solidFill>
            <a:schemeClr val="bg1">
              <a:lumMod val="95000"/>
            </a:schemeClr>
          </a:solidFill>
        </p:spPr>
        <p:txBody>
          <a:bodyPr lIns="432000" tIns="360000" rIns="432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336" name="Instructie">
            <a:extLst>
              <a:ext uri="{FF2B5EF4-FFF2-40B4-BE49-F238E27FC236}">
                <a16:creationId xmlns:a16="http://schemas.microsoft.com/office/drawing/2014/main" id="{16A96383-DC68-4172-9156-75D946CEAE01}"/>
              </a:ext>
            </a:extLst>
          </p:cNvPr>
          <p:cNvGrpSpPr/>
          <p:nvPr userDrawn="1"/>
        </p:nvGrpSpPr>
        <p:grpSpPr>
          <a:xfrm>
            <a:off x="-3437547" y="1434"/>
            <a:ext cx="3201327" cy="6041867"/>
            <a:chOff x="-3437547" y="1434"/>
            <a:chExt cx="3201327" cy="6041867"/>
          </a:xfrm>
        </p:grpSpPr>
        <p:cxnSp>
          <p:nvCxnSpPr>
            <p:cNvPr id="337" name="Rechte verbindingslijn 336">
              <a:extLst>
                <a:ext uri="{FF2B5EF4-FFF2-40B4-BE49-F238E27FC236}">
                  <a16:creationId xmlns:a16="http://schemas.microsoft.com/office/drawing/2014/main" id="{D914C368-F0B0-49EA-81E0-5AA28D2CE782}"/>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338" name="Ovaal 337">
              <a:extLst>
                <a:ext uri="{FF2B5EF4-FFF2-40B4-BE49-F238E27FC236}">
                  <a16:creationId xmlns:a16="http://schemas.microsoft.com/office/drawing/2014/main" id="{294A51A8-FCB9-4D58-AFD9-4C60B20A4712}"/>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39" name="Rechthoek 338">
              <a:extLst>
                <a:ext uri="{FF2B5EF4-FFF2-40B4-BE49-F238E27FC236}">
                  <a16:creationId xmlns:a16="http://schemas.microsoft.com/office/drawing/2014/main" id="{61DCC149-1401-40E4-B933-907473D83C54}"/>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0" name="Ovaal 339">
              <a:extLst>
                <a:ext uri="{FF2B5EF4-FFF2-40B4-BE49-F238E27FC236}">
                  <a16:creationId xmlns:a16="http://schemas.microsoft.com/office/drawing/2014/main" id="{A1670098-663D-48C6-AE64-003CAFD78911}"/>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41" name="Rechthoek 340">
              <a:extLst>
                <a:ext uri="{FF2B5EF4-FFF2-40B4-BE49-F238E27FC236}">
                  <a16:creationId xmlns:a16="http://schemas.microsoft.com/office/drawing/2014/main" id="{BF6ADE96-9F31-43E4-9AD2-F373286DFAC7}"/>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42" name="Ovaal 341">
              <a:extLst>
                <a:ext uri="{FF2B5EF4-FFF2-40B4-BE49-F238E27FC236}">
                  <a16:creationId xmlns:a16="http://schemas.microsoft.com/office/drawing/2014/main" id="{25D66413-085D-4437-94C7-4BE0A49A1700}"/>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43" name="Rechthoek 342">
              <a:extLst>
                <a:ext uri="{FF2B5EF4-FFF2-40B4-BE49-F238E27FC236}">
                  <a16:creationId xmlns:a16="http://schemas.microsoft.com/office/drawing/2014/main" id="{65ECA6F3-2D3E-41B6-8DF0-729F1C6458C2}"/>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344" name="Ovaal 343">
              <a:extLst>
                <a:ext uri="{FF2B5EF4-FFF2-40B4-BE49-F238E27FC236}">
                  <a16:creationId xmlns:a16="http://schemas.microsoft.com/office/drawing/2014/main" id="{216592D6-E297-4E18-A84E-C7ED2FCB7EAD}"/>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45" name="Rechthoek 344">
              <a:extLst>
                <a:ext uri="{FF2B5EF4-FFF2-40B4-BE49-F238E27FC236}">
                  <a16:creationId xmlns:a16="http://schemas.microsoft.com/office/drawing/2014/main" id="{D4B41125-8E97-48C4-80E3-C23173CF5151}"/>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346" name="Rechthoek 345">
              <a:extLst>
                <a:ext uri="{FF2B5EF4-FFF2-40B4-BE49-F238E27FC236}">
                  <a16:creationId xmlns:a16="http://schemas.microsoft.com/office/drawing/2014/main" id="{6BD4A618-3B69-49E5-935B-C7349FB3D80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347" name="Ovaal 346">
              <a:extLst>
                <a:ext uri="{FF2B5EF4-FFF2-40B4-BE49-F238E27FC236}">
                  <a16:creationId xmlns:a16="http://schemas.microsoft.com/office/drawing/2014/main" id="{5582D676-081C-4126-B7BA-EE2245E3F696}"/>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48" name="Rechte verbindingslijn 347">
              <a:extLst>
                <a:ext uri="{FF2B5EF4-FFF2-40B4-BE49-F238E27FC236}">
                  <a16:creationId xmlns:a16="http://schemas.microsoft.com/office/drawing/2014/main" id="{FC0F5ABF-7F2C-434B-B409-E0114E3F604F}"/>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349" name="Groep 348">
              <a:extLst>
                <a:ext uri="{FF2B5EF4-FFF2-40B4-BE49-F238E27FC236}">
                  <a16:creationId xmlns:a16="http://schemas.microsoft.com/office/drawing/2014/main" id="{E9BCC753-7402-406F-B3DE-D10BFD5CD9CF}"/>
                </a:ext>
              </a:extLst>
            </p:cNvPr>
            <p:cNvGrpSpPr/>
            <p:nvPr userDrawn="1"/>
          </p:nvGrpSpPr>
          <p:grpSpPr>
            <a:xfrm>
              <a:off x="-3437547" y="1295337"/>
              <a:ext cx="2933825" cy="558875"/>
              <a:chOff x="-3419346" y="368233"/>
              <a:chExt cx="3904920" cy="743862"/>
            </a:xfrm>
          </p:grpSpPr>
          <p:sp>
            <p:nvSpPr>
              <p:cNvPr id="366" name="Rechthoek 365">
                <a:extLst>
                  <a:ext uri="{FF2B5EF4-FFF2-40B4-BE49-F238E27FC236}">
                    <a16:creationId xmlns:a16="http://schemas.microsoft.com/office/drawing/2014/main" id="{0E7539B0-375A-44FA-B2A1-4821444D41F5}"/>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367" name="Rechte verbindingslijn 366">
                <a:extLst>
                  <a:ext uri="{FF2B5EF4-FFF2-40B4-BE49-F238E27FC236}">
                    <a16:creationId xmlns:a16="http://schemas.microsoft.com/office/drawing/2014/main" id="{DA071609-D1C9-4EA6-8F8D-6768826CABE1}"/>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8" name="Rechte verbindingslijn 367">
                <a:extLst>
                  <a:ext uri="{FF2B5EF4-FFF2-40B4-BE49-F238E27FC236}">
                    <a16:creationId xmlns:a16="http://schemas.microsoft.com/office/drawing/2014/main" id="{573BD12E-8C37-4E5C-AAF3-86C31347180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9" name="Rechthoek 368">
                <a:extLst>
                  <a:ext uri="{FF2B5EF4-FFF2-40B4-BE49-F238E27FC236}">
                    <a16:creationId xmlns:a16="http://schemas.microsoft.com/office/drawing/2014/main" id="{D6F2DEF3-3969-4318-9D83-A66B76E30D07}"/>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370" name="Groep 369">
                <a:extLst>
                  <a:ext uri="{FF2B5EF4-FFF2-40B4-BE49-F238E27FC236}">
                    <a16:creationId xmlns:a16="http://schemas.microsoft.com/office/drawing/2014/main" id="{34A7A97E-60AB-4446-8EF2-9BB9D66CF672}"/>
                  </a:ext>
                </a:extLst>
              </p:cNvPr>
              <p:cNvGrpSpPr/>
              <p:nvPr userDrawn="1"/>
            </p:nvGrpSpPr>
            <p:grpSpPr>
              <a:xfrm>
                <a:off x="-3002834" y="720303"/>
                <a:ext cx="182598" cy="143759"/>
                <a:chOff x="-3310843" y="700986"/>
                <a:chExt cx="182598" cy="143759"/>
              </a:xfrm>
            </p:grpSpPr>
            <p:grpSp>
              <p:nvGrpSpPr>
                <p:cNvPr id="409" name="Groep 408">
                  <a:extLst>
                    <a:ext uri="{FF2B5EF4-FFF2-40B4-BE49-F238E27FC236}">
                      <a16:creationId xmlns:a16="http://schemas.microsoft.com/office/drawing/2014/main" id="{B7A53B7D-9488-4BAA-9456-41377E8BAFC2}"/>
                    </a:ext>
                  </a:extLst>
                </p:cNvPr>
                <p:cNvGrpSpPr/>
                <p:nvPr userDrawn="1"/>
              </p:nvGrpSpPr>
              <p:grpSpPr>
                <a:xfrm>
                  <a:off x="-3310843" y="700986"/>
                  <a:ext cx="182598" cy="143759"/>
                  <a:chOff x="-3310843" y="700986"/>
                  <a:chExt cx="182598" cy="143759"/>
                </a:xfrm>
              </p:grpSpPr>
              <p:cxnSp>
                <p:nvCxnSpPr>
                  <p:cNvPr id="413" name="Rechte verbindingslijn 412">
                    <a:extLst>
                      <a:ext uri="{FF2B5EF4-FFF2-40B4-BE49-F238E27FC236}">
                        <a16:creationId xmlns:a16="http://schemas.microsoft.com/office/drawing/2014/main" id="{B68F2C77-09A6-4AF5-8EE3-4F28AF2288D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79854795-8185-440B-BED5-3380455F8C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15" name="Rechte verbindingslijn 414">
                    <a:extLst>
                      <a:ext uri="{FF2B5EF4-FFF2-40B4-BE49-F238E27FC236}">
                        <a16:creationId xmlns:a16="http://schemas.microsoft.com/office/drawing/2014/main" id="{E16B3AD6-B7E1-4B5A-81E9-56AD4FF7B630}"/>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16" name="Rechte verbindingslijn 415">
                    <a:extLst>
                      <a:ext uri="{FF2B5EF4-FFF2-40B4-BE49-F238E27FC236}">
                        <a16:creationId xmlns:a16="http://schemas.microsoft.com/office/drawing/2014/main" id="{80068488-20BF-4588-BEC6-12EABA70AA9A}"/>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17" name="Rechte verbindingslijn 416">
                    <a:extLst>
                      <a:ext uri="{FF2B5EF4-FFF2-40B4-BE49-F238E27FC236}">
                        <a16:creationId xmlns:a16="http://schemas.microsoft.com/office/drawing/2014/main" id="{A8833265-ADD9-4123-9712-6B5EB8CAC490}"/>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0" name="Groep 409">
                  <a:extLst>
                    <a:ext uri="{FF2B5EF4-FFF2-40B4-BE49-F238E27FC236}">
                      <a16:creationId xmlns:a16="http://schemas.microsoft.com/office/drawing/2014/main" id="{D51E6BEB-00B5-4905-A761-18BAE36B6D5B}"/>
                    </a:ext>
                  </a:extLst>
                </p:cNvPr>
                <p:cNvGrpSpPr/>
                <p:nvPr userDrawn="1"/>
              </p:nvGrpSpPr>
              <p:grpSpPr>
                <a:xfrm flipH="1">
                  <a:off x="-3310774" y="735854"/>
                  <a:ext cx="88801" cy="72568"/>
                  <a:chOff x="-2091059" y="1395403"/>
                  <a:chExt cx="157316" cy="128558"/>
                </a:xfrm>
              </p:grpSpPr>
              <p:sp>
                <p:nvSpPr>
                  <p:cNvPr id="411" name="Rechthoek 410">
                    <a:extLst>
                      <a:ext uri="{FF2B5EF4-FFF2-40B4-BE49-F238E27FC236}">
                        <a16:creationId xmlns:a16="http://schemas.microsoft.com/office/drawing/2014/main" id="{58E164DE-6302-4AA5-BE32-B3C742F4E98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12" name="Pijl: punthaak 411">
                    <a:extLst>
                      <a:ext uri="{FF2B5EF4-FFF2-40B4-BE49-F238E27FC236}">
                        <a16:creationId xmlns:a16="http://schemas.microsoft.com/office/drawing/2014/main" id="{D20187E4-19F8-405A-8BCA-F5EF6B185A6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371" name="Groep 370">
                <a:extLst>
                  <a:ext uri="{FF2B5EF4-FFF2-40B4-BE49-F238E27FC236}">
                    <a16:creationId xmlns:a16="http://schemas.microsoft.com/office/drawing/2014/main" id="{B768B237-2F57-4956-BCC0-F0479EE0FF81}"/>
                  </a:ext>
                </a:extLst>
              </p:cNvPr>
              <p:cNvGrpSpPr/>
              <p:nvPr userDrawn="1"/>
            </p:nvGrpSpPr>
            <p:grpSpPr>
              <a:xfrm>
                <a:off x="-3326107" y="720303"/>
                <a:ext cx="182598" cy="143759"/>
                <a:chOff x="-3634116" y="700986"/>
                <a:chExt cx="182598" cy="143759"/>
              </a:xfrm>
            </p:grpSpPr>
            <p:grpSp>
              <p:nvGrpSpPr>
                <p:cNvPr id="400" name="Groep 399">
                  <a:extLst>
                    <a:ext uri="{FF2B5EF4-FFF2-40B4-BE49-F238E27FC236}">
                      <a16:creationId xmlns:a16="http://schemas.microsoft.com/office/drawing/2014/main" id="{1FFC6CCB-F049-4D83-9B18-5D03ADD486EA}"/>
                    </a:ext>
                  </a:extLst>
                </p:cNvPr>
                <p:cNvGrpSpPr/>
                <p:nvPr userDrawn="1"/>
              </p:nvGrpSpPr>
              <p:grpSpPr>
                <a:xfrm>
                  <a:off x="-3634116" y="700986"/>
                  <a:ext cx="182598" cy="143759"/>
                  <a:chOff x="-3634116" y="700986"/>
                  <a:chExt cx="182598" cy="143759"/>
                </a:xfrm>
              </p:grpSpPr>
              <p:cxnSp>
                <p:nvCxnSpPr>
                  <p:cNvPr id="404" name="Rechte verbindingslijn 403">
                    <a:extLst>
                      <a:ext uri="{FF2B5EF4-FFF2-40B4-BE49-F238E27FC236}">
                        <a16:creationId xmlns:a16="http://schemas.microsoft.com/office/drawing/2014/main" id="{7C56F563-1C9F-46BF-ACB0-0F066879D23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C2C94E0B-98F3-40B1-93EF-F71D4E467B7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06" name="Rechte verbindingslijn 405">
                    <a:extLst>
                      <a:ext uri="{FF2B5EF4-FFF2-40B4-BE49-F238E27FC236}">
                        <a16:creationId xmlns:a16="http://schemas.microsoft.com/office/drawing/2014/main" id="{F5C8262B-5764-49B0-BDCF-7F0E7B4C8FA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07" name="Rechte verbindingslijn 406">
                    <a:extLst>
                      <a:ext uri="{FF2B5EF4-FFF2-40B4-BE49-F238E27FC236}">
                        <a16:creationId xmlns:a16="http://schemas.microsoft.com/office/drawing/2014/main" id="{E2FC3CE4-E29E-4879-BF27-8503729D180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08" name="Rechte verbindingslijn 407">
                    <a:extLst>
                      <a:ext uri="{FF2B5EF4-FFF2-40B4-BE49-F238E27FC236}">
                        <a16:creationId xmlns:a16="http://schemas.microsoft.com/office/drawing/2014/main" id="{89EA9446-8832-4267-B56B-62603D2FD1B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1" name="Groep 400">
                  <a:extLst>
                    <a:ext uri="{FF2B5EF4-FFF2-40B4-BE49-F238E27FC236}">
                      <a16:creationId xmlns:a16="http://schemas.microsoft.com/office/drawing/2014/main" id="{0F64CAB7-DEA1-48BF-85D8-563D8F601F16}"/>
                    </a:ext>
                  </a:extLst>
                </p:cNvPr>
                <p:cNvGrpSpPr/>
                <p:nvPr userDrawn="1"/>
              </p:nvGrpSpPr>
              <p:grpSpPr>
                <a:xfrm>
                  <a:off x="-3634047" y="735854"/>
                  <a:ext cx="88801" cy="72568"/>
                  <a:chOff x="-2091059" y="1395403"/>
                  <a:chExt cx="157316" cy="128558"/>
                </a:xfrm>
              </p:grpSpPr>
              <p:sp>
                <p:nvSpPr>
                  <p:cNvPr id="402" name="Rechthoek 401">
                    <a:extLst>
                      <a:ext uri="{FF2B5EF4-FFF2-40B4-BE49-F238E27FC236}">
                        <a16:creationId xmlns:a16="http://schemas.microsoft.com/office/drawing/2014/main" id="{10D89501-6520-42D1-8F88-1706762C7A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03" name="Pijl: punthaak 402">
                    <a:extLst>
                      <a:ext uri="{FF2B5EF4-FFF2-40B4-BE49-F238E27FC236}">
                        <a16:creationId xmlns:a16="http://schemas.microsoft.com/office/drawing/2014/main" id="{900F6582-3643-4F45-9C8A-AA2328BE471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372" name="Rechte verbindingslijn 371">
                <a:extLst>
                  <a:ext uri="{FF2B5EF4-FFF2-40B4-BE49-F238E27FC236}">
                    <a16:creationId xmlns:a16="http://schemas.microsoft.com/office/drawing/2014/main" id="{0F7DF97A-D52C-4A51-B424-3D4A6CD0A532}"/>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373" name="Rechte verbindingslijn 372">
                <a:extLst>
                  <a:ext uri="{FF2B5EF4-FFF2-40B4-BE49-F238E27FC236}">
                    <a16:creationId xmlns:a16="http://schemas.microsoft.com/office/drawing/2014/main" id="{51555DE2-4F46-47C1-AA6C-D4E09AF40751}"/>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374" name="Groep 373">
                <a:extLst>
                  <a:ext uri="{FF2B5EF4-FFF2-40B4-BE49-F238E27FC236}">
                    <a16:creationId xmlns:a16="http://schemas.microsoft.com/office/drawing/2014/main" id="{A58094CB-7A76-4D73-AC4E-F788A15B3842}"/>
                  </a:ext>
                </a:extLst>
              </p:cNvPr>
              <p:cNvGrpSpPr/>
              <p:nvPr userDrawn="1"/>
            </p:nvGrpSpPr>
            <p:grpSpPr>
              <a:xfrm>
                <a:off x="-2425037" y="370226"/>
                <a:ext cx="357690" cy="330595"/>
                <a:chOff x="-2721817" y="347336"/>
                <a:chExt cx="432805" cy="400021"/>
              </a:xfrm>
            </p:grpSpPr>
            <p:sp>
              <p:nvSpPr>
                <p:cNvPr id="389" name="Rechthoek 388">
                  <a:extLst>
                    <a:ext uri="{FF2B5EF4-FFF2-40B4-BE49-F238E27FC236}">
                      <a16:creationId xmlns:a16="http://schemas.microsoft.com/office/drawing/2014/main" id="{E247AC15-AAF9-480C-82A4-3A0F23351F74}"/>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90" name="Groep 389">
                  <a:extLst>
                    <a:ext uri="{FF2B5EF4-FFF2-40B4-BE49-F238E27FC236}">
                      <a16:creationId xmlns:a16="http://schemas.microsoft.com/office/drawing/2014/main" id="{228EA585-F247-45FC-95A5-92E6A7FA561C}"/>
                    </a:ext>
                  </a:extLst>
                </p:cNvPr>
                <p:cNvGrpSpPr/>
                <p:nvPr userDrawn="1"/>
              </p:nvGrpSpPr>
              <p:grpSpPr>
                <a:xfrm>
                  <a:off x="-2652453" y="431583"/>
                  <a:ext cx="294076" cy="231526"/>
                  <a:chOff x="-3634116" y="700986"/>
                  <a:chExt cx="182598" cy="143759"/>
                </a:xfrm>
              </p:grpSpPr>
              <p:grpSp>
                <p:nvGrpSpPr>
                  <p:cNvPr id="391" name="Groep 390">
                    <a:extLst>
                      <a:ext uri="{FF2B5EF4-FFF2-40B4-BE49-F238E27FC236}">
                        <a16:creationId xmlns:a16="http://schemas.microsoft.com/office/drawing/2014/main" id="{4E705065-FAB4-4AB7-8BFA-77B69E988CE4}"/>
                      </a:ext>
                    </a:extLst>
                  </p:cNvPr>
                  <p:cNvGrpSpPr/>
                  <p:nvPr userDrawn="1"/>
                </p:nvGrpSpPr>
                <p:grpSpPr>
                  <a:xfrm>
                    <a:off x="-3634116" y="700986"/>
                    <a:ext cx="182598" cy="143759"/>
                    <a:chOff x="-3634116" y="700986"/>
                    <a:chExt cx="182598" cy="143759"/>
                  </a:xfrm>
                </p:grpSpPr>
                <p:cxnSp>
                  <p:nvCxnSpPr>
                    <p:cNvPr id="395" name="Rechte verbindingslijn 394">
                      <a:extLst>
                        <a:ext uri="{FF2B5EF4-FFF2-40B4-BE49-F238E27FC236}">
                          <a16:creationId xmlns:a16="http://schemas.microsoft.com/office/drawing/2014/main" id="{428098CF-F1FB-4BDF-9455-FCA151B43DC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96" name="Rechte verbindingslijn 395">
                      <a:extLst>
                        <a:ext uri="{FF2B5EF4-FFF2-40B4-BE49-F238E27FC236}">
                          <a16:creationId xmlns:a16="http://schemas.microsoft.com/office/drawing/2014/main" id="{998A8B9E-2DCB-4D76-BB71-F3468B63B73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97" name="Rechte verbindingslijn 396">
                      <a:extLst>
                        <a:ext uri="{FF2B5EF4-FFF2-40B4-BE49-F238E27FC236}">
                          <a16:creationId xmlns:a16="http://schemas.microsoft.com/office/drawing/2014/main" id="{BCEA6EAB-FAFC-45E7-9102-E62B95EC440E}"/>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98" name="Rechte verbindingslijn 397">
                      <a:extLst>
                        <a:ext uri="{FF2B5EF4-FFF2-40B4-BE49-F238E27FC236}">
                          <a16:creationId xmlns:a16="http://schemas.microsoft.com/office/drawing/2014/main" id="{22B1DC6D-F887-4A73-AFAE-B434A3C8F0C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99" name="Rechte verbindingslijn 398">
                      <a:extLst>
                        <a:ext uri="{FF2B5EF4-FFF2-40B4-BE49-F238E27FC236}">
                          <a16:creationId xmlns:a16="http://schemas.microsoft.com/office/drawing/2014/main" id="{5B7CFCCA-649C-4DEC-B648-3EFC12E40D0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2" name="Groep 391">
                    <a:extLst>
                      <a:ext uri="{FF2B5EF4-FFF2-40B4-BE49-F238E27FC236}">
                        <a16:creationId xmlns:a16="http://schemas.microsoft.com/office/drawing/2014/main" id="{2BD86F3A-3B2C-47A4-BBD6-C315D7217A8A}"/>
                      </a:ext>
                    </a:extLst>
                  </p:cNvPr>
                  <p:cNvGrpSpPr/>
                  <p:nvPr userDrawn="1"/>
                </p:nvGrpSpPr>
                <p:grpSpPr>
                  <a:xfrm>
                    <a:off x="-3634047" y="735854"/>
                    <a:ext cx="88801" cy="72568"/>
                    <a:chOff x="-2091059" y="1395403"/>
                    <a:chExt cx="157316" cy="128558"/>
                  </a:xfrm>
                </p:grpSpPr>
                <p:sp>
                  <p:nvSpPr>
                    <p:cNvPr id="393" name="Rechthoek 392">
                      <a:extLst>
                        <a:ext uri="{FF2B5EF4-FFF2-40B4-BE49-F238E27FC236}">
                          <a16:creationId xmlns:a16="http://schemas.microsoft.com/office/drawing/2014/main" id="{C85640E6-1A89-41BE-89D1-34CDD6568D9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94" name="Pijl: punthaak 393">
                      <a:extLst>
                        <a:ext uri="{FF2B5EF4-FFF2-40B4-BE49-F238E27FC236}">
                          <a16:creationId xmlns:a16="http://schemas.microsoft.com/office/drawing/2014/main" id="{E5853564-B4F6-47C5-B1A9-7FBC9D0D143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375" name="Groep 374">
                <a:extLst>
                  <a:ext uri="{FF2B5EF4-FFF2-40B4-BE49-F238E27FC236}">
                    <a16:creationId xmlns:a16="http://schemas.microsoft.com/office/drawing/2014/main" id="{4CC3B4B2-AFF3-4E6B-B491-D66CDE22BCCE}"/>
                  </a:ext>
                </a:extLst>
              </p:cNvPr>
              <p:cNvGrpSpPr/>
              <p:nvPr userDrawn="1"/>
            </p:nvGrpSpPr>
            <p:grpSpPr>
              <a:xfrm>
                <a:off x="-2425037" y="781500"/>
                <a:ext cx="357690" cy="330595"/>
                <a:chOff x="-2721817" y="782525"/>
                <a:chExt cx="432805" cy="400021"/>
              </a:xfrm>
            </p:grpSpPr>
            <p:sp>
              <p:nvSpPr>
                <p:cNvPr id="378" name="Rechthoek 377">
                  <a:extLst>
                    <a:ext uri="{FF2B5EF4-FFF2-40B4-BE49-F238E27FC236}">
                      <a16:creationId xmlns:a16="http://schemas.microsoft.com/office/drawing/2014/main" id="{E6009A5E-4EF8-492E-99A0-6D374798883D}"/>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379" name="Groep 378">
                  <a:extLst>
                    <a:ext uri="{FF2B5EF4-FFF2-40B4-BE49-F238E27FC236}">
                      <a16:creationId xmlns:a16="http://schemas.microsoft.com/office/drawing/2014/main" id="{94B1FEA9-84B9-47A5-BC46-7695EA4CA597}"/>
                    </a:ext>
                  </a:extLst>
                </p:cNvPr>
                <p:cNvGrpSpPr/>
                <p:nvPr userDrawn="1"/>
              </p:nvGrpSpPr>
              <p:grpSpPr>
                <a:xfrm>
                  <a:off x="-2652453" y="866772"/>
                  <a:ext cx="294076" cy="231526"/>
                  <a:chOff x="-3310843" y="700986"/>
                  <a:chExt cx="182598" cy="143759"/>
                </a:xfrm>
              </p:grpSpPr>
              <p:grpSp>
                <p:nvGrpSpPr>
                  <p:cNvPr id="380" name="Groep 379">
                    <a:extLst>
                      <a:ext uri="{FF2B5EF4-FFF2-40B4-BE49-F238E27FC236}">
                        <a16:creationId xmlns:a16="http://schemas.microsoft.com/office/drawing/2014/main" id="{1700946E-1ADE-47A1-BF3C-FECC159B97D9}"/>
                      </a:ext>
                    </a:extLst>
                  </p:cNvPr>
                  <p:cNvGrpSpPr/>
                  <p:nvPr userDrawn="1"/>
                </p:nvGrpSpPr>
                <p:grpSpPr>
                  <a:xfrm>
                    <a:off x="-3310843" y="700986"/>
                    <a:ext cx="182598" cy="143759"/>
                    <a:chOff x="-3310843" y="700986"/>
                    <a:chExt cx="182598" cy="143759"/>
                  </a:xfrm>
                </p:grpSpPr>
                <p:cxnSp>
                  <p:nvCxnSpPr>
                    <p:cNvPr id="384" name="Rechte verbindingslijn 383">
                      <a:extLst>
                        <a:ext uri="{FF2B5EF4-FFF2-40B4-BE49-F238E27FC236}">
                          <a16:creationId xmlns:a16="http://schemas.microsoft.com/office/drawing/2014/main" id="{5A926A82-776A-4792-B4E4-47E61FEFA0F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85" name="Rechte verbindingslijn 384">
                      <a:extLst>
                        <a:ext uri="{FF2B5EF4-FFF2-40B4-BE49-F238E27FC236}">
                          <a16:creationId xmlns:a16="http://schemas.microsoft.com/office/drawing/2014/main" id="{91CFD1B5-FD3A-49B7-A6FC-BB60512A59B4}"/>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86" name="Rechte verbindingslijn 385">
                      <a:extLst>
                        <a:ext uri="{FF2B5EF4-FFF2-40B4-BE49-F238E27FC236}">
                          <a16:creationId xmlns:a16="http://schemas.microsoft.com/office/drawing/2014/main" id="{40B90EED-E3BF-43CE-A4EE-F0807E7A88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87" name="Rechte verbindingslijn 386">
                      <a:extLst>
                        <a:ext uri="{FF2B5EF4-FFF2-40B4-BE49-F238E27FC236}">
                          <a16:creationId xmlns:a16="http://schemas.microsoft.com/office/drawing/2014/main" id="{FB63F635-4B3D-4B18-95DB-4B04F7660D71}"/>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88" name="Rechte verbindingslijn 387">
                      <a:extLst>
                        <a:ext uri="{FF2B5EF4-FFF2-40B4-BE49-F238E27FC236}">
                          <a16:creationId xmlns:a16="http://schemas.microsoft.com/office/drawing/2014/main" id="{894CCA3C-F622-449E-8F0F-FE43F172A925}"/>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1" name="Groep 380">
                    <a:extLst>
                      <a:ext uri="{FF2B5EF4-FFF2-40B4-BE49-F238E27FC236}">
                        <a16:creationId xmlns:a16="http://schemas.microsoft.com/office/drawing/2014/main" id="{F3F9344C-08F6-4264-B5F4-98D6A6618188}"/>
                      </a:ext>
                    </a:extLst>
                  </p:cNvPr>
                  <p:cNvGrpSpPr/>
                  <p:nvPr userDrawn="1"/>
                </p:nvGrpSpPr>
                <p:grpSpPr>
                  <a:xfrm flipH="1">
                    <a:off x="-3310774" y="735854"/>
                    <a:ext cx="88801" cy="72568"/>
                    <a:chOff x="-2091059" y="1395403"/>
                    <a:chExt cx="157316" cy="128558"/>
                  </a:xfrm>
                </p:grpSpPr>
                <p:sp>
                  <p:nvSpPr>
                    <p:cNvPr id="382" name="Rechthoek 381">
                      <a:extLst>
                        <a:ext uri="{FF2B5EF4-FFF2-40B4-BE49-F238E27FC236}">
                          <a16:creationId xmlns:a16="http://schemas.microsoft.com/office/drawing/2014/main" id="{3A9ABC65-99E3-4FB2-B60F-31491F1F848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83" name="Pijl: punthaak 382">
                      <a:extLst>
                        <a:ext uri="{FF2B5EF4-FFF2-40B4-BE49-F238E27FC236}">
                          <a16:creationId xmlns:a16="http://schemas.microsoft.com/office/drawing/2014/main" id="{23763DD8-0474-41CD-8840-26BDC7BEC28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376" name="Rechthoek 375">
                <a:extLst>
                  <a:ext uri="{FF2B5EF4-FFF2-40B4-BE49-F238E27FC236}">
                    <a16:creationId xmlns:a16="http://schemas.microsoft.com/office/drawing/2014/main" id="{ED4D8E48-222D-48AC-A857-C919C514F40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377" name="Rechthoek 376">
                <a:extLst>
                  <a:ext uri="{FF2B5EF4-FFF2-40B4-BE49-F238E27FC236}">
                    <a16:creationId xmlns:a16="http://schemas.microsoft.com/office/drawing/2014/main" id="{65FA8342-ABE9-4BFF-A5ED-98714AEA485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350" name="Rechte verbindingslijn 349">
              <a:extLst>
                <a:ext uri="{FF2B5EF4-FFF2-40B4-BE49-F238E27FC236}">
                  <a16:creationId xmlns:a16="http://schemas.microsoft.com/office/drawing/2014/main" id="{0494C068-BFC1-485C-95A0-F6CD67F80184}"/>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351" name="Rechthoek 350">
              <a:extLst>
                <a:ext uri="{FF2B5EF4-FFF2-40B4-BE49-F238E27FC236}">
                  <a16:creationId xmlns:a16="http://schemas.microsoft.com/office/drawing/2014/main" id="{DE2A93DF-55BB-46DB-98DC-A34F6E9F9DAF}"/>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352" name="Ovaal 351">
              <a:extLst>
                <a:ext uri="{FF2B5EF4-FFF2-40B4-BE49-F238E27FC236}">
                  <a16:creationId xmlns:a16="http://schemas.microsoft.com/office/drawing/2014/main" id="{E45EC9A1-44AF-4B03-8304-420060E80451}"/>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3" name="Rechthoek 352">
              <a:extLst>
                <a:ext uri="{FF2B5EF4-FFF2-40B4-BE49-F238E27FC236}">
                  <a16:creationId xmlns:a16="http://schemas.microsoft.com/office/drawing/2014/main" id="{C73F0B30-DAA6-45D3-8149-8E78F0CB4DF0}"/>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354" name="Ovaal 353">
              <a:extLst>
                <a:ext uri="{FF2B5EF4-FFF2-40B4-BE49-F238E27FC236}">
                  <a16:creationId xmlns:a16="http://schemas.microsoft.com/office/drawing/2014/main" id="{16EB5B03-3D3D-4908-B59C-CC646FB5EF80}"/>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5" name="Rechthoek 354">
              <a:extLst>
                <a:ext uri="{FF2B5EF4-FFF2-40B4-BE49-F238E27FC236}">
                  <a16:creationId xmlns:a16="http://schemas.microsoft.com/office/drawing/2014/main" id="{81F7F0CB-E0BA-42A7-9446-C03D84566978}"/>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356" name="Ovaal 355">
              <a:extLst>
                <a:ext uri="{FF2B5EF4-FFF2-40B4-BE49-F238E27FC236}">
                  <a16:creationId xmlns:a16="http://schemas.microsoft.com/office/drawing/2014/main" id="{0D915088-137B-4DD2-AE0A-7BEC96E1DFFE}"/>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57" name="Rechthoek 356">
              <a:extLst>
                <a:ext uri="{FF2B5EF4-FFF2-40B4-BE49-F238E27FC236}">
                  <a16:creationId xmlns:a16="http://schemas.microsoft.com/office/drawing/2014/main" id="{7CE63F90-C9B7-42ED-A82F-A765488AE441}"/>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358" name="Ovaal 357">
              <a:extLst>
                <a:ext uri="{FF2B5EF4-FFF2-40B4-BE49-F238E27FC236}">
                  <a16:creationId xmlns:a16="http://schemas.microsoft.com/office/drawing/2014/main" id="{2E79C13D-ADAE-4928-9BFA-846B11078C06}"/>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59" name="Rechthoek 358">
              <a:extLst>
                <a:ext uri="{FF2B5EF4-FFF2-40B4-BE49-F238E27FC236}">
                  <a16:creationId xmlns:a16="http://schemas.microsoft.com/office/drawing/2014/main" id="{DE7D0D9F-9A05-426E-AF5C-F464F427E0CC}"/>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360" name="Rechthoek 359">
              <a:extLst>
                <a:ext uri="{FF2B5EF4-FFF2-40B4-BE49-F238E27FC236}">
                  <a16:creationId xmlns:a16="http://schemas.microsoft.com/office/drawing/2014/main" id="{395C42CF-B96D-4E41-80D5-36A2C39B4BBA}"/>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361" name="Rechte verbindingslijn 360">
              <a:extLst>
                <a:ext uri="{FF2B5EF4-FFF2-40B4-BE49-F238E27FC236}">
                  <a16:creationId xmlns:a16="http://schemas.microsoft.com/office/drawing/2014/main" id="{FE85859E-1BF0-4A2E-B9FE-9532FAC555AA}"/>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362" name="Ovaal 361">
              <a:extLst>
                <a:ext uri="{FF2B5EF4-FFF2-40B4-BE49-F238E27FC236}">
                  <a16:creationId xmlns:a16="http://schemas.microsoft.com/office/drawing/2014/main" id="{58B11E63-7C46-46E5-AF4E-0626BF19A6F3}"/>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363" name="Rechthoek 362">
              <a:extLst>
                <a:ext uri="{FF2B5EF4-FFF2-40B4-BE49-F238E27FC236}">
                  <a16:creationId xmlns:a16="http://schemas.microsoft.com/office/drawing/2014/main" id="{03BD9A4D-7017-4698-A01F-6019A002B899}"/>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364" name="Ovaal 363">
              <a:extLst>
                <a:ext uri="{FF2B5EF4-FFF2-40B4-BE49-F238E27FC236}">
                  <a16:creationId xmlns:a16="http://schemas.microsoft.com/office/drawing/2014/main" id="{0B21735C-96C8-4112-A687-A866CAAC6CAC}"/>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5" name="Rechthoek 364">
              <a:extLst>
                <a:ext uri="{FF2B5EF4-FFF2-40B4-BE49-F238E27FC236}">
                  <a16:creationId xmlns:a16="http://schemas.microsoft.com/office/drawing/2014/main" id="{8EBF4C1B-9C19-40BA-AAD8-307DAB5F67B3}"/>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418" name="Instructie">
            <a:extLst>
              <a:ext uri="{FF2B5EF4-FFF2-40B4-BE49-F238E27FC236}">
                <a16:creationId xmlns:a16="http://schemas.microsoft.com/office/drawing/2014/main" id="{A8B8F7EF-3A13-48A2-95FA-AA9A10F3EB22}"/>
              </a:ext>
            </a:extLst>
          </p:cNvPr>
          <p:cNvGrpSpPr/>
          <p:nvPr userDrawn="1"/>
        </p:nvGrpSpPr>
        <p:grpSpPr>
          <a:xfrm>
            <a:off x="12389714" y="5221435"/>
            <a:ext cx="3183677" cy="1636565"/>
            <a:chOff x="12389714" y="4327164"/>
            <a:chExt cx="3183677" cy="1636565"/>
          </a:xfrm>
        </p:grpSpPr>
        <p:cxnSp>
          <p:nvCxnSpPr>
            <p:cNvPr id="419" name="Rechte verbindingslijn 418">
              <a:extLst>
                <a:ext uri="{FF2B5EF4-FFF2-40B4-BE49-F238E27FC236}">
                  <a16:creationId xmlns:a16="http://schemas.microsoft.com/office/drawing/2014/main" id="{998D5AE6-00E6-422E-A152-7A648EA4B8A5}"/>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420" name="Rechthoek 419">
              <a:extLst>
                <a:ext uri="{FF2B5EF4-FFF2-40B4-BE49-F238E27FC236}">
                  <a16:creationId xmlns:a16="http://schemas.microsoft.com/office/drawing/2014/main" id="{87339964-7A76-4979-8B96-386DB681251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421" name="Ovaal 420">
              <a:extLst>
                <a:ext uri="{FF2B5EF4-FFF2-40B4-BE49-F238E27FC236}">
                  <a16:creationId xmlns:a16="http://schemas.microsoft.com/office/drawing/2014/main" id="{1F065359-48A9-493C-BD7C-79FFC4490732}"/>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22" name="Rechte verbindingslijn 421">
              <a:extLst>
                <a:ext uri="{FF2B5EF4-FFF2-40B4-BE49-F238E27FC236}">
                  <a16:creationId xmlns:a16="http://schemas.microsoft.com/office/drawing/2014/main" id="{6036E041-104F-46E6-997B-2DF47F1F2ED8}"/>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423" name="Rechthoek 422">
              <a:extLst>
                <a:ext uri="{FF2B5EF4-FFF2-40B4-BE49-F238E27FC236}">
                  <a16:creationId xmlns:a16="http://schemas.microsoft.com/office/drawing/2014/main" id="{6D396B29-18EF-41AE-86F4-94591D967DEF}"/>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424" name="Groep 423">
              <a:extLst>
                <a:ext uri="{FF2B5EF4-FFF2-40B4-BE49-F238E27FC236}">
                  <a16:creationId xmlns:a16="http://schemas.microsoft.com/office/drawing/2014/main" id="{6B324597-DA5C-4C55-BD3D-4EF780D1865D}"/>
                </a:ext>
              </a:extLst>
            </p:cNvPr>
            <p:cNvGrpSpPr/>
            <p:nvPr userDrawn="1"/>
          </p:nvGrpSpPr>
          <p:grpSpPr>
            <a:xfrm>
              <a:off x="12755394" y="5222855"/>
              <a:ext cx="1714530" cy="639425"/>
              <a:chOff x="12757283" y="4365594"/>
              <a:chExt cx="1714530" cy="639425"/>
            </a:xfrm>
          </p:grpSpPr>
          <p:sp>
            <p:nvSpPr>
              <p:cNvPr id="425" name="Rechthoek 424">
                <a:extLst>
                  <a:ext uri="{FF2B5EF4-FFF2-40B4-BE49-F238E27FC236}">
                    <a16:creationId xmlns:a16="http://schemas.microsoft.com/office/drawing/2014/main" id="{6980CF4C-67A1-414E-B37E-2499F4A711E3}"/>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426" name="Rechthoek 425">
                <a:extLst>
                  <a:ext uri="{FF2B5EF4-FFF2-40B4-BE49-F238E27FC236}">
                    <a16:creationId xmlns:a16="http://schemas.microsoft.com/office/drawing/2014/main" id="{22A7E34C-3A28-4878-9B2D-95B7DA5D526F}"/>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427" name="Tekstvak 426">
                <a:extLst>
                  <a:ext uri="{FF2B5EF4-FFF2-40B4-BE49-F238E27FC236}">
                    <a16:creationId xmlns:a16="http://schemas.microsoft.com/office/drawing/2014/main" id="{6E3CFEC3-CABC-404E-BAA3-389B3892DE68}"/>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428" name="Tekstvak 427">
                <a:extLst>
                  <a:ext uri="{FF2B5EF4-FFF2-40B4-BE49-F238E27FC236}">
                    <a16:creationId xmlns:a16="http://schemas.microsoft.com/office/drawing/2014/main" id="{78C9B979-4DBC-45E0-9F32-8F6DD473DC03}"/>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429" name="Picture 3">
                <a:extLst>
                  <a:ext uri="{FF2B5EF4-FFF2-40B4-BE49-F238E27FC236}">
                    <a16:creationId xmlns:a16="http://schemas.microsoft.com/office/drawing/2014/main" id="{9CB52205-8507-430A-A801-AEA31C0E781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30" name="Groep 429">
                <a:extLst>
                  <a:ext uri="{FF2B5EF4-FFF2-40B4-BE49-F238E27FC236}">
                    <a16:creationId xmlns:a16="http://schemas.microsoft.com/office/drawing/2014/main" id="{0A16ECF3-609F-4BBD-8A3E-A8D6B8A37936}"/>
                  </a:ext>
                </a:extLst>
              </p:cNvPr>
              <p:cNvGrpSpPr/>
              <p:nvPr userDrawn="1"/>
            </p:nvGrpSpPr>
            <p:grpSpPr>
              <a:xfrm>
                <a:off x="12831198" y="4432250"/>
                <a:ext cx="139861" cy="152244"/>
                <a:chOff x="12574450" y="6053892"/>
                <a:chExt cx="169232" cy="184215"/>
              </a:xfrm>
            </p:grpSpPr>
            <p:sp>
              <p:nvSpPr>
                <p:cNvPr id="453" name="Rechthoek 452">
                  <a:extLst>
                    <a:ext uri="{FF2B5EF4-FFF2-40B4-BE49-F238E27FC236}">
                      <a16:creationId xmlns:a16="http://schemas.microsoft.com/office/drawing/2014/main" id="{5B5FEE48-1258-49D5-A854-30CD06F7A6CE}"/>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454" name="Rechthoek 453">
                  <a:extLst>
                    <a:ext uri="{FF2B5EF4-FFF2-40B4-BE49-F238E27FC236}">
                      <a16:creationId xmlns:a16="http://schemas.microsoft.com/office/drawing/2014/main" id="{8AE17A5C-B8FD-4A4F-AD02-DC572E182CA7}"/>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455" name="Rechthoek 454">
                  <a:extLst>
                    <a:ext uri="{FF2B5EF4-FFF2-40B4-BE49-F238E27FC236}">
                      <a16:creationId xmlns:a16="http://schemas.microsoft.com/office/drawing/2014/main" id="{83D84286-E9E9-4F59-BDFD-AD4646D64DF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431" name="Groep 430">
                <a:extLst>
                  <a:ext uri="{FF2B5EF4-FFF2-40B4-BE49-F238E27FC236}">
                    <a16:creationId xmlns:a16="http://schemas.microsoft.com/office/drawing/2014/main" id="{E1C2B487-6CE0-484C-B95E-029BB5AE4517}"/>
                  </a:ext>
                </a:extLst>
              </p:cNvPr>
              <p:cNvGrpSpPr/>
              <p:nvPr userDrawn="1"/>
            </p:nvGrpSpPr>
            <p:grpSpPr>
              <a:xfrm>
                <a:off x="12831198" y="4748585"/>
                <a:ext cx="184916" cy="120210"/>
                <a:chOff x="8815516" y="1076284"/>
                <a:chExt cx="503174" cy="327105"/>
              </a:xfrm>
            </p:grpSpPr>
            <p:sp>
              <p:nvSpPr>
                <p:cNvPr id="432" name="Rechthoek 431">
                  <a:extLst>
                    <a:ext uri="{FF2B5EF4-FFF2-40B4-BE49-F238E27FC236}">
                      <a16:creationId xmlns:a16="http://schemas.microsoft.com/office/drawing/2014/main" id="{6592CF00-E248-47C9-80AF-33868D82572E}"/>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433" name="Groep 432">
                  <a:extLst>
                    <a:ext uri="{FF2B5EF4-FFF2-40B4-BE49-F238E27FC236}">
                      <a16:creationId xmlns:a16="http://schemas.microsoft.com/office/drawing/2014/main" id="{CADD19E5-32B8-4157-B5C9-C26C4C346FAC}"/>
                    </a:ext>
                  </a:extLst>
                </p:cNvPr>
                <p:cNvGrpSpPr/>
                <p:nvPr userDrawn="1"/>
              </p:nvGrpSpPr>
              <p:grpSpPr>
                <a:xfrm>
                  <a:off x="8815517" y="1076284"/>
                  <a:ext cx="503173" cy="327105"/>
                  <a:chOff x="1351248" y="-683635"/>
                  <a:chExt cx="503173" cy="327105"/>
                </a:xfrm>
              </p:grpSpPr>
              <p:grpSp>
                <p:nvGrpSpPr>
                  <p:cNvPr id="434" name="Groep 433">
                    <a:extLst>
                      <a:ext uri="{FF2B5EF4-FFF2-40B4-BE49-F238E27FC236}">
                        <a16:creationId xmlns:a16="http://schemas.microsoft.com/office/drawing/2014/main" id="{5E284D45-2D6C-403E-B11A-E93FC40E44EB}"/>
                      </a:ext>
                    </a:extLst>
                  </p:cNvPr>
                  <p:cNvGrpSpPr/>
                  <p:nvPr userDrawn="1"/>
                </p:nvGrpSpPr>
                <p:grpSpPr>
                  <a:xfrm>
                    <a:off x="1351248" y="-683635"/>
                    <a:ext cx="375186" cy="293652"/>
                    <a:chOff x="1094874" y="-884923"/>
                    <a:chExt cx="884668" cy="692417"/>
                  </a:xfrm>
                </p:grpSpPr>
                <p:sp>
                  <p:nvSpPr>
                    <p:cNvPr id="439" name="Rechthoek 438">
                      <a:extLst>
                        <a:ext uri="{FF2B5EF4-FFF2-40B4-BE49-F238E27FC236}">
                          <a16:creationId xmlns:a16="http://schemas.microsoft.com/office/drawing/2014/main" id="{6FE17986-A80C-4F86-8C7A-F5385729E1A4}"/>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440" name="Groep 439">
                      <a:extLst>
                        <a:ext uri="{FF2B5EF4-FFF2-40B4-BE49-F238E27FC236}">
                          <a16:creationId xmlns:a16="http://schemas.microsoft.com/office/drawing/2014/main" id="{A8DA3BEE-250E-4CB2-8750-343DC724539E}"/>
                        </a:ext>
                      </a:extLst>
                    </p:cNvPr>
                    <p:cNvGrpSpPr/>
                    <p:nvPr userDrawn="1"/>
                  </p:nvGrpSpPr>
                  <p:grpSpPr>
                    <a:xfrm>
                      <a:off x="1094874" y="-878306"/>
                      <a:ext cx="867364" cy="685800"/>
                      <a:chOff x="1094874" y="-878306"/>
                      <a:chExt cx="867364" cy="613611"/>
                    </a:xfrm>
                  </p:grpSpPr>
                  <p:cxnSp>
                    <p:nvCxnSpPr>
                      <p:cNvPr id="446" name="Rechte verbindingslijn 445">
                        <a:extLst>
                          <a:ext uri="{FF2B5EF4-FFF2-40B4-BE49-F238E27FC236}">
                            <a16:creationId xmlns:a16="http://schemas.microsoft.com/office/drawing/2014/main" id="{5C2D2CF5-3DD4-41F4-ADB0-5EFDBC4CD12A}"/>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7" name="Rechte verbindingslijn 446">
                        <a:extLst>
                          <a:ext uri="{FF2B5EF4-FFF2-40B4-BE49-F238E27FC236}">
                            <a16:creationId xmlns:a16="http://schemas.microsoft.com/office/drawing/2014/main" id="{804B345D-0B52-46CB-A2A2-B4ACE9DAA760}"/>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8" name="Groep 447">
                        <a:extLst>
                          <a:ext uri="{FF2B5EF4-FFF2-40B4-BE49-F238E27FC236}">
                            <a16:creationId xmlns:a16="http://schemas.microsoft.com/office/drawing/2014/main" id="{95127E70-86E8-40FD-A3F3-D565D1E080A4}"/>
                          </a:ext>
                        </a:extLst>
                      </p:cNvPr>
                      <p:cNvGrpSpPr/>
                      <p:nvPr userDrawn="1"/>
                    </p:nvGrpSpPr>
                    <p:grpSpPr>
                      <a:xfrm>
                        <a:off x="1270535" y="-878306"/>
                        <a:ext cx="526983" cy="613611"/>
                        <a:chOff x="1270535" y="-745959"/>
                        <a:chExt cx="526983" cy="481264"/>
                      </a:xfrm>
                    </p:grpSpPr>
                    <p:cxnSp>
                      <p:nvCxnSpPr>
                        <p:cNvPr id="449" name="Rechte verbindingslijn 448">
                          <a:extLst>
                            <a:ext uri="{FF2B5EF4-FFF2-40B4-BE49-F238E27FC236}">
                              <a16:creationId xmlns:a16="http://schemas.microsoft.com/office/drawing/2014/main" id="{93D799BB-F258-406A-B51C-5B5EAD98C02C}"/>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0" name="Rechte verbindingslijn 449">
                          <a:extLst>
                            <a:ext uri="{FF2B5EF4-FFF2-40B4-BE49-F238E27FC236}">
                              <a16:creationId xmlns:a16="http://schemas.microsoft.com/office/drawing/2014/main" id="{C3A29D67-3920-4A1C-B8D7-11FF932C7A86}"/>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1" name="Rechte verbindingslijn 450">
                          <a:extLst>
                            <a:ext uri="{FF2B5EF4-FFF2-40B4-BE49-F238E27FC236}">
                              <a16:creationId xmlns:a16="http://schemas.microsoft.com/office/drawing/2014/main" id="{603DB51F-36E6-4F6A-B82F-BC07976CCB80}"/>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2" name="Rechte verbindingslijn 451">
                          <a:extLst>
                            <a:ext uri="{FF2B5EF4-FFF2-40B4-BE49-F238E27FC236}">
                              <a16:creationId xmlns:a16="http://schemas.microsoft.com/office/drawing/2014/main" id="{BBFE95C4-F734-4644-B24D-12CFBE3EC8D4}"/>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41" name="Rechte verbindingslijn 440">
                      <a:extLst>
                        <a:ext uri="{FF2B5EF4-FFF2-40B4-BE49-F238E27FC236}">
                          <a16:creationId xmlns:a16="http://schemas.microsoft.com/office/drawing/2014/main" id="{83A9B342-479F-47EA-810A-AC7A7C29CC24}"/>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42" name="Groep 441">
                      <a:extLst>
                        <a:ext uri="{FF2B5EF4-FFF2-40B4-BE49-F238E27FC236}">
                          <a16:creationId xmlns:a16="http://schemas.microsoft.com/office/drawing/2014/main" id="{213FFAD0-E8E9-4FD3-AAAF-2B9F01577A5E}"/>
                        </a:ext>
                      </a:extLst>
                    </p:cNvPr>
                    <p:cNvGrpSpPr/>
                    <p:nvPr userDrawn="1"/>
                  </p:nvGrpSpPr>
                  <p:grpSpPr>
                    <a:xfrm>
                      <a:off x="1094874" y="-607596"/>
                      <a:ext cx="878306" cy="276726"/>
                      <a:chOff x="1106905" y="-607596"/>
                      <a:chExt cx="878307" cy="276726"/>
                    </a:xfrm>
                  </p:grpSpPr>
                  <p:cxnSp>
                    <p:nvCxnSpPr>
                      <p:cNvPr id="443" name="Rechte verbindingslijn 442">
                        <a:extLst>
                          <a:ext uri="{FF2B5EF4-FFF2-40B4-BE49-F238E27FC236}">
                            <a16:creationId xmlns:a16="http://schemas.microsoft.com/office/drawing/2014/main" id="{3AC0A952-0D4A-4E53-87FD-05AD621F662F}"/>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4" name="Rechte verbindingslijn 443">
                        <a:extLst>
                          <a:ext uri="{FF2B5EF4-FFF2-40B4-BE49-F238E27FC236}">
                            <a16:creationId xmlns:a16="http://schemas.microsoft.com/office/drawing/2014/main" id="{EACB3642-4915-4896-82E3-CC2F2819772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45" name="Rechte verbindingslijn 444">
                        <a:extLst>
                          <a:ext uri="{FF2B5EF4-FFF2-40B4-BE49-F238E27FC236}">
                            <a16:creationId xmlns:a16="http://schemas.microsoft.com/office/drawing/2014/main" id="{1B65515D-9070-4B74-8C7F-0254218B156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35" name="Groep 434">
                    <a:extLst>
                      <a:ext uri="{FF2B5EF4-FFF2-40B4-BE49-F238E27FC236}">
                        <a16:creationId xmlns:a16="http://schemas.microsoft.com/office/drawing/2014/main" id="{BAAB26B8-8259-438C-A6A9-C33DC5B7AD0E}"/>
                      </a:ext>
                    </a:extLst>
                  </p:cNvPr>
                  <p:cNvGrpSpPr/>
                  <p:nvPr userDrawn="1"/>
                </p:nvGrpSpPr>
                <p:grpSpPr>
                  <a:xfrm rot="2700000">
                    <a:off x="1605871" y="-605080"/>
                    <a:ext cx="90079" cy="407021"/>
                    <a:chOff x="3130062" y="-817193"/>
                    <a:chExt cx="131884" cy="595920"/>
                  </a:xfrm>
                  <a:solidFill>
                    <a:srgbClr val="3399FF"/>
                  </a:solidFill>
                </p:grpSpPr>
                <p:sp>
                  <p:nvSpPr>
                    <p:cNvPr id="436" name="Rechthoek 435">
                      <a:extLst>
                        <a:ext uri="{FF2B5EF4-FFF2-40B4-BE49-F238E27FC236}">
                          <a16:creationId xmlns:a16="http://schemas.microsoft.com/office/drawing/2014/main" id="{476ECDFF-482D-442D-ACDD-F4FA36DC31BB}"/>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37" name="Rechthoek: afgeronde bovenhoeken 436">
                      <a:extLst>
                        <a:ext uri="{FF2B5EF4-FFF2-40B4-BE49-F238E27FC236}">
                          <a16:creationId xmlns:a16="http://schemas.microsoft.com/office/drawing/2014/main" id="{F4888F59-2B86-42C3-B5E4-1CD46EF51BD7}"/>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38" name="Gelijkbenige driehoek 437">
                      <a:extLst>
                        <a:ext uri="{FF2B5EF4-FFF2-40B4-BE49-F238E27FC236}">
                          <a16:creationId xmlns:a16="http://schemas.microsoft.com/office/drawing/2014/main" id="{7417D659-B10F-4819-B2B7-1B56F8D2E8C9}"/>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456" name="Instructie">
            <a:extLst>
              <a:ext uri="{FF2B5EF4-FFF2-40B4-BE49-F238E27FC236}">
                <a16:creationId xmlns:a16="http://schemas.microsoft.com/office/drawing/2014/main" id="{968350DB-B9DC-4E66-B3AA-7EAC93762340}"/>
              </a:ext>
            </a:extLst>
          </p:cNvPr>
          <p:cNvGrpSpPr/>
          <p:nvPr userDrawn="1"/>
        </p:nvGrpSpPr>
        <p:grpSpPr>
          <a:xfrm>
            <a:off x="12391601" y="0"/>
            <a:ext cx="3183677" cy="2499789"/>
            <a:chOff x="12391601" y="0"/>
            <a:chExt cx="3183677" cy="2499789"/>
          </a:xfrm>
        </p:grpSpPr>
        <p:sp>
          <p:nvSpPr>
            <p:cNvPr id="457" name="Rechthoek 456">
              <a:extLst>
                <a:ext uri="{FF2B5EF4-FFF2-40B4-BE49-F238E27FC236}">
                  <a16:creationId xmlns:a16="http://schemas.microsoft.com/office/drawing/2014/main" id="{26559C5E-546C-4A70-A0EF-53EA3E2DE60A}"/>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458" name="Ovaal 457">
              <a:extLst>
                <a:ext uri="{FF2B5EF4-FFF2-40B4-BE49-F238E27FC236}">
                  <a16:creationId xmlns:a16="http://schemas.microsoft.com/office/drawing/2014/main" id="{CA50E38A-FAF8-4A0B-B892-BDA9F843CB6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59" name="Rechte verbindingslijn 458">
              <a:extLst>
                <a:ext uri="{FF2B5EF4-FFF2-40B4-BE49-F238E27FC236}">
                  <a16:creationId xmlns:a16="http://schemas.microsoft.com/office/drawing/2014/main" id="{8820A337-456D-49FD-BE24-31BA4D25A128}"/>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60" name="Rechte verbindingslijn 459">
              <a:extLst>
                <a:ext uri="{FF2B5EF4-FFF2-40B4-BE49-F238E27FC236}">
                  <a16:creationId xmlns:a16="http://schemas.microsoft.com/office/drawing/2014/main" id="{BA949DC0-146E-4049-9480-FAE51A94D667}"/>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61" name="Rechthoek 460">
              <a:extLst>
                <a:ext uri="{FF2B5EF4-FFF2-40B4-BE49-F238E27FC236}">
                  <a16:creationId xmlns:a16="http://schemas.microsoft.com/office/drawing/2014/main" id="{921C6BE8-3C08-4E13-A550-268A5BD1C6D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62" name="Ovaal 461">
              <a:extLst>
                <a:ext uri="{FF2B5EF4-FFF2-40B4-BE49-F238E27FC236}">
                  <a16:creationId xmlns:a16="http://schemas.microsoft.com/office/drawing/2014/main" id="{D821E7F7-E3E9-4A5D-9ABE-5AC8879B3E10}"/>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63" name="Rechthoek 462">
              <a:extLst>
                <a:ext uri="{FF2B5EF4-FFF2-40B4-BE49-F238E27FC236}">
                  <a16:creationId xmlns:a16="http://schemas.microsoft.com/office/drawing/2014/main" id="{E83EDA2E-B8ED-46C5-9D3B-C099AE2F6AC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64" name="Groep 463">
              <a:extLst>
                <a:ext uri="{FF2B5EF4-FFF2-40B4-BE49-F238E27FC236}">
                  <a16:creationId xmlns:a16="http://schemas.microsoft.com/office/drawing/2014/main" id="{0EB3197A-73D2-419D-A0D7-7264C585922D}"/>
                </a:ext>
              </a:extLst>
            </p:cNvPr>
            <p:cNvGrpSpPr/>
            <p:nvPr userDrawn="1"/>
          </p:nvGrpSpPr>
          <p:grpSpPr>
            <a:xfrm>
              <a:off x="12757282" y="2184550"/>
              <a:ext cx="825500" cy="209550"/>
              <a:chOff x="13504624" y="2482850"/>
              <a:chExt cx="825500" cy="209550"/>
            </a:xfrm>
          </p:grpSpPr>
          <p:sp>
            <p:nvSpPr>
              <p:cNvPr id="470" name="Rechthoek 469">
                <a:extLst>
                  <a:ext uri="{FF2B5EF4-FFF2-40B4-BE49-F238E27FC236}">
                    <a16:creationId xmlns:a16="http://schemas.microsoft.com/office/drawing/2014/main" id="{FDF5FBF6-34D9-4ED1-A544-9490EA133BD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471" name="Rechte verbindingslijn 470">
                <a:extLst>
                  <a:ext uri="{FF2B5EF4-FFF2-40B4-BE49-F238E27FC236}">
                    <a16:creationId xmlns:a16="http://schemas.microsoft.com/office/drawing/2014/main" id="{4CD4DE8C-9E07-458B-9F4B-F627D226B06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72" name="Gelijkbenige driehoek 471">
                <a:extLst>
                  <a:ext uri="{FF2B5EF4-FFF2-40B4-BE49-F238E27FC236}">
                    <a16:creationId xmlns:a16="http://schemas.microsoft.com/office/drawing/2014/main" id="{1D420B5D-59C1-4D25-96C0-7484780E9E1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465" name="Rechte verbindingslijn 464">
              <a:extLst>
                <a:ext uri="{FF2B5EF4-FFF2-40B4-BE49-F238E27FC236}">
                  <a16:creationId xmlns:a16="http://schemas.microsoft.com/office/drawing/2014/main" id="{15D12A78-A17D-460A-AB35-1C85A51E6996}"/>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466" name="Groep 465">
              <a:extLst>
                <a:ext uri="{FF2B5EF4-FFF2-40B4-BE49-F238E27FC236}">
                  <a16:creationId xmlns:a16="http://schemas.microsoft.com/office/drawing/2014/main" id="{E63DD2D8-B2A9-4AB9-B09A-B697C6C754C3}"/>
                </a:ext>
              </a:extLst>
            </p:cNvPr>
            <p:cNvGrpSpPr/>
            <p:nvPr userDrawn="1"/>
          </p:nvGrpSpPr>
          <p:grpSpPr>
            <a:xfrm>
              <a:off x="12751697" y="1147804"/>
              <a:ext cx="289372" cy="314992"/>
              <a:chOff x="7322769" y="-310267"/>
              <a:chExt cx="289372" cy="314992"/>
            </a:xfrm>
          </p:grpSpPr>
          <p:sp>
            <p:nvSpPr>
              <p:cNvPr id="467" name="Rechthoek 466">
                <a:extLst>
                  <a:ext uri="{FF2B5EF4-FFF2-40B4-BE49-F238E27FC236}">
                    <a16:creationId xmlns:a16="http://schemas.microsoft.com/office/drawing/2014/main" id="{9C0F72A6-9B01-4799-AECD-D7F742AB41E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68" name="Rechthoek 467">
                <a:extLst>
                  <a:ext uri="{FF2B5EF4-FFF2-40B4-BE49-F238E27FC236}">
                    <a16:creationId xmlns:a16="http://schemas.microsoft.com/office/drawing/2014/main" id="{D6C7C30A-F674-458A-8DD6-A266138E6DB6}"/>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469" name="Rechthoek 468">
                <a:extLst>
                  <a:ext uri="{FF2B5EF4-FFF2-40B4-BE49-F238E27FC236}">
                    <a16:creationId xmlns:a16="http://schemas.microsoft.com/office/drawing/2014/main" id="{05AD1692-59A4-4A18-95DE-485351CE77A8}"/>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36507213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65D88B5A-9448-457A-A534-04B90351D3ED}"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GRAFIEK</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539497" y="1459111"/>
            <a:ext cx="1111224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74" name="Instructie">
            <a:extLst>
              <a:ext uri="{FF2B5EF4-FFF2-40B4-BE49-F238E27FC236}">
                <a16:creationId xmlns:a16="http://schemas.microsoft.com/office/drawing/2014/main" id="{B972CF49-E143-4536-B73E-02151D4202F8}"/>
              </a:ext>
            </a:extLst>
          </p:cNvPr>
          <p:cNvGrpSpPr/>
          <p:nvPr userDrawn="1"/>
        </p:nvGrpSpPr>
        <p:grpSpPr>
          <a:xfrm>
            <a:off x="12389714" y="5221435"/>
            <a:ext cx="3183677" cy="1636565"/>
            <a:chOff x="12389714" y="4327164"/>
            <a:chExt cx="3183677" cy="1636565"/>
          </a:xfrm>
        </p:grpSpPr>
        <p:cxnSp>
          <p:nvCxnSpPr>
            <p:cNvPr id="75" name="Rechte verbindingslijn 74">
              <a:extLst>
                <a:ext uri="{FF2B5EF4-FFF2-40B4-BE49-F238E27FC236}">
                  <a16:creationId xmlns:a16="http://schemas.microsoft.com/office/drawing/2014/main" id="{8619AEFD-8A08-4117-9131-36A9F97CC5F5}"/>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76" name="Rechthoek 75">
              <a:extLst>
                <a:ext uri="{FF2B5EF4-FFF2-40B4-BE49-F238E27FC236}">
                  <a16:creationId xmlns:a16="http://schemas.microsoft.com/office/drawing/2014/main" id="{A6236CE0-E1AC-4BA7-8B28-53277866B859}"/>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77" name="Ovaal 76">
              <a:extLst>
                <a:ext uri="{FF2B5EF4-FFF2-40B4-BE49-F238E27FC236}">
                  <a16:creationId xmlns:a16="http://schemas.microsoft.com/office/drawing/2014/main" id="{A821C9E1-8337-4AB1-A151-207BFF0FEBB3}"/>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78" name="Rechte verbindingslijn 77">
              <a:extLst>
                <a:ext uri="{FF2B5EF4-FFF2-40B4-BE49-F238E27FC236}">
                  <a16:creationId xmlns:a16="http://schemas.microsoft.com/office/drawing/2014/main" id="{1DA1E750-3948-484A-B193-DA0A2A460AF7}"/>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79" name="Rechthoek 78">
              <a:extLst>
                <a:ext uri="{FF2B5EF4-FFF2-40B4-BE49-F238E27FC236}">
                  <a16:creationId xmlns:a16="http://schemas.microsoft.com/office/drawing/2014/main" id="{F1BC702D-8B8F-4BB9-975A-820866492DDB}"/>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80" name="Groep 79">
              <a:extLst>
                <a:ext uri="{FF2B5EF4-FFF2-40B4-BE49-F238E27FC236}">
                  <a16:creationId xmlns:a16="http://schemas.microsoft.com/office/drawing/2014/main" id="{19713D3E-95E2-4480-829B-C7E8C21517AE}"/>
                </a:ext>
              </a:extLst>
            </p:cNvPr>
            <p:cNvGrpSpPr/>
            <p:nvPr userDrawn="1"/>
          </p:nvGrpSpPr>
          <p:grpSpPr>
            <a:xfrm>
              <a:off x="12755394" y="5222855"/>
              <a:ext cx="1714530" cy="639425"/>
              <a:chOff x="12757283" y="4365594"/>
              <a:chExt cx="1714530" cy="639425"/>
            </a:xfrm>
          </p:grpSpPr>
          <p:sp>
            <p:nvSpPr>
              <p:cNvPr id="81" name="Rechthoek 80">
                <a:extLst>
                  <a:ext uri="{FF2B5EF4-FFF2-40B4-BE49-F238E27FC236}">
                    <a16:creationId xmlns:a16="http://schemas.microsoft.com/office/drawing/2014/main" id="{46AE71E4-1BC3-428B-ABD2-11B63625E01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2" name="Rechthoek 81">
                <a:extLst>
                  <a:ext uri="{FF2B5EF4-FFF2-40B4-BE49-F238E27FC236}">
                    <a16:creationId xmlns:a16="http://schemas.microsoft.com/office/drawing/2014/main" id="{6D18ED2B-9992-4D8A-A3F4-4720DCBB6F4F}"/>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3" name="Tekstvak 82">
                <a:extLst>
                  <a:ext uri="{FF2B5EF4-FFF2-40B4-BE49-F238E27FC236}">
                    <a16:creationId xmlns:a16="http://schemas.microsoft.com/office/drawing/2014/main" id="{6DD53454-7E76-4FEB-A6C5-3B31E555CBB0}"/>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84" name="Tekstvak 83">
                <a:extLst>
                  <a:ext uri="{FF2B5EF4-FFF2-40B4-BE49-F238E27FC236}">
                    <a16:creationId xmlns:a16="http://schemas.microsoft.com/office/drawing/2014/main" id="{98AA1ED3-7654-4AB1-8AF8-386D4E4E6CEF}"/>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85" name="Picture 3">
                <a:extLst>
                  <a:ext uri="{FF2B5EF4-FFF2-40B4-BE49-F238E27FC236}">
                    <a16:creationId xmlns:a16="http://schemas.microsoft.com/office/drawing/2014/main" id="{95FD1C77-383D-419B-B010-83F96383E8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6" name="Groep 85">
                <a:extLst>
                  <a:ext uri="{FF2B5EF4-FFF2-40B4-BE49-F238E27FC236}">
                    <a16:creationId xmlns:a16="http://schemas.microsoft.com/office/drawing/2014/main" id="{BC892A5F-71EC-4CD6-B2EC-948B628B4921}"/>
                  </a:ext>
                </a:extLst>
              </p:cNvPr>
              <p:cNvGrpSpPr/>
              <p:nvPr userDrawn="1"/>
            </p:nvGrpSpPr>
            <p:grpSpPr>
              <a:xfrm>
                <a:off x="12831198" y="4432250"/>
                <a:ext cx="139861" cy="152244"/>
                <a:chOff x="12574450" y="6053892"/>
                <a:chExt cx="169232" cy="184215"/>
              </a:xfrm>
            </p:grpSpPr>
            <p:sp>
              <p:nvSpPr>
                <p:cNvPr id="109" name="Rechthoek 108">
                  <a:extLst>
                    <a:ext uri="{FF2B5EF4-FFF2-40B4-BE49-F238E27FC236}">
                      <a16:creationId xmlns:a16="http://schemas.microsoft.com/office/drawing/2014/main" id="{20A88D06-7F47-4140-B630-F4ED20C4214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10" name="Rechthoek 109">
                  <a:extLst>
                    <a:ext uri="{FF2B5EF4-FFF2-40B4-BE49-F238E27FC236}">
                      <a16:creationId xmlns:a16="http://schemas.microsoft.com/office/drawing/2014/main" id="{98DE47D3-576B-4E82-BE49-0AD5CCB36880}"/>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11" name="Rechthoek 110">
                  <a:extLst>
                    <a:ext uri="{FF2B5EF4-FFF2-40B4-BE49-F238E27FC236}">
                      <a16:creationId xmlns:a16="http://schemas.microsoft.com/office/drawing/2014/main" id="{B6FF1A25-9824-47C0-B471-84E431239CD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87" name="Groep 86">
                <a:extLst>
                  <a:ext uri="{FF2B5EF4-FFF2-40B4-BE49-F238E27FC236}">
                    <a16:creationId xmlns:a16="http://schemas.microsoft.com/office/drawing/2014/main" id="{2509F33A-40E9-4679-BC0E-B493A23390CC}"/>
                  </a:ext>
                </a:extLst>
              </p:cNvPr>
              <p:cNvGrpSpPr/>
              <p:nvPr userDrawn="1"/>
            </p:nvGrpSpPr>
            <p:grpSpPr>
              <a:xfrm>
                <a:off x="12831198" y="4748585"/>
                <a:ext cx="184916" cy="120210"/>
                <a:chOff x="8815516" y="1076284"/>
                <a:chExt cx="503174" cy="327105"/>
              </a:xfrm>
            </p:grpSpPr>
            <p:sp>
              <p:nvSpPr>
                <p:cNvPr id="88" name="Rechthoek 87">
                  <a:extLst>
                    <a:ext uri="{FF2B5EF4-FFF2-40B4-BE49-F238E27FC236}">
                      <a16:creationId xmlns:a16="http://schemas.microsoft.com/office/drawing/2014/main" id="{56EE2C70-CEF5-4019-AD16-54893C917483}"/>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89" name="Groep 88">
                  <a:extLst>
                    <a:ext uri="{FF2B5EF4-FFF2-40B4-BE49-F238E27FC236}">
                      <a16:creationId xmlns:a16="http://schemas.microsoft.com/office/drawing/2014/main" id="{C8D244F3-BAF2-46D2-9BA4-4DF01689F6BB}"/>
                    </a:ext>
                  </a:extLst>
                </p:cNvPr>
                <p:cNvGrpSpPr/>
                <p:nvPr userDrawn="1"/>
              </p:nvGrpSpPr>
              <p:grpSpPr>
                <a:xfrm>
                  <a:off x="8815517" y="1076284"/>
                  <a:ext cx="503173" cy="327105"/>
                  <a:chOff x="1351248" y="-683635"/>
                  <a:chExt cx="503173" cy="327105"/>
                </a:xfrm>
              </p:grpSpPr>
              <p:grpSp>
                <p:nvGrpSpPr>
                  <p:cNvPr id="90" name="Groep 89">
                    <a:extLst>
                      <a:ext uri="{FF2B5EF4-FFF2-40B4-BE49-F238E27FC236}">
                        <a16:creationId xmlns:a16="http://schemas.microsoft.com/office/drawing/2014/main" id="{9359415B-A09B-4D47-9FCD-2E5769196783}"/>
                      </a:ext>
                    </a:extLst>
                  </p:cNvPr>
                  <p:cNvGrpSpPr/>
                  <p:nvPr userDrawn="1"/>
                </p:nvGrpSpPr>
                <p:grpSpPr>
                  <a:xfrm>
                    <a:off x="1351248" y="-683635"/>
                    <a:ext cx="375186" cy="293652"/>
                    <a:chOff x="1094874" y="-884923"/>
                    <a:chExt cx="884668" cy="692417"/>
                  </a:xfrm>
                </p:grpSpPr>
                <p:sp>
                  <p:nvSpPr>
                    <p:cNvPr id="95" name="Rechthoek 94">
                      <a:extLst>
                        <a:ext uri="{FF2B5EF4-FFF2-40B4-BE49-F238E27FC236}">
                          <a16:creationId xmlns:a16="http://schemas.microsoft.com/office/drawing/2014/main" id="{13C8B5C6-0E17-4FD1-85B0-5D522CF31E1F}"/>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96" name="Groep 95">
                      <a:extLst>
                        <a:ext uri="{FF2B5EF4-FFF2-40B4-BE49-F238E27FC236}">
                          <a16:creationId xmlns:a16="http://schemas.microsoft.com/office/drawing/2014/main" id="{FFF07B23-3892-43DB-B059-59D78582C1C4}"/>
                        </a:ext>
                      </a:extLst>
                    </p:cNvPr>
                    <p:cNvGrpSpPr/>
                    <p:nvPr userDrawn="1"/>
                  </p:nvGrpSpPr>
                  <p:grpSpPr>
                    <a:xfrm>
                      <a:off x="1094874" y="-878306"/>
                      <a:ext cx="867364" cy="685800"/>
                      <a:chOff x="1094874" y="-878306"/>
                      <a:chExt cx="867364" cy="613611"/>
                    </a:xfrm>
                  </p:grpSpPr>
                  <p:cxnSp>
                    <p:nvCxnSpPr>
                      <p:cNvPr id="102" name="Rechte verbindingslijn 101">
                        <a:extLst>
                          <a:ext uri="{FF2B5EF4-FFF2-40B4-BE49-F238E27FC236}">
                            <a16:creationId xmlns:a16="http://schemas.microsoft.com/office/drawing/2014/main" id="{8D326885-9E04-4C8C-A5C1-ADF060A21BDD}"/>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3" name="Rechte verbindingslijn 102">
                        <a:extLst>
                          <a:ext uri="{FF2B5EF4-FFF2-40B4-BE49-F238E27FC236}">
                            <a16:creationId xmlns:a16="http://schemas.microsoft.com/office/drawing/2014/main" id="{67708AEB-A08D-4668-9453-19DBE12B49F2}"/>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4" name="Groep 103">
                        <a:extLst>
                          <a:ext uri="{FF2B5EF4-FFF2-40B4-BE49-F238E27FC236}">
                            <a16:creationId xmlns:a16="http://schemas.microsoft.com/office/drawing/2014/main" id="{A2D35943-67CD-4101-8F1B-E63EB14AC4A7}"/>
                          </a:ext>
                        </a:extLst>
                      </p:cNvPr>
                      <p:cNvGrpSpPr/>
                      <p:nvPr userDrawn="1"/>
                    </p:nvGrpSpPr>
                    <p:grpSpPr>
                      <a:xfrm>
                        <a:off x="1270535" y="-878306"/>
                        <a:ext cx="526983" cy="613611"/>
                        <a:chOff x="1270535" y="-745959"/>
                        <a:chExt cx="526983" cy="481264"/>
                      </a:xfrm>
                    </p:grpSpPr>
                    <p:cxnSp>
                      <p:nvCxnSpPr>
                        <p:cNvPr id="105" name="Rechte verbindingslijn 104">
                          <a:extLst>
                            <a:ext uri="{FF2B5EF4-FFF2-40B4-BE49-F238E27FC236}">
                              <a16:creationId xmlns:a16="http://schemas.microsoft.com/office/drawing/2014/main" id="{2BF5283D-E0B5-4438-BF77-01D91FAE37C7}"/>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6" name="Rechte verbindingslijn 105">
                          <a:extLst>
                            <a:ext uri="{FF2B5EF4-FFF2-40B4-BE49-F238E27FC236}">
                              <a16:creationId xmlns:a16="http://schemas.microsoft.com/office/drawing/2014/main" id="{C387A47F-7F0F-498C-9C7A-0DAC50513F3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583B8D76-E296-466B-AB9A-207C4D239511}"/>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52EC5223-DD85-4EDB-8D96-ED9FCAE322AC}"/>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97" name="Rechte verbindingslijn 96">
                      <a:extLst>
                        <a:ext uri="{FF2B5EF4-FFF2-40B4-BE49-F238E27FC236}">
                          <a16:creationId xmlns:a16="http://schemas.microsoft.com/office/drawing/2014/main" id="{34216DA4-8816-4742-A4E7-441721CC9962}"/>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98" name="Groep 97">
                      <a:extLst>
                        <a:ext uri="{FF2B5EF4-FFF2-40B4-BE49-F238E27FC236}">
                          <a16:creationId xmlns:a16="http://schemas.microsoft.com/office/drawing/2014/main" id="{D3EDC5E9-3DCE-4232-8001-9089A793072F}"/>
                        </a:ext>
                      </a:extLst>
                    </p:cNvPr>
                    <p:cNvGrpSpPr/>
                    <p:nvPr userDrawn="1"/>
                  </p:nvGrpSpPr>
                  <p:grpSpPr>
                    <a:xfrm>
                      <a:off x="1094874" y="-607596"/>
                      <a:ext cx="878306" cy="276726"/>
                      <a:chOff x="1106905" y="-607596"/>
                      <a:chExt cx="878307" cy="276726"/>
                    </a:xfrm>
                  </p:grpSpPr>
                  <p:cxnSp>
                    <p:nvCxnSpPr>
                      <p:cNvPr id="99" name="Rechte verbindingslijn 98">
                        <a:extLst>
                          <a:ext uri="{FF2B5EF4-FFF2-40B4-BE49-F238E27FC236}">
                            <a16:creationId xmlns:a16="http://schemas.microsoft.com/office/drawing/2014/main" id="{F5257B78-A23C-4286-BB72-E7CC2359FB79}"/>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0" name="Rechte verbindingslijn 99">
                        <a:extLst>
                          <a:ext uri="{FF2B5EF4-FFF2-40B4-BE49-F238E27FC236}">
                            <a16:creationId xmlns:a16="http://schemas.microsoft.com/office/drawing/2014/main" id="{9B21A33D-5248-4792-87A0-2367DE8339DD}"/>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1" name="Rechte verbindingslijn 100">
                        <a:extLst>
                          <a:ext uri="{FF2B5EF4-FFF2-40B4-BE49-F238E27FC236}">
                            <a16:creationId xmlns:a16="http://schemas.microsoft.com/office/drawing/2014/main" id="{1292EA23-CAFC-4FAA-9703-EB32C8C778D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91" name="Groep 90">
                    <a:extLst>
                      <a:ext uri="{FF2B5EF4-FFF2-40B4-BE49-F238E27FC236}">
                        <a16:creationId xmlns:a16="http://schemas.microsoft.com/office/drawing/2014/main" id="{845F69D1-3951-4CA5-81D1-1921114D546B}"/>
                      </a:ext>
                    </a:extLst>
                  </p:cNvPr>
                  <p:cNvGrpSpPr/>
                  <p:nvPr userDrawn="1"/>
                </p:nvGrpSpPr>
                <p:grpSpPr>
                  <a:xfrm rot="2700000">
                    <a:off x="1605871" y="-605080"/>
                    <a:ext cx="90079" cy="407021"/>
                    <a:chOff x="3130062" y="-817193"/>
                    <a:chExt cx="131884" cy="595920"/>
                  </a:xfrm>
                  <a:solidFill>
                    <a:srgbClr val="3399FF"/>
                  </a:solidFill>
                </p:grpSpPr>
                <p:sp>
                  <p:nvSpPr>
                    <p:cNvPr id="92" name="Rechthoek 91">
                      <a:extLst>
                        <a:ext uri="{FF2B5EF4-FFF2-40B4-BE49-F238E27FC236}">
                          <a16:creationId xmlns:a16="http://schemas.microsoft.com/office/drawing/2014/main" id="{866D29B1-DCE2-447E-BA88-31697F9592D4}"/>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3" name="Rechthoek: afgeronde bovenhoeken 92">
                      <a:extLst>
                        <a:ext uri="{FF2B5EF4-FFF2-40B4-BE49-F238E27FC236}">
                          <a16:creationId xmlns:a16="http://schemas.microsoft.com/office/drawing/2014/main" id="{60BAF024-6722-42F1-ABCC-F7730797864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4" name="Gelijkbenige driehoek 93">
                      <a:extLst>
                        <a:ext uri="{FF2B5EF4-FFF2-40B4-BE49-F238E27FC236}">
                          <a16:creationId xmlns:a16="http://schemas.microsoft.com/office/drawing/2014/main" id="{1BE3730C-1B90-46FE-84EB-75166346538C}"/>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112" name="Instructie">
            <a:extLst>
              <a:ext uri="{FF2B5EF4-FFF2-40B4-BE49-F238E27FC236}">
                <a16:creationId xmlns:a16="http://schemas.microsoft.com/office/drawing/2014/main" id="{C49CC328-B599-43D4-A145-1CC5920BB79C}"/>
              </a:ext>
            </a:extLst>
          </p:cNvPr>
          <p:cNvGrpSpPr/>
          <p:nvPr userDrawn="1"/>
        </p:nvGrpSpPr>
        <p:grpSpPr>
          <a:xfrm>
            <a:off x="12391601" y="0"/>
            <a:ext cx="3183677" cy="2499789"/>
            <a:chOff x="12391601" y="0"/>
            <a:chExt cx="3183677" cy="2499789"/>
          </a:xfrm>
        </p:grpSpPr>
        <p:sp>
          <p:nvSpPr>
            <p:cNvPr id="113" name="Rechthoek 112">
              <a:extLst>
                <a:ext uri="{FF2B5EF4-FFF2-40B4-BE49-F238E27FC236}">
                  <a16:creationId xmlns:a16="http://schemas.microsoft.com/office/drawing/2014/main" id="{3DC127D4-C91D-434D-961C-51DD7C05B9CA}"/>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14" name="Ovaal 113">
              <a:extLst>
                <a:ext uri="{FF2B5EF4-FFF2-40B4-BE49-F238E27FC236}">
                  <a16:creationId xmlns:a16="http://schemas.microsoft.com/office/drawing/2014/main" id="{F369C675-B222-4E3C-9799-B9E9C826D6EA}"/>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5" name="Rechte verbindingslijn 114">
              <a:extLst>
                <a:ext uri="{FF2B5EF4-FFF2-40B4-BE49-F238E27FC236}">
                  <a16:creationId xmlns:a16="http://schemas.microsoft.com/office/drawing/2014/main" id="{AB74B0B9-D672-464B-8856-0FAB1769AC2D}"/>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16" name="Rechte verbindingslijn 115">
              <a:extLst>
                <a:ext uri="{FF2B5EF4-FFF2-40B4-BE49-F238E27FC236}">
                  <a16:creationId xmlns:a16="http://schemas.microsoft.com/office/drawing/2014/main" id="{C750B418-3B0A-4B5A-B30A-6497E416A602}"/>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17" name="Rechthoek 116">
              <a:extLst>
                <a:ext uri="{FF2B5EF4-FFF2-40B4-BE49-F238E27FC236}">
                  <a16:creationId xmlns:a16="http://schemas.microsoft.com/office/drawing/2014/main" id="{46F58321-87C8-4D68-8FFD-B81C6063B34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18" name="Ovaal 117">
              <a:extLst>
                <a:ext uri="{FF2B5EF4-FFF2-40B4-BE49-F238E27FC236}">
                  <a16:creationId xmlns:a16="http://schemas.microsoft.com/office/drawing/2014/main" id="{519109F1-9A8A-40EE-A628-C50A2EF8977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9" name="Rechthoek 118">
              <a:extLst>
                <a:ext uri="{FF2B5EF4-FFF2-40B4-BE49-F238E27FC236}">
                  <a16:creationId xmlns:a16="http://schemas.microsoft.com/office/drawing/2014/main" id="{1563674D-5735-4910-813E-D37A95FDB85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0" name="Groep 119">
              <a:extLst>
                <a:ext uri="{FF2B5EF4-FFF2-40B4-BE49-F238E27FC236}">
                  <a16:creationId xmlns:a16="http://schemas.microsoft.com/office/drawing/2014/main" id="{9DEB9494-BA1A-4798-90C6-F5DD28D2F969}"/>
                </a:ext>
              </a:extLst>
            </p:cNvPr>
            <p:cNvGrpSpPr/>
            <p:nvPr userDrawn="1"/>
          </p:nvGrpSpPr>
          <p:grpSpPr>
            <a:xfrm>
              <a:off x="12757282" y="2184550"/>
              <a:ext cx="825500" cy="209550"/>
              <a:chOff x="13504624" y="2482850"/>
              <a:chExt cx="825500" cy="209550"/>
            </a:xfrm>
          </p:grpSpPr>
          <p:sp>
            <p:nvSpPr>
              <p:cNvPr id="126" name="Rechthoek 125">
                <a:extLst>
                  <a:ext uri="{FF2B5EF4-FFF2-40B4-BE49-F238E27FC236}">
                    <a16:creationId xmlns:a16="http://schemas.microsoft.com/office/drawing/2014/main" id="{44B34948-9946-4C94-9AF7-02B9272901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27" name="Rechte verbindingslijn 126">
                <a:extLst>
                  <a:ext uri="{FF2B5EF4-FFF2-40B4-BE49-F238E27FC236}">
                    <a16:creationId xmlns:a16="http://schemas.microsoft.com/office/drawing/2014/main" id="{D8206913-A5AF-4738-8A45-6061E6F4211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8" name="Gelijkbenige driehoek 127">
                <a:extLst>
                  <a:ext uri="{FF2B5EF4-FFF2-40B4-BE49-F238E27FC236}">
                    <a16:creationId xmlns:a16="http://schemas.microsoft.com/office/drawing/2014/main" id="{05C8F3AB-BA74-478D-8577-E60182B41EA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21" name="Rechte verbindingslijn 120">
              <a:extLst>
                <a:ext uri="{FF2B5EF4-FFF2-40B4-BE49-F238E27FC236}">
                  <a16:creationId xmlns:a16="http://schemas.microsoft.com/office/drawing/2014/main" id="{0E748A4E-043C-4103-BD56-68121CACEBA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2" name="Groep 121">
              <a:extLst>
                <a:ext uri="{FF2B5EF4-FFF2-40B4-BE49-F238E27FC236}">
                  <a16:creationId xmlns:a16="http://schemas.microsoft.com/office/drawing/2014/main" id="{94470644-5423-4046-A427-8AFB057AD58F}"/>
                </a:ext>
              </a:extLst>
            </p:cNvPr>
            <p:cNvGrpSpPr/>
            <p:nvPr userDrawn="1"/>
          </p:nvGrpSpPr>
          <p:grpSpPr>
            <a:xfrm>
              <a:off x="12751697" y="1147804"/>
              <a:ext cx="289372" cy="314992"/>
              <a:chOff x="7322769" y="-310267"/>
              <a:chExt cx="289372" cy="314992"/>
            </a:xfrm>
          </p:grpSpPr>
          <p:sp>
            <p:nvSpPr>
              <p:cNvPr id="123" name="Rechthoek 122">
                <a:extLst>
                  <a:ext uri="{FF2B5EF4-FFF2-40B4-BE49-F238E27FC236}">
                    <a16:creationId xmlns:a16="http://schemas.microsoft.com/office/drawing/2014/main" id="{F8D5CEAB-BBBB-4E8C-9202-A606DD14A5B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4" name="Rechthoek 123">
                <a:extLst>
                  <a:ext uri="{FF2B5EF4-FFF2-40B4-BE49-F238E27FC236}">
                    <a16:creationId xmlns:a16="http://schemas.microsoft.com/office/drawing/2014/main" id="{32D9D0FD-361F-4F40-92EF-1F7AAEEFF0A4}"/>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5" name="Rechthoek 124">
                <a:extLst>
                  <a:ext uri="{FF2B5EF4-FFF2-40B4-BE49-F238E27FC236}">
                    <a16:creationId xmlns:a16="http://schemas.microsoft.com/office/drawing/2014/main" id="{67A1B84C-C62F-4037-AA1F-671F278912E2}"/>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26087975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RAFIEK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C13F2C53-FCED-41B5-986D-5390C12D8F71}"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GRAFIEK 2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6636507"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grafiek 17">
            <a:extLst>
              <a:ext uri="{FF2B5EF4-FFF2-40B4-BE49-F238E27FC236}">
                <a16:creationId xmlns:a16="http://schemas.microsoft.com/office/drawing/2014/main" id="{D6C0AB07-93B4-4F3A-87B2-5D34C4756313}"/>
              </a:ext>
            </a:extLst>
          </p:cNvPr>
          <p:cNvSpPr>
            <a:spLocks noGrp="1"/>
          </p:cNvSpPr>
          <p:nvPr>
            <p:ph type="chart" sz="quarter" idx="17" hasCustomPrompt="1"/>
          </p:nvPr>
        </p:nvSpPr>
        <p:spPr>
          <a:xfrm>
            <a:off x="539749" y="1459111"/>
            <a:ext cx="5015239" cy="4119774"/>
          </a:xfrm>
          <a:solidFill>
            <a:schemeClr val="bg1">
              <a:lumMod val="95000"/>
            </a:schemeClr>
          </a:solidFill>
        </p:spPr>
        <p:txBody>
          <a:bodyPr tIns="1620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78" name="Instructie">
            <a:extLst>
              <a:ext uri="{FF2B5EF4-FFF2-40B4-BE49-F238E27FC236}">
                <a16:creationId xmlns:a16="http://schemas.microsoft.com/office/drawing/2014/main" id="{F67437EB-2DAF-4056-A160-EEBE72F1EFCD}"/>
              </a:ext>
            </a:extLst>
          </p:cNvPr>
          <p:cNvGrpSpPr/>
          <p:nvPr userDrawn="1"/>
        </p:nvGrpSpPr>
        <p:grpSpPr>
          <a:xfrm>
            <a:off x="12389714" y="5221435"/>
            <a:ext cx="3183677" cy="1636565"/>
            <a:chOff x="12389714" y="4327164"/>
            <a:chExt cx="3183677" cy="1636565"/>
          </a:xfrm>
        </p:grpSpPr>
        <p:cxnSp>
          <p:nvCxnSpPr>
            <p:cNvPr id="79" name="Rechte verbindingslijn 78">
              <a:extLst>
                <a:ext uri="{FF2B5EF4-FFF2-40B4-BE49-F238E27FC236}">
                  <a16:creationId xmlns:a16="http://schemas.microsoft.com/office/drawing/2014/main" id="{2EDBAF60-EA64-49D9-94C0-A47816BEBE76}"/>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80" name="Rechthoek 79">
              <a:extLst>
                <a:ext uri="{FF2B5EF4-FFF2-40B4-BE49-F238E27FC236}">
                  <a16:creationId xmlns:a16="http://schemas.microsoft.com/office/drawing/2014/main" id="{768280BB-EAEC-4B3D-B183-0664D79E81F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81" name="Ovaal 80">
              <a:extLst>
                <a:ext uri="{FF2B5EF4-FFF2-40B4-BE49-F238E27FC236}">
                  <a16:creationId xmlns:a16="http://schemas.microsoft.com/office/drawing/2014/main" id="{E6F2D3B6-D198-463C-8E74-6ABBFD4C1355}"/>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82" name="Rechte verbindingslijn 81">
              <a:extLst>
                <a:ext uri="{FF2B5EF4-FFF2-40B4-BE49-F238E27FC236}">
                  <a16:creationId xmlns:a16="http://schemas.microsoft.com/office/drawing/2014/main" id="{763E7DD2-C917-4DB0-A3E0-BC4886EA7BD9}"/>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83" name="Rechthoek 82">
              <a:extLst>
                <a:ext uri="{FF2B5EF4-FFF2-40B4-BE49-F238E27FC236}">
                  <a16:creationId xmlns:a16="http://schemas.microsoft.com/office/drawing/2014/main" id="{D53D4FB0-0A20-44CE-9F4F-7630B2AC631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84" name="Groep 83">
              <a:extLst>
                <a:ext uri="{FF2B5EF4-FFF2-40B4-BE49-F238E27FC236}">
                  <a16:creationId xmlns:a16="http://schemas.microsoft.com/office/drawing/2014/main" id="{DD5D6438-7AAC-489C-9750-59FE5C621AF0}"/>
                </a:ext>
              </a:extLst>
            </p:cNvPr>
            <p:cNvGrpSpPr/>
            <p:nvPr userDrawn="1"/>
          </p:nvGrpSpPr>
          <p:grpSpPr>
            <a:xfrm>
              <a:off x="12755394" y="5222855"/>
              <a:ext cx="1714530" cy="639425"/>
              <a:chOff x="12757283" y="4365594"/>
              <a:chExt cx="1714530" cy="639425"/>
            </a:xfrm>
          </p:grpSpPr>
          <p:sp>
            <p:nvSpPr>
              <p:cNvPr id="85" name="Rechthoek 84">
                <a:extLst>
                  <a:ext uri="{FF2B5EF4-FFF2-40B4-BE49-F238E27FC236}">
                    <a16:creationId xmlns:a16="http://schemas.microsoft.com/office/drawing/2014/main" id="{68A5D004-ED1D-4092-ADE4-99B275C81ED2}"/>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5743182D-B50B-43DE-A494-AB7591D72297}"/>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87" name="Tekstvak 86">
                <a:extLst>
                  <a:ext uri="{FF2B5EF4-FFF2-40B4-BE49-F238E27FC236}">
                    <a16:creationId xmlns:a16="http://schemas.microsoft.com/office/drawing/2014/main" id="{A26C2928-6048-400A-AB38-A6D5F6B6446D}"/>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88" name="Tekstvak 87">
                <a:extLst>
                  <a:ext uri="{FF2B5EF4-FFF2-40B4-BE49-F238E27FC236}">
                    <a16:creationId xmlns:a16="http://schemas.microsoft.com/office/drawing/2014/main" id="{63C6E421-4B7E-42D3-8483-95E18C9E9392}"/>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89" name="Picture 3">
                <a:extLst>
                  <a:ext uri="{FF2B5EF4-FFF2-40B4-BE49-F238E27FC236}">
                    <a16:creationId xmlns:a16="http://schemas.microsoft.com/office/drawing/2014/main" id="{2C3C145B-7B4D-4792-9C83-E69DCB1556E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0" name="Groep 89">
                <a:extLst>
                  <a:ext uri="{FF2B5EF4-FFF2-40B4-BE49-F238E27FC236}">
                    <a16:creationId xmlns:a16="http://schemas.microsoft.com/office/drawing/2014/main" id="{A23F1B3E-F1B1-4914-9C25-8B4A517CC41A}"/>
                  </a:ext>
                </a:extLst>
              </p:cNvPr>
              <p:cNvGrpSpPr/>
              <p:nvPr userDrawn="1"/>
            </p:nvGrpSpPr>
            <p:grpSpPr>
              <a:xfrm>
                <a:off x="12831198" y="4432250"/>
                <a:ext cx="139861" cy="152244"/>
                <a:chOff x="12574450" y="6053892"/>
                <a:chExt cx="169232" cy="184215"/>
              </a:xfrm>
            </p:grpSpPr>
            <p:sp>
              <p:nvSpPr>
                <p:cNvPr id="113" name="Rechthoek 112">
                  <a:extLst>
                    <a:ext uri="{FF2B5EF4-FFF2-40B4-BE49-F238E27FC236}">
                      <a16:creationId xmlns:a16="http://schemas.microsoft.com/office/drawing/2014/main" id="{525BD392-BAAD-4498-8F5C-4FAAE98CE4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14" name="Rechthoek 113">
                  <a:extLst>
                    <a:ext uri="{FF2B5EF4-FFF2-40B4-BE49-F238E27FC236}">
                      <a16:creationId xmlns:a16="http://schemas.microsoft.com/office/drawing/2014/main" id="{EAD99029-5564-4A6B-8672-C10C25BDEE0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15" name="Rechthoek 114">
                  <a:extLst>
                    <a:ext uri="{FF2B5EF4-FFF2-40B4-BE49-F238E27FC236}">
                      <a16:creationId xmlns:a16="http://schemas.microsoft.com/office/drawing/2014/main" id="{358BAB46-1D52-41C4-9232-31E7511228E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91" name="Groep 90">
                <a:extLst>
                  <a:ext uri="{FF2B5EF4-FFF2-40B4-BE49-F238E27FC236}">
                    <a16:creationId xmlns:a16="http://schemas.microsoft.com/office/drawing/2014/main" id="{912ECEA6-9428-44D0-B001-2E81746A1475}"/>
                  </a:ext>
                </a:extLst>
              </p:cNvPr>
              <p:cNvGrpSpPr/>
              <p:nvPr userDrawn="1"/>
            </p:nvGrpSpPr>
            <p:grpSpPr>
              <a:xfrm>
                <a:off x="12831198" y="4748585"/>
                <a:ext cx="184916" cy="120210"/>
                <a:chOff x="8815516" y="1076284"/>
                <a:chExt cx="503174" cy="327105"/>
              </a:xfrm>
            </p:grpSpPr>
            <p:sp>
              <p:nvSpPr>
                <p:cNvPr id="92" name="Rechthoek 91">
                  <a:extLst>
                    <a:ext uri="{FF2B5EF4-FFF2-40B4-BE49-F238E27FC236}">
                      <a16:creationId xmlns:a16="http://schemas.microsoft.com/office/drawing/2014/main" id="{F3AEBE6E-AE0D-4023-8548-26C8A9CC493A}"/>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93" name="Groep 92">
                  <a:extLst>
                    <a:ext uri="{FF2B5EF4-FFF2-40B4-BE49-F238E27FC236}">
                      <a16:creationId xmlns:a16="http://schemas.microsoft.com/office/drawing/2014/main" id="{D1A9942D-C18B-4B7B-9266-5D54D4E27A00}"/>
                    </a:ext>
                  </a:extLst>
                </p:cNvPr>
                <p:cNvGrpSpPr/>
                <p:nvPr userDrawn="1"/>
              </p:nvGrpSpPr>
              <p:grpSpPr>
                <a:xfrm>
                  <a:off x="8815517" y="1076284"/>
                  <a:ext cx="503173" cy="327105"/>
                  <a:chOff x="1351248" y="-683635"/>
                  <a:chExt cx="503173" cy="327105"/>
                </a:xfrm>
              </p:grpSpPr>
              <p:grpSp>
                <p:nvGrpSpPr>
                  <p:cNvPr id="94" name="Groep 93">
                    <a:extLst>
                      <a:ext uri="{FF2B5EF4-FFF2-40B4-BE49-F238E27FC236}">
                        <a16:creationId xmlns:a16="http://schemas.microsoft.com/office/drawing/2014/main" id="{C4E41082-9233-48F4-B1A7-2DDF424D3E25}"/>
                      </a:ext>
                    </a:extLst>
                  </p:cNvPr>
                  <p:cNvGrpSpPr/>
                  <p:nvPr userDrawn="1"/>
                </p:nvGrpSpPr>
                <p:grpSpPr>
                  <a:xfrm>
                    <a:off x="1351248" y="-683635"/>
                    <a:ext cx="375186" cy="293652"/>
                    <a:chOff x="1094874" y="-884923"/>
                    <a:chExt cx="884668" cy="692417"/>
                  </a:xfrm>
                </p:grpSpPr>
                <p:sp>
                  <p:nvSpPr>
                    <p:cNvPr id="99" name="Rechthoek 98">
                      <a:extLst>
                        <a:ext uri="{FF2B5EF4-FFF2-40B4-BE49-F238E27FC236}">
                          <a16:creationId xmlns:a16="http://schemas.microsoft.com/office/drawing/2014/main" id="{D0A1C83E-C104-4D98-B8EC-5FF1FE041F43}"/>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00" name="Groep 99">
                      <a:extLst>
                        <a:ext uri="{FF2B5EF4-FFF2-40B4-BE49-F238E27FC236}">
                          <a16:creationId xmlns:a16="http://schemas.microsoft.com/office/drawing/2014/main" id="{E180BB26-8706-47BC-883E-C5AD3562461F}"/>
                        </a:ext>
                      </a:extLst>
                    </p:cNvPr>
                    <p:cNvGrpSpPr/>
                    <p:nvPr userDrawn="1"/>
                  </p:nvGrpSpPr>
                  <p:grpSpPr>
                    <a:xfrm>
                      <a:off x="1094874" y="-878306"/>
                      <a:ext cx="867364" cy="685800"/>
                      <a:chOff x="1094874" y="-878306"/>
                      <a:chExt cx="867364" cy="613611"/>
                    </a:xfrm>
                  </p:grpSpPr>
                  <p:cxnSp>
                    <p:nvCxnSpPr>
                      <p:cNvPr id="106" name="Rechte verbindingslijn 105">
                        <a:extLst>
                          <a:ext uri="{FF2B5EF4-FFF2-40B4-BE49-F238E27FC236}">
                            <a16:creationId xmlns:a16="http://schemas.microsoft.com/office/drawing/2014/main" id="{A63AAD2D-1317-4329-9949-242D546CF50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51ED230A-930C-46EF-8C3B-4073073E6D08}"/>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8" name="Groep 107">
                        <a:extLst>
                          <a:ext uri="{FF2B5EF4-FFF2-40B4-BE49-F238E27FC236}">
                            <a16:creationId xmlns:a16="http://schemas.microsoft.com/office/drawing/2014/main" id="{1E85A5DE-4774-4C02-AF2E-C58F87696177}"/>
                          </a:ext>
                        </a:extLst>
                      </p:cNvPr>
                      <p:cNvGrpSpPr/>
                      <p:nvPr userDrawn="1"/>
                    </p:nvGrpSpPr>
                    <p:grpSpPr>
                      <a:xfrm>
                        <a:off x="1270535" y="-878306"/>
                        <a:ext cx="526983" cy="613611"/>
                        <a:chOff x="1270535" y="-745959"/>
                        <a:chExt cx="526983" cy="481264"/>
                      </a:xfrm>
                    </p:grpSpPr>
                    <p:cxnSp>
                      <p:nvCxnSpPr>
                        <p:cNvPr id="109" name="Rechte verbindingslijn 108">
                          <a:extLst>
                            <a:ext uri="{FF2B5EF4-FFF2-40B4-BE49-F238E27FC236}">
                              <a16:creationId xmlns:a16="http://schemas.microsoft.com/office/drawing/2014/main" id="{CEB2E350-2C30-4B87-80D1-86E90B60D099}"/>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0" name="Rechte verbindingslijn 109">
                          <a:extLst>
                            <a:ext uri="{FF2B5EF4-FFF2-40B4-BE49-F238E27FC236}">
                              <a16:creationId xmlns:a16="http://schemas.microsoft.com/office/drawing/2014/main" id="{AE6E5DC3-ABBB-41B4-9E49-5CF8F3CBB8FA}"/>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1" name="Rechte verbindingslijn 110">
                          <a:extLst>
                            <a:ext uri="{FF2B5EF4-FFF2-40B4-BE49-F238E27FC236}">
                              <a16:creationId xmlns:a16="http://schemas.microsoft.com/office/drawing/2014/main" id="{DF483C48-AB7B-4718-B441-E23FB277D0C9}"/>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5E9C06BF-5C7E-424D-BB91-43058238E138}"/>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01" name="Rechte verbindingslijn 100">
                      <a:extLst>
                        <a:ext uri="{FF2B5EF4-FFF2-40B4-BE49-F238E27FC236}">
                          <a16:creationId xmlns:a16="http://schemas.microsoft.com/office/drawing/2014/main" id="{6757E799-7FCC-4C7F-A5BB-CA472D789A32}"/>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02" name="Groep 101">
                      <a:extLst>
                        <a:ext uri="{FF2B5EF4-FFF2-40B4-BE49-F238E27FC236}">
                          <a16:creationId xmlns:a16="http://schemas.microsoft.com/office/drawing/2014/main" id="{85D09361-5339-4805-810A-385EAA3E8F26}"/>
                        </a:ext>
                      </a:extLst>
                    </p:cNvPr>
                    <p:cNvGrpSpPr/>
                    <p:nvPr userDrawn="1"/>
                  </p:nvGrpSpPr>
                  <p:grpSpPr>
                    <a:xfrm>
                      <a:off x="1094874" y="-607596"/>
                      <a:ext cx="878306" cy="276726"/>
                      <a:chOff x="1106905" y="-607596"/>
                      <a:chExt cx="878307" cy="276726"/>
                    </a:xfrm>
                  </p:grpSpPr>
                  <p:cxnSp>
                    <p:nvCxnSpPr>
                      <p:cNvPr id="103" name="Rechte verbindingslijn 102">
                        <a:extLst>
                          <a:ext uri="{FF2B5EF4-FFF2-40B4-BE49-F238E27FC236}">
                            <a16:creationId xmlns:a16="http://schemas.microsoft.com/office/drawing/2014/main" id="{ACD16E84-86E2-4FF0-8A55-52C58150A5B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4" name="Rechte verbindingslijn 103">
                        <a:extLst>
                          <a:ext uri="{FF2B5EF4-FFF2-40B4-BE49-F238E27FC236}">
                            <a16:creationId xmlns:a16="http://schemas.microsoft.com/office/drawing/2014/main" id="{D4712522-3AA0-4B83-8512-641C8E6DB76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5" name="Rechte verbindingslijn 104">
                        <a:extLst>
                          <a:ext uri="{FF2B5EF4-FFF2-40B4-BE49-F238E27FC236}">
                            <a16:creationId xmlns:a16="http://schemas.microsoft.com/office/drawing/2014/main" id="{13CF9687-AE1D-45A5-939F-AC1E61975A71}"/>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95" name="Groep 94">
                    <a:extLst>
                      <a:ext uri="{FF2B5EF4-FFF2-40B4-BE49-F238E27FC236}">
                        <a16:creationId xmlns:a16="http://schemas.microsoft.com/office/drawing/2014/main" id="{C02116FA-757D-4219-9C15-5E13886DCDBA}"/>
                      </a:ext>
                    </a:extLst>
                  </p:cNvPr>
                  <p:cNvGrpSpPr/>
                  <p:nvPr userDrawn="1"/>
                </p:nvGrpSpPr>
                <p:grpSpPr>
                  <a:xfrm rot="2700000">
                    <a:off x="1605871" y="-605080"/>
                    <a:ext cx="90079" cy="407021"/>
                    <a:chOff x="3130062" y="-817193"/>
                    <a:chExt cx="131884" cy="595920"/>
                  </a:xfrm>
                  <a:solidFill>
                    <a:srgbClr val="3399FF"/>
                  </a:solidFill>
                </p:grpSpPr>
                <p:sp>
                  <p:nvSpPr>
                    <p:cNvPr id="96" name="Rechthoek 95">
                      <a:extLst>
                        <a:ext uri="{FF2B5EF4-FFF2-40B4-BE49-F238E27FC236}">
                          <a16:creationId xmlns:a16="http://schemas.microsoft.com/office/drawing/2014/main" id="{6D54E4D4-6CA8-440E-BAA8-0A2DD75EF4D0}"/>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7" name="Rechthoek: afgeronde bovenhoeken 96">
                      <a:extLst>
                        <a:ext uri="{FF2B5EF4-FFF2-40B4-BE49-F238E27FC236}">
                          <a16:creationId xmlns:a16="http://schemas.microsoft.com/office/drawing/2014/main" id="{1077E45D-CA25-4FC7-A3AE-070CB6CB45B3}"/>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98" name="Gelijkbenige driehoek 97">
                      <a:extLst>
                        <a:ext uri="{FF2B5EF4-FFF2-40B4-BE49-F238E27FC236}">
                          <a16:creationId xmlns:a16="http://schemas.microsoft.com/office/drawing/2014/main" id="{B1199412-3676-4958-B288-D2D2619955A7}"/>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116" name="Instructie">
            <a:extLst>
              <a:ext uri="{FF2B5EF4-FFF2-40B4-BE49-F238E27FC236}">
                <a16:creationId xmlns:a16="http://schemas.microsoft.com/office/drawing/2014/main" id="{FC08DA32-84DC-41B2-A5EE-E1843CA84C98}"/>
              </a:ext>
            </a:extLst>
          </p:cNvPr>
          <p:cNvGrpSpPr/>
          <p:nvPr userDrawn="1"/>
        </p:nvGrpSpPr>
        <p:grpSpPr>
          <a:xfrm>
            <a:off x="12391601" y="0"/>
            <a:ext cx="3183677" cy="2499789"/>
            <a:chOff x="12391601" y="0"/>
            <a:chExt cx="3183677" cy="2499789"/>
          </a:xfrm>
        </p:grpSpPr>
        <p:sp>
          <p:nvSpPr>
            <p:cNvPr id="117" name="Rechthoek 116">
              <a:extLst>
                <a:ext uri="{FF2B5EF4-FFF2-40B4-BE49-F238E27FC236}">
                  <a16:creationId xmlns:a16="http://schemas.microsoft.com/office/drawing/2014/main" id="{0752ACEC-9C9D-40ED-8526-DA25BE61EF7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18" name="Ovaal 117">
              <a:extLst>
                <a:ext uri="{FF2B5EF4-FFF2-40B4-BE49-F238E27FC236}">
                  <a16:creationId xmlns:a16="http://schemas.microsoft.com/office/drawing/2014/main" id="{0B043D28-88E6-4D0D-90D6-0CB9CBB202BE}"/>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9" name="Rechte verbindingslijn 118">
              <a:extLst>
                <a:ext uri="{FF2B5EF4-FFF2-40B4-BE49-F238E27FC236}">
                  <a16:creationId xmlns:a16="http://schemas.microsoft.com/office/drawing/2014/main" id="{F439A4EB-40D3-42B9-8982-7A24817D0FF3}"/>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20" name="Rechte verbindingslijn 119">
              <a:extLst>
                <a:ext uri="{FF2B5EF4-FFF2-40B4-BE49-F238E27FC236}">
                  <a16:creationId xmlns:a16="http://schemas.microsoft.com/office/drawing/2014/main" id="{174551AE-B812-475E-9C8D-EDBC06AF1CF1}"/>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21" name="Rechthoek 120">
              <a:extLst>
                <a:ext uri="{FF2B5EF4-FFF2-40B4-BE49-F238E27FC236}">
                  <a16:creationId xmlns:a16="http://schemas.microsoft.com/office/drawing/2014/main" id="{9B95EBBE-6D90-41E5-81E5-73CBFE94C9B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22" name="Ovaal 121">
              <a:extLst>
                <a:ext uri="{FF2B5EF4-FFF2-40B4-BE49-F238E27FC236}">
                  <a16:creationId xmlns:a16="http://schemas.microsoft.com/office/drawing/2014/main" id="{2F693204-8FC2-4262-9B8D-C8A1DC78A83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3" name="Rechthoek 122">
              <a:extLst>
                <a:ext uri="{FF2B5EF4-FFF2-40B4-BE49-F238E27FC236}">
                  <a16:creationId xmlns:a16="http://schemas.microsoft.com/office/drawing/2014/main" id="{9D910C84-64BC-4B44-99CC-D518BDABB44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4" name="Groep 123">
              <a:extLst>
                <a:ext uri="{FF2B5EF4-FFF2-40B4-BE49-F238E27FC236}">
                  <a16:creationId xmlns:a16="http://schemas.microsoft.com/office/drawing/2014/main" id="{029F6E04-D581-45EE-9126-1E41E7A0D32C}"/>
                </a:ext>
              </a:extLst>
            </p:cNvPr>
            <p:cNvGrpSpPr/>
            <p:nvPr userDrawn="1"/>
          </p:nvGrpSpPr>
          <p:grpSpPr>
            <a:xfrm>
              <a:off x="12757282" y="2184550"/>
              <a:ext cx="825500" cy="209550"/>
              <a:chOff x="13504624" y="2482850"/>
              <a:chExt cx="825500" cy="209550"/>
            </a:xfrm>
          </p:grpSpPr>
          <p:sp>
            <p:nvSpPr>
              <p:cNvPr id="130" name="Rechthoek 129">
                <a:extLst>
                  <a:ext uri="{FF2B5EF4-FFF2-40B4-BE49-F238E27FC236}">
                    <a16:creationId xmlns:a16="http://schemas.microsoft.com/office/drawing/2014/main" id="{DF37DFEE-AFA8-4127-808D-5D280B38CD7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31" name="Rechte verbindingslijn 130">
                <a:extLst>
                  <a:ext uri="{FF2B5EF4-FFF2-40B4-BE49-F238E27FC236}">
                    <a16:creationId xmlns:a16="http://schemas.microsoft.com/office/drawing/2014/main" id="{CC68BF2A-7AAB-480B-A561-A11C86618FD7}"/>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2" name="Gelijkbenige driehoek 131">
                <a:extLst>
                  <a:ext uri="{FF2B5EF4-FFF2-40B4-BE49-F238E27FC236}">
                    <a16:creationId xmlns:a16="http://schemas.microsoft.com/office/drawing/2014/main" id="{48B07EF8-B072-4AE3-9581-30A74C6EED4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25" name="Rechte verbindingslijn 124">
              <a:extLst>
                <a:ext uri="{FF2B5EF4-FFF2-40B4-BE49-F238E27FC236}">
                  <a16:creationId xmlns:a16="http://schemas.microsoft.com/office/drawing/2014/main" id="{EEC339AF-A3F8-44EE-9B60-F88860AA70CE}"/>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26" name="Groep 125">
              <a:extLst>
                <a:ext uri="{FF2B5EF4-FFF2-40B4-BE49-F238E27FC236}">
                  <a16:creationId xmlns:a16="http://schemas.microsoft.com/office/drawing/2014/main" id="{C7530F7E-690B-43D8-B458-38660E687B16}"/>
                </a:ext>
              </a:extLst>
            </p:cNvPr>
            <p:cNvGrpSpPr/>
            <p:nvPr userDrawn="1"/>
          </p:nvGrpSpPr>
          <p:grpSpPr>
            <a:xfrm>
              <a:off x="12751697" y="1147804"/>
              <a:ext cx="289372" cy="314992"/>
              <a:chOff x="7322769" y="-310267"/>
              <a:chExt cx="289372" cy="314992"/>
            </a:xfrm>
          </p:grpSpPr>
          <p:sp>
            <p:nvSpPr>
              <p:cNvPr id="127" name="Rechthoek 126">
                <a:extLst>
                  <a:ext uri="{FF2B5EF4-FFF2-40B4-BE49-F238E27FC236}">
                    <a16:creationId xmlns:a16="http://schemas.microsoft.com/office/drawing/2014/main" id="{D4D76B4B-838B-40FF-A231-2A9F0116A20B}"/>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8" name="Rechthoek 127">
                <a:extLst>
                  <a:ext uri="{FF2B5EF4-FFF2-40B4-BE49-F238E27FC236}">
                    <a16:creationId xmlns:a16="http://schemas.microsoft.com/office/drawing/2014/main" id="{766D3481-A145-4D5E-BF55-6E1527E3CF10}"/>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29" name="Rechthoek 128">
                <a:extLst>
                  <a:ext uri="{FF2B5EF4-FFF2-40B4-BE49-F238E27FC236}">
                    <a16:creationId xmlns:a16="http://schemas.microsoft.com/office/drawing/2014/main" id="{58548B2C-AD7E-4C04-844D-4F3D9992D25B}"/>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13908348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GRAFIEK 6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13254E2-DD21-4EBE-B2B8-B775B9F15DCE}"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GRAFIEK 6X</a:t>
            </a:r>
          </a:p>
        </p:txBody>
      </p:sp>
      <p:sp>
        <p:nvSpPr>
          <p:cNvPr id="21" name="Tijdelijke aanduiding voor grafiek 17">
            <a:extLst>
              <a:ext uri="{FF2B5EF4-FFF2-40B4-BE49-F238E27FC236}">
                <a16:creationId xmlns:a16="http://schemas.microsoft.com/office/drawing/2014/main" id="{92172253-6D4B-4AC5-AA1C-319C8E5A71AE}"/>
              </a:ext>
            </a:extLst>
          </p:cNvPr>
          <p:cNvSpPr>
            <a:spLocks noGrp="1"/>
          </p:cNvSpPr>
          <p:nvPr>
            <p:ph type="chart" sz="quarter" idx="15" hasCustomPrompt="1"/>
          </p:nvPr>
        </p:nvSpPr>
        <p:spPr>
          <a:xfrm>
            <a:off x="8188000"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0" y="333899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7828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BAA97654-86F5-45C9-B8DC-C6648BCE9369}"/>
                </a:ext>
              </a:extLst>
            </p:cNvPr>
            <p:cNvSpPr/>
            <p:nvPr userDrawn="1"/>
          </p:nvSpPr>
          <p:spPr>
            <a:xfrm>
              <a:off x="4004000"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2" name="Tijdelijke aanduiding voor grafiek 17">
            <a:extLst>
              <a:ext uri="{FF2B5EF4-FFF2-40B4-BE49-F238E27FC236}">
                <a16:creationId xmlns:a16="http://schemas.microsoft.com/office/drawing/2014/main" id="{0E9B9AC0-03CF-4DAA-9E37-B0A637E3422E}"/>
              </a:ext>
            </a:extLst>
          </p:cNvPr>
          <p:cNvSpPr>
            <a:spLocks noGrp="1"/>
          </p:cNvSpPr>
          <p:nvPr>
            <p:ph type="chart" sz="quarter" idx="17" hasCustomPrompt="1"/>
          </p:nvPr>
        </p:nvSpPr>
        <p:spPr>
          <a:xfrm>
            <a:off x="8188000"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6" name="Tijdelijke aanduiding voor grafiek 17">
            <a:extLst>
              <a:ext uri="{FF2B5EF4-FFF2-40B4-BE49-F238E27FC236}">
                <a16:creationId xmlns:a16="http://schemas.microsoft.com/office/drawing/2014/main" id="{6424E38A-BE64-4611-8EA6-56DEDA6F1288}"/>
              </a:ext>
            </a:extLst>
          </p:cNvPr>
          <p:cNvSpPr>
            <a:spLocks noGrp="1"/>
          </p:cNvSpPr>
          <p:nvPr>
            <p:ph type="chart" sz="quarter" idx="18" hasCustomPrompt="1"/>
          </p:nvPr>
        </p:nvSpPr>
        <p:spPr>
          <a:xfrm>
            <a:off x="4364000"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7" name="Tijdelijke aanduiding voor grafiek 17">
            <a:extLst>
              <a:ext uri="{FF2B5EF4-FFF2-40B4-BE49-F238E27FC236}">
                <a16:creationId xmlns:a16="http://schemas.microsoft.com/office/drawing/2014/main" id="{B1695F49-FFC5-4D3F-8068-C37855441895}"/>
              </a:ext>
            </a:extLst>
          </p:cNvPr>
          <p:cNvSpPr>
            <a:spLocks noGrp="1"/>
          </p:cNvSpPr>
          <p:nvPr>
            <p:ph type="chart" sz="quarter" idx="19" hasCustomPrompt="1"/>
          </p:nvPr>
        </p:nvSpPr>
        <p:spPr>
          <a:xfrm>
            <a:off x="4364000"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39" name="Tijdelijke aanduiding voor grafiek 17">
            <a:extLst>
              <a:ext uri="{FF2B5EF4-FFF2-40B4-BE49-F238E27FC236}">
                <a16:creationId xmlns:a16="http://schemas.microsoft.com/office/drawing/2014/main" id="{003DE491-9024-41A1-8C44-E5F48C4282C7}"/>
              </a:ext>
            </a:extLst>
          </p:cNvPr>
          <p:cNvSpPr>
            <a:spLocks noGrp="1"/>
          </p:cNvSpPr>
          <p:nvPr>
            <p:ph type="chart" sz="quarter" idx="20" hasCustomPrompt="1"/>
          </p:nvPr>
        </p:nvSpPr>
        <p:spPr>
          <a:xfrm>
            <a:off x="540127" y="1459111"/>
            <a:ext cx="3463745"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sp>
        <p:nvSpPr>
          <p:cNvPr id="40" name="Tijdelijke aanduiding voor grafiek 17">
            <a:extLst>
              <a:ext uri="{FF2B5EF4-FFF2-40B4-BE49-F238E27FC236}">
                <a16:creationId xmlns:a16="http://schemas.microsoft.com/office/drawing/2014/main" id="{A6D5BEE5-306C-4A04-8C32-A0EF58D14A11}"/>
              </a:ext>
            </a:extLst>
          </p:cNvPr>
          <p:cNvSpPr>
            <a:spLocks noGrp="1"/>
          </p:cNvSpPr>
          <p:nvPr>
            <p:ph type="chart" sz="quarter" idx="21" hasCustomPrompt="1"/>
          </p:nvPr>
        </p:nvSpPr>
        <p:spPr>
          <a:xfrm>
            <a:off x="540127" y="3698999"/>
            <a:ext cx="3463746" cy="1878840"/>
          </a:xfrm>
          <a:solidFill>
            <a:schemeClr val="bg1">
              <a:lumMod val="95000"/>
            </a:schemeClr>
          </a:solidFill>
        </p:spPr>
        <p:txBody>
          <a:bodyPr lIns="720000" tIns="360000" rIns="720000"/>
          <a:lstStyle>
            <a:lvl1pPr marL="0" indent="0" algn="ctr">
              <a:buNone/>
              <a:defRPr sz="1200" i="1">
                <a:solidFill>
                  <a:schemeClr val="bg1">
                    <a:lumMod val="50000"/>
                  </a:schemeClr>
                </a:solidFill>
              </a:defRPr>
            </a:lvl1pPr>
          </a:lstStyle>
          <a:p>
            <a:r>
              <a:rPr lang="nl-NL" noProof="0"/>
              <a:t>Klik op onderstaand pictogram om een grafiek in te voegen</a:t>
            </a:r>
          </a:p>
        </p:txBody>
      </p:sp>
      <p:grpSp>
        <p:nvGrpSpPr>
          <p:cNvPr id="97" name="Instructie">
            <a:extLst>
              <a:ext uri="{FF2B5EF4-FFF2-40B4-BE49-F238E27FC236}">
                <a16:creationId xmlns:a16="http://schemas.microsoft.com/office/drawing/2014/main" id="{13194E2B-853F-42B4-BC09-4D7932FAFD06}"/>
              </a:ext>
            </a:extLst>
          </p:cNvPr>
          <p:cNvGrpSpPr/>
          <p:nvPr userDrawn="1"/>
        </p:nvGrpSpPr>
        <p:grpSpPr>
          <a:xfrm>
            <a:off x="12389714" y="5221435"/>
            <a:ext cx="3183677" cy="1636565"/>
            <a:chOff x="12389714" y="4327164"/>
            <a:chExt cx="3183677" cy="1636565"/>
          </a:xfrm>
        </p:grpSpPr>
        <p:cxnSp>
          <p:nvCxnSpPr>
            <p:cNvPr id="98" name="Rechte verbindingslijn 97">
              <a:extLst>
                <a:ext uri="{FF2B5EF4-FFF2-40B4-BE49-F238E27FC236}">
                  <a16:creationId xmlns:a16="http://schemas.microsoft.com/office/drawing/2014/main" id="{BB38122D-C6F3-4332-8056-8341B6673B4D}"/>
                </a:ext>
              </a:extLst>
            </p:cNvPr>
            <p:cNvCxnSpPr>
              <a:cxnSpLocks/>
            </p:cNvCxnSpPr>
            <p:nvPr userDrawn="1"/>
          </p:nvCxnSpPr>
          <p:spPr>
            <a:xfrm>
              <a:off x="12395374" y="5963729"/>
              <a:ext cx="3178017" cy="0"/>
            </a:xfrm>
            <a:prstGeom prst="line">
              <a:avLst/>
            </a:prstGeom>
            <a:noFill/>
            <a:ln w="3175" cap="flat" cmpd="sng" algn="ctr">
              <a:solidFill>
                <a:schemeClr val="bg1">
                  <a:lumMod val="50000"/>
                </a:schemeClr>
              </a:solidFill>
              <a:prstDash val="solid"/>
            </a:ln>
            <a:effectLst/>
          </p:spPr>
        </p:cxnSp>
        <p:sp>
          <p:nvSpPr>
            <p:cNvPr id="99" name="Rechthoek 98">
              <a:extLst>
                <a:ext uri="{FF2B5EF4-FFF2-40B4-BE49-F238E27FC236}">
                  <a16:creationId xmlns:a16="http://schemas.microsoft.com/office/drawing/2014/main" id="{19F9BA8B-41E4-405B-9E81-1C20E9163CE8}"/>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Data van de Grafiek Bewerken</a:t>
              </a:r>
            </a:p>
          </p:txBody>
        </p:sp>
        <p:sp>
          <p:nvSpPr>
            <p:cNvPr id="100" name="Ovaal 99">
              <a:extLst>
                <a:ext uri="{FF2B5EF4-FFF2-40B4-BE49-F238E27FC236}">
                  <a16:creationId xmlns:a16="http://schemas.microsoft.com/office/drawing/2014/main" id="{29505446-F8AC-4043-B951-C4913699006F}"/>
                </a:ext>
              </a:extLst>
            </p:cNvPr>
            <p:cNvSpPr/>
            <p:nvPr userDrawn="1"/>
          </p:nvSpPr>
          <p:spPr>
            <a:xfrm>
              <a:off x="12389714" y="470625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FD4A8074-C572-44B8-8821-4B2172E143D2}"/>
                </a:ext>
              </a:extLst>
            </p:cNvPr>
            <p:cNvCxnSpPr>
              <a:cxnSpLocks/>
            </p:cNvCxnSpPr>
            <p:nvPr userDrawn="1"/>
          </p:nvCxnSpPr>
          <p:spPr>
            <a:xfrm>
              <a:off x="12395374" y="4584932"/>
              <a:ext cx="3178017" cy="0"/>
            </a:xfrm>
            <a:prstGeom prst="line">
              <a:avLst/>
            </a:prstGeom>
            <a:noFill/>
            <a:ln w="3175" cap="flat" cmpd="sng" algn="ctr">
              <a:solidFill>
                <a:schemeClr val="bg1">
                  <a:lumMod val="50000"/>
                </a:schemeClr>
              </a:solidFill>
              <a:prstDash val="solid"/>
            </a:ln>
            <a:effectLst/>
          </p:spPr>
        </p:cxnSp>
        <p:sp>
          <p:nvSpPr>
            <p:cNvPr id="102" name="Rechthoek 101">
              <a:extLst>
                <a:ext uri="{FF2B5EF4-FFF2-40B4-BE49-F238E27FC236}">
                  <a16:creationId xmlns:a16="http://schemas.microsoft.com/office/drawing/2014/main" id="{1DAFFA69-F1A9-458F-A6A0-1AE4AA0766CC}"/>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100" kern="0" noProof="0">
                  <a:solidFill>
                    <a:schemeClr val="tx1"/>
                  </a:solidFill>
                  <a:latin typeface="+mn-lt"/>
                  <a:cs typeface="Segoe UI Light" panose="020B0502040204020203" pitchFamily="34" charset="0"/>
                </a:rPr>
                <a:t>Selecteer de grafiek, klik met de rechter muisknop en kies </a:t>
              </a:r>
              <a:r>
                <a:rPr lang="nl-NL" sz="1100" b="1" kern="0" noProof="0">
                  <a:solidFill>
                    <a:schemeClr val="tx1"/>
                  </a:solidFill>
                  <a:latin typeface="+mn-lt"/>
                  <a:cs typeface="Segoe UI Light" panose="020B0502040204020203" pitchFamily="34" charset="0"/>
                </a:rPr>
                <a:t>‘Gegevens bewerken’</a:t>
              </a:r>
            </a:p>
          </p:txBody>
        </p:sp>
        <p:grpSp>
          <p:nvGrpSpPr>
            <p:cNvPr id="103" name="Groep 102">
              <a:extLst>
                <a:ext uri="{FF2B5EF4-FFF2-40B4-BE49-F238E27FC236}">
                  <a16:creationId xmlns:a16="http://schemas.microsoft.com/office/drawing/2014/main" id="{4C675318-3168-4CD1-B365-5FCFDD301AC8}"/>
                </a:ext>
              </a:extLst>
            </p:cNvPr>
            <p:cNvGrpSpPr/>
            <p:nvPr userDrawn="1"/>
          </p:nvGrpSpPr>
          <p:grpSpPr>
            <a:xfrm>
              <a:off x="12755394" y="5222855"/>
              <a:ext cx="1714530" cy="639425"/>
              <a:chOff x="12757283" y="4365594"/>
              <a:chExt cx="1714530" cy="639425"/>
            </a:xfrm>
          </p:grpSpPr>
          <p:sp>
            <p:nvSpPr>
              <p:cNvPr id="104" name="Rechthoek 103">
                <a:extLst>
                  <a:ext uri="{FF2B5EF4-FFF2-40B4-BE49-F238E27FC236}">
                    <a16:creationId xmlns:a16="http://schemas.microsoft.com/office/drawing/2014/main" id="{DC726EED-46A6-4A9C-9304-2BEBB7B05955}"/>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105" name="Rechthoek 104">
                <a:extLst>
                  <a:ext uri="{FF2B5EF4-FFF2-40B4-BE49-F238E27FC236}">
                    <a16:creationId xmlns:a16="http://schemas.microsoft.com/office/drawing/2014/main" id="{99F5FC6A-F758-454A-8293-0BE72EF0D051}"/>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06" name="Tekstvak 105">
                <a:extLst>
                  <a:ext uri="{FF2B5EF4-FFF2-40B4-BE49-F238E27FC236}">
                    <a16:creationId xmlns:a16="http://schemas.microsoft.com/office/drawing/2014/main" id="{D3B773C7-6FCD-42D9-AF45-254BCFEC5B96}"/>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rafiektype wijzigen</a:t>
                </a:r>
              </a:p>
            </p:txBody>
          </p:sp>
          <p:sp>
            <p:nvSpPr>
              <p:cNvPr id="107" name="Tekstvak 106">
                <a:extLst>
                  <a:ext uri="{FF2B5EF4-FFF2-40B4-BE49-F238E27FC236}">
                    <a16:creationId xmlns:a16="http://schemas.microsoft.com/office/drawing/2014/main" id="{609E0AD4-B3AF-4B98-89EB-7CD241DE5A74}"/>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900" b="0" kern="1200" noProof="0">
                    <a:solidFill>
                      <a:schemeClr val="tx1"/>
                    </a:solidFill>
                    <a:latin typeface="Arial" panose="020B0604020202020204" pitchFamily="34" charset="0"/>
                    <a:ea typeface="+mn-ea"/>
                    <a:cs typeface="Arial" panose="020B0604020202020204" pitchFamily="34" charset="0"/>
                  </a:rPr>
                  <a:t>Gegevens bewerken</a:t>
                </a:r>
              </a:p>
            </p:txBody>
          </p:sp>
          <p:pic>
            <p:nvPicPr>
              <p:cNvPr id="108" name="Picture 3">
                <a:extLst>
                  <a:ext uri="{FF2B5EF4-FFF2-40B4-BE49-F238E27FC236}">
                    <a16:creationId xmlns:a16="http://schemas.microsoft.com/office/drawing/2014/main" id="{A58C0630-4923-44D0-A4D3-4AB96A8211D4}"/>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9" name="Groep 108">
                <a:extLst>
                  <a:ext uri="{FF2B5EF4-FFF2-40B4-BE49-F238E27FC236}">
                    <a16:creationId xmlns:a16="http://schemas.microsoft.com/office/drawing/2014/main" id="{45E1B365-B2CE-4BEB-9A3A-46D96EB15E7D}"/>
                  </a:ext>
                </a:extLst>
              </p:cNvPr>
              <p:cNvGrpSpPr/>
              <p:nvPr userDrawn="1"/>
            </p:nvGrpSpPr>
            <p:grpSpPr>
              <a:xfrm>
                <a:off x="12831198" y="4432250"/>
                <a:ext cx="139861" cy="152244"/>
                <a:chOff x="12574450" y="6053892"/>
                <a:chExt cx="169232" cy="184215"/>
              </a:xfrm>
            </p:grpSpPr>
            <p:sp>
              <p:nvSpPr>
                <p:cNvPr id="132" name="Rechthoek 131">
                  <a:extLst>
                    <a:ext uri="{FF2B5EF4-FFF2-40B4-BE49-F238E27FC236}">
                      <a16:creationId xmlns:a16="http://schemas.microsoft.com/office/drawing/2014/main" id="{F38A0856-2EDB-4BB8-9560-5512F6E5AAB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33" name="Rechthoek 132">
                  <a:extLst>
                    <a:ext uri="{FF2B5EF4-FFF2-40B4-BE49-F238E27FC236}">
                      <a16:creationId xmlns:a16="http://schemas.microsoft.com/office/drawing/2014/main" id="{D7255083-46DC-4D4C-AF5E-2BA28943E4AA}"/>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sp>
              <p:nvSpPr>
                <p:cNvPr id="134" name="Rechthoek 133">
                  <a:extLst>
                    <a:ext uri="{FF2B5EF4-FFF2-40B4-BE49-F238E27FC236}">
                      <a16:creationId xmlns:a16="http://schemas.microsoft.com/office/drawing/2014/main" id="{A3EDB608-9F71-4CBD-B713-BCDB53A58BEE}"/>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a:solidFill>
                      <a:schemeClr val="tx2"/>
                    </a:solidFill>
                    <a:latin typeface="+mn-lt"/>
                  </a:endParaRPr>
                </a:p>
              </p:txBody>
            </p:sp>
          </p:grpSp>
          <p:grpSp>
            <p:nvGrpSpPr>
              <p:cNvPr id="110" name="Groep 109">
                <a:extLst>
                  <a:ext uri="{FF2B5EF4-FFF2-40B4-BE49-F238E27FC236}">
                    <a16:creationId xmlns:a16="http://schemas.microsoft.com/office/drawing/2014/main" id="{0CDB952C-DB40-4191-8EEB-A68F2253C313}"/>
                  </a:ext>
                </a:extLst>
              </p:cNvPr>
              <p:cNvGrpSpPr/>
              <p:nvPr userDrawn="1"/>
            </p:nvGrpSpPr>
            <p:grpSpPr>
              <a:xfrm>
                <a:off x="12831198" y="4748585"/>
                <a:ext cx="184916" cy="120210"/>
                <a:chOff x="8815516" y="1076284"/>
                <a:chExt cx="503174" cy="327105"/>
              </a:xfrm>
            </p:grpSpPr>
            <p:sp>
              <p:nvSpPr>
                <p:cNvPr id="111" name="Rechthoek 110">
                  <a:extLst>
                    <a:ext uri="{FF2B5EF4-FFF2-40B4-BE49-F238E27FC236}">
                      <a16:creationId xmlns:a16="http://schemas.microsoft.com/office/drawing/2014/main" id="{C2161DF8-E636-46F5-85DE-AECABB6833E9}"/>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12" name="Groep 111">
                  <a:extLst>
                    <a:ext uri="{FF2B5EF4-FFF2-40B4-BE49-F238E27FC236}">
                      <a16:creationId xmlns:a16="http://schemas.microsoft.com/office/drawing/2014/main" id="{06A1549E-87A1-4D4F-8C5E-79E3B1E0C377}"/>
                    </a:ext>
                  </a:extLst>
                </p:cNvPr>
                <p:cNvGrpSpPr/>
                <p:nvPr userDrawn="1"/>
              </p:nvGrpSpPr>
              <p:grpSpPr>
                <a:xfrm>
                  <a:off x="8815517" y="1076284"/>
                  <a:ext cx="503173" cy="327105"/>
                  <a:chOff x="1351248" y="-683635"/>
                  <a:chExt cx="503173" cy="327105"/>
                </a:xfrm>
              </p:grpSpPr>
              <p:grpSp>
                <p:nvGrpSpPr>
                  <p:cNvPr id="113" name="Groep 112">
                    <a:extLst>
                      <a:ext uri="{FF2B5EF4-FFF2-40B4-BE49-F238E27FC236}">
                        <a16:creationId xmlns:a16="http://schemas.microsoft.com/office/drawing/2014/main" id="{0161C977-A0B3-42C9-AC5A-875BEF2CED93}"/>
                      </a:ext>
                    </a:extLst>
                  </p:cNvPr>
                  <p:cNvGrpSpPr/>
                  <p:nvPr userDrawn="1"/>
                </p:nvGrpSpPr>
                <p:grpSpPr>
                  <a:xfrm>
                    <a:off x="1351248" y="-683635"/>
                    <a:ext cx="375186" cy="293652"/>
                    <a:chOff x="1094874" y="-884923"/>
                    <a:chExt cx="884668" cy="692417"/>
                  </a:xfrm>
                </p:grpSpPr>
                <p:sp>
                  <p:nvSpPr>
                    <p:cNvPr id="118" name="Rechthoek 117">
                      <a:extLst>
                        <a:ext uri="{FF2B5EF4-FFF2-40B4-BE49-F238E27FC236}">
                          <a16:creationId xmlns:a16="http://schemas.microsoft.com/office/drawing/2014/main" id="{CC18F0A2-AEDD-49F0-9862-640BB3404DC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nvGrpSpPr>
                    <p:cNvPr id="119" name="Groep 118">
                      <a:extLst>
                        <a:ext uri="{FF2B5EF4-FFF2-40B4-BE49-F238E27FC236}">
                          <a16:creationId xmlns:a16="http://schemas.microsoft.com/office/drawing/2014/main" id="{393B2DA3-DF69-4684-8A63-239482C84FA1}"/>
                        </a:ext>
                      </a:extLst>
                    </p:cNvPr>
                    <p:cNvGrpSpPr/>
                    <p:nvPr userDrawn="1"/>
                  </p:nvGrpSpPr>
                  <p:grpSpPr>
                    <a:xfrm>
                      <a:off x="1094874" y="-878306"/>
                      <a:ext cx="867364" cy="685800"/>
                      <a:chOff x="1094874" y="-878306"/>
                      <a:chExt cx="867364" cy="613611"/>
                    </a:xfrm>
                  </p:grpSpPr>
                  <p:cxnSp>
                    <p:nvCxnSpPr>
                      <p:cNvPr id="125" name="Rechte verbindingslijn 124">
                        <a:extLst>
                          <a:ext uri="{FF2B5EF4-FFF2-40B4-BE49-F238E27FC236}">
                            <a16:creationId xmlns:a16="http://schemas.microsoft.com/office/drawing/2014/main" id="{20DD65CA-80E5-4855-8695-EE7C4C62F98C}"/>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A933C377-6266-41AC-BF4C-EC7DE0BBDC9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7" name="Groep 126">
                        <a:extLst>
                          <a:ext uri="{FF2B5EF4-FFF2-40B4-BE49-F238E27FC236}">
                            <a16:creationId xmlns:a16="http://schemas.microsoft.com/office/drawing/2014/main" id="{163726D5-FF0E-4C61-8B47-5160B44C43E6}"/>
                          </a:ext>
                        </a:extLst>
                      </p:cNvPr>
                      <p:cNvGrpSpPr/>
                      <p:nvPr userDrawn="1"/>
                    </p:nvGrpSpPr>
                    <p:grpSpPr>
                      <a:xfrm>
                        <a:off x="1270535" y="-878306"/>
                        <a:ext cx="526983" cy="613611"/>
                        <a:chOff x="1270535" y="-745959"/>
                        <a:chExt cx="526983" cy="481264"/>
                      </a:xfrm>
                    </p:grpSpPr>
                    <p:cxnSp>
                      <p:nvCxnSpPr>
                        <p:cNvPr id="128" name="Rechte verbindingslijn 127">
                          <a:extLst>
                            <a:ext uri="{FF2B5EF4-FFF2-40B4-BE49-F238E27FC236}">
                              <a16:creationId xmlns:a16="http://schemas.microsoft.com/office/drawing/2014/main" id="{0B0F1F99-07B3-4331-87E8-15F9E3B258F7}"/>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128">
                          <a:extLst>
                            <a:ext uri="{FF2B5EF4-FFF2-40B4-BE49-F238E27FC236}">
                              <a16:creationId xmlns:a16="http://schemas.microsoft.com/office/drawing/2014/main" id="{5ECE029D-9A31-4B73-B8E8-F78B300A5C8A}"/>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0" name="Rechte verbindingslijn 129">
                          <a:extLst>
                            <a:ext uri="{FF2B5EF4-FFF2-40B4-BE49-F238E27FC236}">
                              <a16:creationId xmlns:a16="http://schemas.microsoft.com/office/drawing/2014/main" id="{5E87E8F3-9D42-483F-9F00-9AC0C038B95E}"/>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130">
                          <a:extLst>
                            <a:ext uri="{FF2B5EF4-FFF2-40B4-BE49-F238E27FC236}">
                              <a16:creationId xmlns:a16="http://schemas.microsoft.com/office/drawing/2014/main" id="{4608F6C0-4407-4B97-94FB-5625E51084D1}"/>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0" name="Rechte verbindingslijn 119">
                      <a:extLst>
                        <a:ext uri="{FF2B5EF4-FFF2-40B4-BE49-F238E27FC236}">
                          <a16:creationId xmlns:a16="http://schemas.microsoft.com/office/drawing/2014/main" id="{5B70499F-C65C-4BC1-9E41-A643348FD62A}"/>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1" name="Groep 120">
                      <a:extLst>
                        <a:ext uri="{FF2B5EF4-FFF2-40B4-BE49-F238E27FC236}">
                          <a16:creationId xmlns:a16="http://schemas.microsoft.com/office/drawing/2014/main" id="{1F097A24-534A-45E0-8D16-3D4D8C784B5C}"/>
                        </a:ext>
                      </a:extLst>
                    </p:cNvPr>
                    <p:cNvGrpSpPr/>
                    <p:nvPr userDrawn="1"/>
                  </p:nvGrpSpPr>
                  <p:grpSpPr>
                    <a:xfrm>
                      <a:off x="1094874" y="-607596"/>
                      <a:ext cx="878306" cy="276726"/>
                      <a:chOff x="1106905" y="-607596"/>
                      <a:chExt cx="878307" cy="276726"/>
                    </a:xfrm>
                  </p:grpSpPr>
                  <p:cxnSp>
                    <p:nvCxnSpPr>
                      <p:cNvPr id="122" name="Rechte verbindingslijn 121">
                        <a:extLst>
                          <a:ext uri="{FF2B5EF4-FFF2-40B4-BE49-F238E27FC236}">
                            <a16:creationId xmlns:a16="http://schemas.microsoft.com/office/drawing/2014/main" id="{2B508780-F1D6-45AE-AE9F-FE4E879A8AC7}"/>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8CFB54E0-2121-449E-8411-EE333BC548BE}"/>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F0C5FBE4-DD0A-4E06-A803-6229B3978A6D}"/>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4" name="Groep 113">
                    <a:extLst>
                      <a:ext uri="{FF2B5EF4-FFF2-40B4-BE49-F238E27FC236}">
                        <a16:creationId xmlns:a16="http://schemas.microsoft.com/office/drawing/2014/main" id="{2553409B-D858-44B2-AC4F-F49A642120D5}"/>
                      </a:ext>
                    </a:extLst>
                  </p:cNvPr>
                  <p:cNvGrpSpPr/>
                  <p:nvPr userDrawn="1"/>
                </p:nvGrpSpPr>
                <p:grpSpPr>
                  <a:xfrm rot="2700000">
                    <a:off x="1605871" y="-605080"/>
                    <a:ext cx="90079" cy="407021"/>
                    <a:chOff x="3130062" y="-817193"/>
                    <a:chExt cx="131884" cy="595920"/>
                  </a:xfrm>
                  <a:solidFill>
                    <a:srgbClr val="3399FF"/>
                  </a:solidFill>
                </p:grpSpPr>
                <p:sp>
                  <p:nvSpPr>
                    <p:cNvPr id="115" name="Rechthoek 114">
                      <a:extLst>
                        <a:ext uri="{FF2B5EF4-FFF2-40B4-BE49-F238E27FC236}">
                          <a16:creationId xmlns:a16="http://schemas.microsoft.com/office/drawing/2014/main" id="{5DE63B94-976C-4E55-87A4-AD20E19DEDA7}"/>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6" name="Rechthoek: afgeronde bovenhoeken 115">
                      <a:extLst>
                        <a:ext uri="{FF2B5EF4-FFF2-40B4-BE49-F238E27FC236}">
                          <a16:creationId xmlns:a16="http://schemas.microsoft.com/office/drawing/2014/main" id="{0672ACBE-619A-4E76-B413-92AC1565D6B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7" name="Gelijkbenige driehoek 116">
                      <a:extLst>
                        <a:ext uri="{FF2B5EF4-FFF2-40B4-BE49-F238E27FC236}">
                          <a16:creationId xmlns:a16="http://schemas.microsoft.com/office/drawing/2014/main" id="{93CA82FF-9504-4BF1-B726-DC5564E76BD6}"/>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grpSp>
      </p:grpSp>
      <p:grpSp>
        <p:nvGrpSpPr>
          <p:cNvPr id="135" name="Instructie">
            <a:extLst>
              <a:ext uri="{FF2B5EF4-FFF2-40B4-BE49-F238E27FC236}">
                <a16:creationId xmlns:a16="http://schemas.microsoft.com/office/drawing/2014/main" id="{A5AF4D08-FA21-4BD4-B262-4B9EC24EEA7A}"/>
              </a:ext>
            </a:extLst>
          </p:cNvPr>
          <p:cNvGrpSpPr/>
          <p:nvPr userDrawn="1"/>
        </p:nvGrpSpPr>
        <p:grpSpPr>
          <a:xfrm>
            <a:off x="12391601" y="0"/>
            <a:ext cx="3183677" cy="2499789"/>
            <a:chOff x="12391601" y="0"/>
            <a:chExt cx="3183677" cy="2499789"/>
          </a:xfrm>
        </p:grpSpPr>
        <p:sp>
          <p:nvSpPr>
            <p:cNvPr id="136" name="Rechthoek 135">
              <a:extLst>
                <a:ext uri="{FF2B5EF4-FFF2-40B4-BE49-F238E27FC236}">
                  <a16:creationId xmlns:a16="http://schemas.microsoft.com/office/drawing/2014/main" id="{38DB5E56-3785-4550-B21D-B39A5DF5749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Grafiek invoegen/veranderen</a:t>
              </a:r>
            </a:p>
          </p:txBody>
        </p:sp>
        <p:sp>
          <p:nvSpPr>
            <p:cNvPr id="137" name="Ovaal 136">
              <a:extLst>
                <a:ext uri="{FF2B5EF4-FFF2-40B4-BE49-F238E27FC236}">
                  <a16:creationId xmlns:a16="http://schemas.microsoft.com/office/drawing/2014/main" id="{64F57F44-1AE2-4FEE-9E71-47DEE956B302}"/>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8" name="Rechte verbindingslijn 137">
              <a:extLst>
                <a:ext uri="{FF2B5EF4-FFF2-40B4-BE49-F238E27FC236}">
                  <a16:creationId xmlns:a16="http://schemas.microsoft.com/office/drawing/2014/main" id="{74B1CCF2-2AA7-4869-AFBE-71031E0DFE9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39" name="Rechte verbindingslijn 138">
              <a:extLst>
                <a:ext uri="{FF2B5EF4-FFF2-40B4-BE49-F238E27FC236}">
                  <a16:creationId xmlns:a16="http://schemas.microsoft.com/office/drawing/2014/main" id="{50738D44-AD9D-4500-B3D3-AE8F70D3E660}"/>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40" name="Rechthoek 139">
              <a:extLst>
                <a:ext uri="{FF2B5EF4-FFF2-40B4-BE49-F238E27FC236}">
                  <a16:creationId xmlns:a16="http://schemas.microsoft.com/office/drawing/2014/main" id="{C9BD92D2-77CE-494F-87BD-242E6F8D22D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grafiek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41" name="Ovaal 140">
              <a:extLst>
                <a:ext uri="{FF2B5EF4-FFF2-40B4-BE49-F238E27FC236}">
                  <a16:creationId xmlns:a16="http://schemas.microsoft.com/office/drawing/2014/main" id="{3E4960AC-8606-4029-B067-2FA9B5EDB63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141">
              <a:extLst>
                <a:ext uri="{FF2B5EF4-FFF2-40B4-BE49-F238E27FC236}">
                  <a16:creationId xmlns:a16="http://schemas.microsoft.com/office/drawing/2014/main" id="{DC40E73F-31D9-4797-BF3A-55457503E68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grafiek</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3" name="Groep 142">
              <a:extLst>
                <a:ext uri="{FF2B5EF4-FFF2-40B4-BE49-F238E27FC236}">
                  <a16:creationId xmlns:a16="http://schemas.microsoft.com/office/drawing/2014/main" id="{C1D2757D-A6C2-4FC1-84E0-5DC01FB30E52}"/>
                </a:ext>
              </a:extLst>
            </p:cNvPr>
            <p:cNvGrpSpPr/>
            <p:nvPr userDrawn="1"/>
          </p:nvGrpSpPr>
          <p:grpSpPr>
            <a:xfrm>
              <a:off x="12757282" y="2184550"/>
              <a:ext cx="825500" cy="209550"/>
              <a:chOff x="13504624" y="2482850"/>
              <a:chExt cx="825500" cy="209550"/>
            </a:xfrm>
          </p:grpSpPr>
          <p:sp>
            <p:nvSpPr>
              <p:cNvPr id="149" name="Rechthoek 148">
                <a:extLst>
                  <a:ext uri="{FF2B5EF4-FFF2-40B4-BE49-F238E27FC236}">
                    <a16:creationId xmlns:a16="http://schemas.microsoft.com/office/drawing/2014/main" id="{B9A48355-ECC1-43B3-91E1-38F4A5E547C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150" name="Rechte verbindingslijn 149">
                <a:extLst>
                  <a:ext uri="{FF2B5EF4-FFF2-40B4-BE49-F238E27FC236}">
                    <a16:creationId xmlns:a16="http://schemas.microsoft.com/office/drawing/2014/main" id="{1EE11DAC-86D7-4741-8D87-2CE1BCC59D53}"/>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1" name="Gelijkbenige driehoek 150">
                <a:extLst>
                  <a:ext uri="{FF2B5EF4-FFF2-40B4-BE49-F238E27FC236}">
                    <a16:creationId xmlns:a16="http://schemas.microsoft.com/office/drawing/2014/main" id="{61FC52A6-A3B4-4693-BA25-F9CB12595E7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44" name="Rechte verbindingslijn 143">
              <a:extLst>
                <a:ext uri="{FF2B5EF4-FFF2-40B4-BE49-F238E27FC236}">
                  <a16:creationId xmlns:a16="http://schemas.microsoft.com/office/drawing/2014/main" id="{25BC9295-8F02-4159-B529-2F7C966D4CF1}"/>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45" name="Groep 144">
              <a:extLst>
                <a:ext uri="{FF2B5EF4-FFF2-40B4-BE49-F238E27FC236}">
                  <a16:creationId xmlns:a16="http://schemas.microsoft.com/office/drawing/2014/main" id="{9C74EC01-0A9F-42E7-A600-3D91A3F1B442}"/>
                </a:ext>
              </a:extLst>
            </p:cNvPr>
            <p:cNvGrpSpPr/>
            <p:nvPr userDrawn="1"/>
          </p:nvGrpSpPr>
          <p:grpSpPr>
            <a:xfrm>
              <a:off x="12751697" y="1147804"/>
              <a:ext cx="289372" cy="314992"/>
              <a:chOff x="7322769" y="-310267"/>
              <a:chExt cx="289372" cy="314992"/>
            </a:xfrm>
          </p:grpSpPr>
          <p:sp>
            <p:nvSpPr>
              <p:cNvPr id="146" name="Rechthoek 145">
                <a:extLst>
                  <a:ext uri="{FF2B5EF4-FFF2-40B4-BE49-F238E27FC236}">
                    <a16:creationId xmlns:a16="http://schemas.microsoft.com/office/drawing/2014/main" id="{1E7FFB0A-3282-4AE0-B8ED-8FCB980FDC06}"/>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47" name="Rechthoek 146">
                <a:extLst>
                  <a:ext uri="{FF2B5EF4-FFF2-40B4-BE49-F238E27FC236}">
                    <a16:creationId xmlns:a16="http://schemas.microsoft.com/office/drawing/2014/main" id="{5AB6B49D-D371-4FC8-B3E8-5C7C81960E13}"/>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48" name="Rechthoek 147">
                <a:extLst>
                  <a:ext uri="{FF2B5EF4-FFF2-40B4-BE49-F238E27FC236}">
                    <a16:creationId xmlns:a16="http://schemas.microsoft.com/office/drawing/2014/main" id="{5AC35588-AF4C-4DBA-ABB8-6EFB4682A32F}"/>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36241509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KST / 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3EE0DD37-A7B2-43D2-A42E-4EB7E7E9F02C}"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TABEL</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1" y="1459112"/>
            <a:ext cx="5015239" cy="4119774"/>
          </a:xfrm>
          <a:solidFill>
            <a:schemeClr val="bg1">
              <a:lumMod val="95000"/>
            </a:schemeClr>
          </a:solidFill>
        </p:spPr>
        <p:txBody>
          <a:bodyPr tIns="16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99" name="Instructie">
            <a:extLst>
              <a:ext uri="{FF2B5EF4-FFF2-40B4-BE49-F238E27FC236}">
                <a16:creationId xmlns:a16="http://schemas.microsoft.com/office/drawing/2014/main" id="{544B0AF8-4987-47C9-A21F-16B0BF207D6D}"/>
              </a:ext>
            </a:extLst>
          </p:cNvPr>
          <p:cNvGrpSpPr/>
          <p:nvPr userDrawn="1"/>
        </p:nvGrpSpPr>
        <p:grpSpPr>
          <a:xfrm>
            <a:off x="12391601" y="0"/>
            <a:ext cx="3183677" cy="2499789"/>
            <a:chOff x="12391601" y="0"/>
            <a:chExt cx="3183677" cy="2499789"/>
          </a:xfrm>
        </p:grpSpPr>
        <p:sp>
          <p:nvSpPr>
            <p:cNvPr id="101" name="Rechthoek 100">
              <a:extLst>
                <a:ext uri="{FF2B5EF4-FFF2-40B4-BE49-F238E27FC236}">
                  <a16:creationId xmlns:a16="http://schemas.microsoft.com/office/drawing/2014/main" id="{512D667A-1BB3-4DFE-94B1-6B51E0AE610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102" name="Ovaal 101">
              <a:extLst>
                <a:ext uri="{FF2B5EF4-FFF2-40B4-BE49-F238E27FC236}">
                  <a16:creationId xmlns:a16="http://schemas.microsoft.com/office/drawing/2014/main" id="{5905257C-8E3C-43B1-95B5-3C1D64179B33}"/>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3" name="Rechte verbindingslijn 102">
              <a:extLst>
                <a:ext uri="{FF2B5EF4-FFF2-40B4-BE49-F238E27FC236}">
                  <a16:creationId xmlns:a16="http://schemas.microsoft.com/office/drawing/2014/main" id="{1A094B61-EB26-45DA-A93A-F0CE99D6FC47}"/>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104" name="Rechte verbindingslijn 103">
              <a:extLst>
                <a:ext uri="{FF2B5EF4-FFF2-40B4-BE49-F238E27FC236}">
                  <a16:creationId xmlns:a16="http://schemas.microsoft.com/office/drawing/2014/main" id="{991D85DD-F766-4372-B80C-75ED8F1441A9}"/>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105" name="Rechthoek 104">
              <a:extLst>
                <a:ext uri="{FF2B5EF4-FFF2-40B4-BE49-F238E27FC236}">
                  <a16:creationId xmlns:a16="http://schemas.microsoft.com/office/drawing/2014/main" id="{0649B64E-FC8F-485F-BEAE-E2E0C440D15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06" name="Ovaal 105">
              <a:extLst>
                <a:ext uri="{FF2B5EF4-FFF2-40B4-BE49-F238E27FC236}">
                  <a16:creationId xmlns:a16="http://schemas.microsoft.com/office/drawing/2014/main" id="{C968BB5A-108A-4CBC-89E6-F4B7B2DF7FB4}"/>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7" name="Rechthoek 106">
              <a:extLst>
                <a:ext uri="{FF2B5EF4-FFF2-40B4-BE49-F238E27FC236}">
                  <a16:creationId xmlns:a16="http://schemas.microsoft.com/office/drawing/2014/main" id="{97354753-DA63-47D2-B445-00FD49152F9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8" name="Groep 107">
              <a:extLst>
                <a:ext uri="{FF2B5EF4-FFF2-40B4-BE49-F238E27FC236}">
                  <a16:creationId xmlns:a16="http://schemas.microsoft.com/office/drawing/2014/main" id="{99C1D1AF-EE92-41D8-BCB2-CED0D3A83D23}"/>
                </a:ext>
              </a:extLst>
            </p:cNvPr>
            <p:cNvGrpSpPr/>
            <p:nvPr userDrawn="1"/>
          </p:nvGrpSpPr>
          <p:grpSpPr>
            <a:xfrm>
              <a:off x="12757282" y="2184550"/>
              <a:ext cx="825500" cy="209550"/>
              <a:chOff x="13504624" y="2482850"/>
              <a:chExt cx="825500" cy="209550"/>
            </a:xfrm>
          </p:grpSpPr>
          <p:sp>
            <p:nvSpPr>
              <p:cNvPr id="119" name="Rechthoek 118">
                <a:extLst>
                  <a:ext uri="{FF2B5EF4-FFF2-40B4-BE49-F238E27FC236}">
                    <a16:creationId xmlns:a16="http://schemas.microsoft.com/office/drawing/2014/main" id="{06FABB53-151D-4CA0-8597-6DBD0BD2897A}"/>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120" name="Rechte verbindingslijn 119">
                <a:extLst>
                  <a:ext uri="{FF2B5EF4-FFF2-40B4-BE49-F238E27FC236}">
                    <a16:creationId xmlns:a16="http://schemas.microsoft.com/office/drawing/2014/main" id="{9C209AAD-4B3D-44CF-9D6A-ED6B0D82C07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1" name="Gelijkbenige driehoek 120">
                <a:extLst>
                  <a:ext uri="{FF2B5EF4-FFF2-40B4-BE49-F238E27FC236}">
                    <a16:creationId xmlns:a16="http://schemas.microsoft.com/office/drawing/2014/main" id="{86BE9A17-87F1-4C12-A6E9-0C0965B02CB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109" name="Rechte verbindingslijn 108">
              <a:extLst>
                <a:ext uri="{FF2B5EF4-FFF2-40B4-BE49-F238E27FC236}">
                  <a16:creationId xmlns:a16="http://schemas.microsoft.com/office/drawing/2014/main" id="{F5C2FE27-5B46-449A-88AF-08E8F20B829A}"/>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110" name="Tabel icoon">
              <a:extLst>
                <a:ext uri="{FF2B5EF4-FFF2-40B4-BE49-F238E27FC236}">
                  <a16:creationId xmlns:a16="http://schemas.microsoft.com/office/drawing/2014/main" id="{C80DAAD0-3DF6-4AA8-B448-DA7E915208E2}"/>
                </a:ext>
              </a:extLst>
            </p:cNvPr>
            <p:cNvGrpSpPr/>
            <p:nvPr userDrawn="1"/>
          </p:nvGrpSpPr>
          <p:grpSpPr>
            <a:xfrm>
              <a:off x="12757283" y="1133664"/>
              <a:ext cx="375500" cy="339168"/>
              <a:chOff x="6072040" y="3376043"/>
              <a:chExt cx="1227920" cy="1109109"/>
            </a:xfrm>
          </p:grpSpPr>
          <p:sp>
            <p:nvSpPr>
              <p:cNvPr id="111" name="Rechthoek 110">
                <a:extLst>
                  <a:ext uri="{FF2B5EF4-FFF2-40B4-BE49-F238E27FC236}">
                    <a16:creationId xmlns:a16="http://schemas.microsoft.com/office/drawing/2014/main" id="{EE576A51-B28D-42FA-A87F-7BA3A0E34559}"/>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112" name="Rechthoek 111">
                <a:extLst>
                  <a:ext uri="{FF2B5EF4-FFF2-40B4-BE49-F238E27FC236}">
                    <a16:creationId xmlns:a16="http://schemas.microsoft.com/office/drawing/2014/main" id="{2F016D00-73DB-41B7-AA52-64C45233715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113" name="Rechte verbindingslijn 112">
                <a:extLst>
                  <a:ext uri="{FF2B5EF4-FFF2-40B4-BE49-F238E27FC236}">
                    <a16:creationId xmlns:a16="http://schemas.microsoft.com/office/drawing/2014/main" id="{CB60518A-D9E5-4CBD-A56F-E4579B47E099}"/>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1AB06018-A400-47C3-A0C2-8EF6DE0559C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D295F766-CD19-4DBD-9905-EED629FF9984}"/>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a:extLst>
                  <a:ext uri="{FF2B5EF4-FFF2-40B4-BE49-F238E27FC236}">
                    <a16:creationId xmlns:a16="http://schemas.microsoft.com/office/drawing/2014/main" id="{DD0406A0-274F-47C9-A6F6-E8E07A8D6592}"/>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a:extLst>
                  <a:ext uri="{FF2B5EF4-FFF2-40B4-BE49-F238E27FC236}">
                    <a16:creationId xmlns:a16="http://schemas.microsoft.com/office/drawing/2014/main" id="{7386C022-B91D-4614-9598-378E3DBA0C32}"/>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8" name="Rechthoek 117">
                <a:extLst>
                  <a:ext uri="{FF2B5EF4-FFF2-40B4-BE49-F238E27FC236}">
                    <a16:creationId xmlns:a16="http://schemas.microsoft.com/office/drawing/2014/main" id="{079A4A57-8ABB-486C-9488-376A6A8CAA20}"/>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grpSp>
        <p:nvGrpSpPr>
          <p:cNvPr id="206" name="Instructie">
            <a:extLst>
              <a:ext uri="{FF2B5EF4-FFF2-40B4-BE49-F238E27FC236}">
                <a16:creationId xmlns:a16="http://schemas.microsoft.com/office/drawing/2014/main" id="{7224A746-4A5D-4025-94CF-555D9808ACE5}"/>
              </a:ext>
            </a:extLst>
          </p:cNvPr>
          <p:cNvGrpSpPr/>
          <p:nvPr userDrawn="1"/>
        </p:nvGrpSpPr>
        <p:grpSpPr>
          <a:xfrm>
            <a:off x="-3437547" y="1434"/>
            <a:ext cx="3201327" cy="6041867"/>
            <a:chOff x="-3437547" y="1434"/>
            <a:chExt cx="3201327" cy="6041867"/>
          </a:xfrm>
        </p:grpSpPr>
        <p:cxnSp>
          <p:nvCxnSpPr>
            <p:cNvPr id="207" name="Rechte verbindingslijn 206">
              <a:extLst>
                <a:ext uri="{FF2B5EF4-FFF2-40B4-BE49-F238E27FC236}">
                  <a16:creationId xmlns:a16="http://schemas.microsoft.com/office/drawing/2014/main" id="{749A5422-59A9-4CAB-A00B-19791DD07AF8}"/>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08" name="Ovaal 207">
              <a:extLst>
                <a:ext uri="{FF2B5EF4-FFF2-40B4-BE49-F238E27FC236}">
                  <a16:creationId xmlns:a16="http://schemas.microsoft.com/office/drawing/2014/main" id="{B56529BA-539E-4637-8EE1-48182CD5A9EB}"/>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09" name="Rechthoek 208">
              <a:extLst>
                <a:ext uri="{FF2B5EF4-FFF2-40B4-BE49-F238E27FC236}">
                  <a16:creationId xmlns:a16="http://schemas.microsoft.com/office/drawing/2014/main" id="{AE93292F-CF43-4BDA-A221-F1A25805F319}"/>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10" name="Ovaal 209">
              <a:extLst>
                <a:ext uri="{FF2B5EF4-FFF2-40B4-BE49-F238E27FC236}">
                  <a16:creationId xmlns:a16="http://schemas.microsoft.com/office/drawing/2014/main" id="{675FAF3C-86BD-4B0C-86DE-FB783EEFC3C6}"/>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1" name="Rechthoek 210">
              <a:extLst>
                <a:ext uri="{FF2B5EF4-FFF2-40B4-BE49-F238E27FC236}">
                  <a16:creationId xmlns:a16="http://schemas.microsoft.com/office/drawing/2014/main" id="{F6DF46ED-9579-4CCE-80B9-494C1883BA41}"/>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12" name="Ovaal 211">
              <a:extLst>
                <a:ext uri="{FF2B5EF4-FFF2-40B4-BE49-F238E27FC236}">
                  <a16:creationId xmlns:a16="http://schemas.microsoft.com/office/drawing/2014/main" id="{80247F70-FD4C-4F20-8F26-9F4D51B85EE1}"/>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3" name="Rechthoek 212">
              <a:extLst>
                <a:ext uri="{FF2B5EF4-FFF2-40B4-BE49-F238E27FC236}">
                  <a16:creationId xmlns:a16="http://schemas.microsoft.com/office/drawing/2014/main" id="{0DAB1F65-9FC2-48AA-A68D-E2909AF433AA}"/>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14" name="Ovaal 213">
              <a:extLst>
                <a:ext uri="{FF2B5EF4-FFF2-40B4-BE49-F238E27FC236}">
                  <a16:creationId xmlns:a16="http://schemas.microsoft.com/office/drawing/2014/main" id="{F532BDDB-7573-43BA-9AA6-73EA382D430E}"/>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214">
              <a:extLst>
                <a:ext uri="{FF2B5EF4-FFF2-40B4-BE49-F238E27FC236}">
                  <a16:creationId xmlns:a16="http://schemas.microsoft.com/office/drawing/2014/main" id="{D12A4689-58CD-4047-8B56-B2F79242B7BF}"/>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216" name="Rechthoek 215">
              <a:extLst>
                <a:ext uri="{FF2B5EF4-FFF2-40B4-BE49-F238E27FC236}">
                  <a16:creationId xmlns:a16="http://schemas.microsoft.com/office/drawing/2014/main" id="{0D88D931-17FF-4BAA-8A2D-F401DF0C66D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17" name="Ovaal 216">
              <a:extLst>
                <a:ext uri="{FF2B5EF4-FFF2-40B4-BE49-F238E27FC236}">
                  <a16:creationId xmlns:a16="http://schemas.microsoft.com/office/drawing/2014/main" id="{0F88B1B4-B1EF-4E96-8731-FFCDEC2EF660}"/>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8" name="Rechte verbindingslijn 217">
              <a:extLst>
                <a:ext uri="{FF2B5EF4-FFF2-40B4-BE49-F238E27FC236}">
                  <a16:creationId xmlns:a16="http://schemas.microsoft.com/office/drawing/2014/main" id="{38565EF9-EF5B-4925-B762-FE86D022B16E}"/>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19" name="Groep 218">
              <a:extLst>
                <a:ext uri="{FF2B5EF4-FFF2-40B4-BE49-F238E27FC236}">
                  <a16:creationId xmlns:a16="http://schemas.microsoft.com/office/drawing/2014/main" id="{507938DC-6B7D-409C-871F-0FE8C0085BEE}"/>
                </a:ext>
              </a:extLst>
            </p:cNvPr>
            <p:cNvGrpSpPr/>
            <p:nvPr userDrawn="1"/>
          </p:nvGrpSpPr>
          <p:grpSpPr>
            <a:xfrm>
              <a:off x="-3437547" y="1295337"/>
              <a:ext cx="2933825" cy="558875"/>
              <a:chOff x="-3419346" y="368233"/>
              <a:chExt cx="3904920" cy="743862"/>
            </a:xfrm>
          </p:grpSpPr>
          <p:sp>
            <p:nvSpPr>
              <p:cNvPr id="236" name="Rechthoek 235">
                <a:extLst>
                  <a:ext uri="{FF2B5EF4-FFF2-40B4-BE49-F238E27FC236}">
                    <a16:creationId xmlns:a16="http://schemas.microsoft.com/office/drawing/2014/main" id="{BFFDAE03-8C88-491A-9930-5CEF5F0B0DB1}"/>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37" name="Rechte verbindingslijn 236">
                <a:extLst>
                  <a:ext uri="{FF2B5EF4-FFF2-40B4-BE49-F238E27FC236}">
                    <a16:creationId xmlns:a16="http://schemas.microsoft.com/office/drawing/2014/main" id="{2BF549A7-CFA6-4090-A8B6-EE2C4D77CD1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237">
                <a:extLst>
                  <a:ext uri="{FF2B5EF4-FFF2-40B4-BE49-F238E27FC236}">
                    <a16:creationId xmlns:a16="http://schemas.microsoft.com/office/drawing/2014/main" id="{4191EEF6-DB98-41D6-9095-C9181CE87353}"/>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238">
                <a:extLst>
                  <a:ext uri="{FF2B5EF4-FFF2-40B4-BE49-F238E27FC236}">
                    <a16:creationId xmlns:a16="http://schemas.microsoft.com/office/drawing/2014/main" id="{2C5BFF58-2B59-4CC0-B518-18C524072F0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40" name="Groep 239">
                <a:extLst>
                  <a:ext uri="{FF2B5EF4-FFF2-40B4-BE49-F238E27FC236}">
                    <a16:creationId xmlns:a16="http://schemas.microsoft.com/office/drawing/2014/main" id="{8AAD3B27-B0E6-4E88-B955-1DD00D326443}"/>
                  </a:ext>
                </a:extLst>
              </p:cNvPr>
              <p:cNvGrpSpPr/>
              <p:nvPr userDrawn="1"/>
            </p:nvGrpSpPr>
            <p:grpSpPr>
              <a:xfrm>
                <a:off x="-3002834" y="720303"/>
                <a:ext cx="182598" cy="143759"/>
                <a:chOff x="-3310843" y="700986"/>
                <a:chExt cx="182598" cy="143759"/>
              </a:xfrm>
            </p:grpSpPr>
            <p:grpSp>
              <p:nvGrpSpPr>
                <p:cNvPr id="279" name="Groep 278">
                  <a:extLst>
                    <a:ext uri="{FF2B5EF4-FFF2-40B4-BE49-F238E27FC236}">
                      <a16:creationId xmlns:a16="http://schemas.microsoft.com/office/drawing/2014/main" id="{14F9BB0C-AA70-449C-AFE0-B3E2BEB61A1B}"/>
                    </a:ext>
                  </a:extLst>
                </p:cNvPr>
                <p:cNvGrpSpPr/>
                <p:nvPr userDrawn="1"/>
              </p:nvGrpSpPr>
              <p:grpSpPr>
                <a:xfrm>
                  <a:off x="-3310843" y="700986"/>
                  <a:ext cx="182598" cy="143759"/>
                  <a:chOff x="-3310843" y="700986"/>
                  <a:chExt cx="182598" cy="143759"/>
                </a:xfrm>
              </p:grpSpPr>
              <p:cxnSp>
                <p:nvCxnSpPr>
                  <p:cNvPr id="283" name="Rechte verbindingslijn 282">
                    <a:extLst>
                      <a:ext uri="{FF2B5EF4-FFF2-40B4-BE49-F238E27FC236}">
                        <a16:creationId xmlns:a16="http://schemas.microsoft.com/office/drawing/2014/main" id="{57BF1767-D373-4C5F-BE1F-F07AB854B30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283">
                    <a:extLst>
                      <a:ext uri="{FF2B5EF4-FFF2-40B4-BE49-F238E27FC236}">
                        <a16:creationId xmlns:a16="http://schemas.microsoft.com/office/drawing/2014/main" id="{A976AC8E-4C00-4AD2-A18B-08AE36136EBD}"/>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284">
                    <a:extLst>
                      <a:ext uri="{FF2B5EF4-FFF2-40B4-BE49-F238E27FC236}">
                        <a16:creationId xmlns:a16="http://schemas.microsoft.com/office/drawing/2014/main" id="{94742187-D282-4ED7-9F50-28FBD4057CC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285">
                    <a:extLst>
                      <a:ext uri="{FF2B5EF4-FFF2-40B4-BE49-F238E27FC236}">
                        <a16:creationId xmlns:a16="http://schemas.microsoft.com/office/drawing/2014/main" id="{5341272A-0B92-45B9-B957-1950E2F54BA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286">
                    <a:extLst>
                      <a:ext uri="{FF2B5EF4-FFF2-40B4-BE49-F238E27FC236}">
                        <a16:creationId xmlns:a16="http://schemas.microsoft.com/office/drawing/2014/main" id="{9A832B1E-86C3-456B-ABB8-DB78C343E51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279">
                  <a:extLst>
                    <a:ext uri="{FF2B5EF4-FFF2-40B4-BE49-F238E27FC236}">
                      <a16:creationId xmlns:a16="http://schemas.microsoft.com/office/drawing/2014/main" id="{224E5915-5620-4B5C-95D5-644E0752B5F1}"/>
                    </a:ext>
                  </a:extLst>
                </p:cNvPr>
                <p:cNvGrpSpPr/>
                <p:nvPr userDrawn="1"/>
              </p:nvGrpSpPr>
              <p:grpSpPr>
                <a:xfrm flipH="1">
                  <a:off x="-3310774" y="735854"/>
                  <a:ext cx="88801" cy="72568"/>
                  <a:chOff x="-2091059" y="1395403"/>
                  <a:chExt cx="157316" cy="128558"/>
                </a:xfrm>
              </p:grpSpPr>
              <p:sp>
                <p:nvSpPr>
                  <p:cNvPr id="281" name="Rechthoek 280">
                    <a:extLst>
                      <a:ext uri="{FF2B5EF4-FFF2-40B4-BE49-F238E27FC236}">
                        <a16:creationId xmlns:a16="http://schemas.microsoft.com/office/drawing/2014/main" id="{43833988-25EC-4B04-9CAD-BE41066200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2" name="Pijl: punthaak 281">
                    <a:extLst>
                      <a:ext uri="{FF2B5EF4-FFF2-40B4-BE49-F238E27FC236}">
                        <a16:creationId xmlns:a16="http://schemas.microsoft.com/office/drawing/2014/main" id="{62B02667-7637-46DC-9C24-53435696FA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41" name="Groep 240">
                <a:extLst>
                  <a:ext uri="{FF2B5EF4-FFF2-40B4-BE49-F238E27FC236}">
                    <a16:creationId xmlns:a16="http://schemas.microsoft.com/office/drawing/2014/main" id="{C1921D13-AF28-4FEE-821D-66D10F7146EA}"/>
                  </a:ext>
                </a:extLst>
              </p:cNvPr>
              <p:cNvGrpSpPr/>
              <p:nvPr userDrawn="1"/>
            </p:nvGrpSpPr>
            <p:grpSpPr>
              <a:xfrm>
                <a:off x="-3326107" y="720303"/>
                <a:ext cx="182598" cy="143759"/>
                <a:chOff x="-3634116" y="700986"/>
                <a:chExt cx="182598" cy="143759"/>
              </a:xfrm>
            </p:grpSpPr>
            <p:grpSp>
              <p:nvGrpSpPr>
                <p:cNvPr id="270" name="Groep 269">
                  <a:extLst>
                    <a:ext uri="{FF2B5EF4-FFF2-40B4-BE49-F238E27FC236}">
                      <a16:creationId xmlns:a16="http://schemas.microsoft.com/office/drawing/2014/main" id="{C58FC713-3FA1-4F33-901C-E62353C0000F}"/>
                    </a:ext>
                  </a:extLst>
                </p:cNvPr>
                <p:cNvGrpSpPr/>
                <p:nvPr userDrawn="1"/>
              </p:nvGrpSpPr>
              <p:grpSpPr>
                <a:xfrm>
                  <a:off x="-3634116" y="700986"/>
                  <a:ext cx="182598" cy="143759"/>
                  <a:chOff x="-3634116" y="700986"/>
                  <a:chExt cx="182598" cy="143759"/>
                </a:xfrm>
              </p:grpSpPr>
              <p:cxnSp>
                <p:nvCxnSpPr>
                  <p:cNvPr id="274" name="Rechte verbindingslijn 273">
                    <a:extLst>
                      <a:ext uri="{FF2B5EF4-FFF2-40B4-BE49-F238E27FC236}">
                        <a16:creationId xmlns:a16="http://schemas.microsoft.com/office/drawing/2014/main" id="{54139801-9A6D-4194-857C-5197B8D8EB53}"/>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274">
                    <a:extLst>
                      <a:ext uri="{FF2B5EF4-FFF2-40B4-BE49-F238E27FC236}">
                        <a16:creationId xmlns:a16="http://schemas.microsoft.com/office/drawing/2014/main" id="{CD73D332-A981-4D7A-8925-C1AF9C4695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275">
                    <a:extLst>
                      <a:ext uri="{FF2B5EF4-FFF2-40B4-BE49-F238E27FC236}">
                        <a16:creationId xmlns:a16="http://schemas.microsoft.com/office/drawing/2014/main" id="{DC3CBDAA-BF8A-4F35-99D8-F59242FF8AB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276">
                    <a:extLst>
                      <a:ext uri="{FF2B5EF4-FFF2-40B4-BE49-F238E27FC236}">
                        <a16:creationId xmlns:a16="http://schemas.microsoft.com/office/drawing/2014/main" id="{90E108EA-496B-48C0-B684-AF9EA28B90D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277">
                    <a:extLst>
                      <a:ext uri="{FF2B5EF4-FFF2-40B4-BE49-F238E27FC236}">
                        <a16:creationId xmlns:a16="http://schemas.microsoft.com/office/drawing/2014/main" id="{24BFCFBA-73CD-4386-876C-D069116BE48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270">
                  <a:extLst>
                    <a:ext uri="{FF2B5EF4-FFF2-40B4-BE49-F238E27FC236}">
                      <a16:creationId xmlns:a16="http://schemas.microsoft.com/office/drawing/2014/main" id="{1BC0DEA4-93BE-41BE-AAF4-7B13F66ED408}"/>
                    </a:ext>
                  </a:extLst>
                </p:cNvPr>
                <p:cNvGrpSpPr/>
                <p:nvPr userDrawn="1"/>
              </p:nvGrpSpPr>
              <p:grpSpPr>
                <a:xfrm>
                  <a:off x="-3634047" y="735854"/>
                  <a:ext cx="88801" cy="72568"/>
                  <a:chOff x="-2091059" y="1395403"/>
                  <a:chExt cx="157316" cy="128558"/>
                </a:xfrm>
              </p:grpSpPr>
              <p:sp>
                <p:nvSpPr>
                  <p:cNvPr id="272" name="Rechthoek 271">
                    <a:extLst>
                      <a:ext uri="{FF2B5EF4-FFF2-40B4-BE49-F238E27FC236}">
                        <a16:creationId xmlns:a16="http://schemas.microsoft.com/office/drawing/2014/main" id="{59B14458-A478-49F9-B8F2-E6265558122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3" name="Pijl: punthaak 272">
                    <a:extLst>
                      <a:ext uri="{FF2B5EF4-FFF2-40B4-BE49-F238E27FC236}">
                        <a16:creationId xmlns:a16="http://schemas.microsoft.com/office/drawing/2014/main" id="{7612DD17-B66E-49A8-9460-B2529D38788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42" name="Rechte verbindingslijn 241">
                <a:extLst>
                  <a:ext uri="{FF2B5EF4-FFF2-40B4-BE49-F238E27FC236}">
                    <a16:creationId xmlns:a16="http://schemas.microsoft.com/office/drawing/2014/main" id="{24818548-0337-4E54-8F36-067A7FA6A5AE}"/>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43" name="Rechte verbindingslijn 242">
                <a:extLst>
                  <a:ext uri="{FF2B5EF4-FFF2-40B4-BE49-F238E27FC236}">
                    <a16:creationId xmlns:a16="http://schemas.microsoft.com/office/drawing/2014/main" id="{56483247-1CC4-4A46-A079-A061A103C3F7}"/>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44" name="Groep 243">
                <a:extLst>
                  <a:ext uri="{FF2B5EF4-FFF2-40B4-BE49-F238E27FC236}">
                    <a16:creationId xmlns:a16="http://schemas.microsoft.com/office/drawing/2014/main" id="{DB485FCA-7B7D-42E9-BF2D-377510AB867C}"/>
                  </a:ext>
                </a:extLst>
              </p:cNvPr>
              <p:cNvGrpSpPr/>
              <p:nvPr userDrawn="1"/>
            </p:nvGrpSpPr>
            <p:grpSpPr>
              <a:xfrm>
                <a:off x="-2425037" y="370226"/>
                <a:ext cx="357690" cy="330595"/>
                <a:chOff x="-2721817" y="347336"/>
                <a:chExt cx="432805" cy="400021"/>
              </a:xfrm>
            </p:grpSpPr>
            <p:sp>
              <p:nvSpPr>
                <p:cNvPr id="259" name="Rechthoek 258">
                  <a:extLst>
                    <a:ext uri="{FF2B5EF4-FFF2-40B4-BE49-F238E27FC236}">
                      <a16:creationId xmlns:a16="http://schemas.microsoft.com/office/drawing/2014/main" id="{0D26B70A-B1D9-4673-A889-5074AF77C32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60" name="Groep 259">
                  <a:extLst>
                    <a:ext uri="{FF2B5EF4-FFF2-40B4-BE49-F238E27FC236}">
                      <a16:creationId xmlns:a16="http://schemas.microsoft.com/office/drawing/2014/main" id="{39412CC2-AA36-4DC0-AE0D-AC7C20820609}"/>
                    </a:ext>
                  </a:extLst>
                </p:cNvPr>
                <p:cNvGrpSpPr/>
                <p:nvPr userDrawn="1"/>
              </p:nvGrpSpPr>
              <p:grpSpPr>
                <a:xfrm>
                  <a:off x="-2652453" y="431583"/>
                  <a:ext cx="294076" cy="231526"/>
                  <a:chOff x="-3634116" y="700986"/>
                  <a:chExt cx="182598" cy="143759"/>
                </a:xfrm>
              </p:grpSpPr>
              <p:grpSp>
                <p:nvGrpSpPr>
                  <p:cNvPr id="261" name="Groep 260">
                    <a:extLst>
                      <a:ext uri="{FF2B5EF4-FFF2-40B4-BE49-F238E27FC236}">
                        <a16:creationId xmlns:a16="http://schemas.microsoft.com/office/drawing/2014/main" id="{00CE0D42-439F-4409-A0AC-20291DF0E0DD}"/>
                      </a:ext>
                    </a:extLst>
                  </p:cNvPr>
                  <p:cNvGrpSpPr/>
                  <p:nvPr userDrawn="1"/>
                </p:nvGrpSpPr>
                <p:grpSpPr>
                  <a:xfrm>
                    <a:off x="-3634116" y="700986"/>
                    <a:ext cx="182598" cy="143759"/>
                    <a:chOff x="-3634116" y="700986"/>
                    <a:chExt cx="182598" cy="143759"/>
                  </a:xfrm>
                </p:grpSpPr>
                <p:cxnSp>
                  <p:nvCxnSpPr>
                    <p:cNvPr id="265" name="Rechte verbindingslijn 264">
                      <a:extLst>
                        <a:ext uri="{FF2B5EF4-FFF2-40B4-BE49-F238E27FC236}">
                          <a16:creationId xmlns:a16="http://schemas.microsoft.com/office/drawing/2014/main" id="{A65E5D3C-4D01-44F1-A1EF-D5CCD63659B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265">
                      <a:extLst>
                        <a:ext uri="{FF2B5EF4-FFF2-40B4-BE49-F238E27FC236}">
                          <a16:creationId xmlns:a16="http://schemas.microsoft.com/office/drawing/2014/main" id="{D6A53746-27E5-41C5-AD9F-3DCADA66B6C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266">
                      <a:extLst>
                        <a:ext uri="{FF2B5EF4-FFF2-40B4-BE49-F238E27FC236}">
                          <a16:creationId xmlns:a16="http://schemas.microsoft.com/office/drawing/2014/main" id="{6AFD5BF3-7AB9-4163-BD90-A04B8A0208B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267">
                      <a:extLst>
                        <a:ext uri="{FF2B5EF4-FFF2-40B4-BE49-F238E27FC236}">
                          <a16:creationId xmlns:a16="http://schemas.microsoft.com/office/drawing/2014/main" id="{8F568D6E-BAC0-4474-990B-748208AEF10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268">
                      <a:extLst>
                        <a:ext uri="{FF2B5EF4-FFF2-40B4-BE49-F238E27FC236}">
                          <a16:creationId xmlns:a16="http://schemas.microsoft.com/office/drawing/2014/main" id="{E9C04EC1-A361-4A0F-8CC3-B6E4DCBBB84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261">
                    <a:extLst>
                      <a:ext uri="{FF2B5EF4-FFF2-40B4-BE49-F238E27FC236}">
                        <a16:creationId xmlns:a16="http://schemas.microsoft.com/office/drawing/2014/main" id="{8EE8B185-9357-4E26-8FC5-76777590D882}"/>
                      </a:ext>
                    </a:extLst>
                  </p:cNvPr>
                  <p:cNvGrpSpPr/>
                  <p:nvPr userDrawn="1"/>
                </p:nvGrpSpPr>
                <p:grpSpPr>
                  <a:xfrm>
                    <a:off x="-3634047" y="735854"/>
                    <a:ext cx="88801" cy="72568"/>
                    <a:chOff x="-2091059" y="1395403"/>
                    <a:chExt cx="157316" cy="128558"/>
                  </a:xfrm>
                </p:grpSpPr>
                <p:sp>
                  <p:nvSpPr>
                    <p:cNvPr id="263" name="Rechthoek 262">
                      <a:extLst>
                        <a:ext uri="{FF2B5EF4-FFF2-40B4-BE49-F238E27FC236}">
                          <a16:creationId xmlns:a16="http://schemas.microsoft.com/office/drawing/2014/main" id="{9F221F38-25D6-44DC-9937-BD2642D5B75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4" name="Pijl: punthaak 263">
                      <a:extLst>
                        <a:ext uri="{FF2B5EF4-FFF2-40B4-BE49-F238E27FC236}">
                          <a16:creationId xmlns:a16="http://schemas.microsoft.com/office/drawing/2014/main" id="{340A4D4D-E494-464A-BFCC-A0CE1BDB87E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45" name="Groep 244">
                <a:extLst>
                  <a:ext uri="{FF2B5EF4-FFF2-40B4-BE49-F238E27FC236}">
                    <a16:creationId xmlns:a16="http://schemas.microsoft.com/office/drawing/2014/main" id="{2AD137C9-ED58-42E8-977C-E2615CF3924A}"/>
                  </a:ext>
                </a:extLst>
              </p:cNvPr>
              <p:cNvGrpSpPr/>
              <p:nvPr userDrawn="1"/>
            </p:nvGrpSpPr>
            <p:grpSpPr>
              <a:xfrm>
                <a:off x="-2425037" y="781500"/>
                <a:ext cx="357690" cy="330595"/>
                <a:chOff x="-2721817" y="782525"/>
                <a:chExt cx="432805" cy="400021"/>
              </a:xfrm>
            </p:grpSpPr>
            <p:sp>
              <p:nvSpPr>
                <p:cNvPr id="248" name="Rechthoek 247">
                  <a:extLst>
                    <a:ext uri="{FF2B5EF4-FFF2-40B4-BE49-F238E27FC236}">
                      <a16:creationId xmlns:a16="http://schemas.microsoft.com/office/drawing/2014/main" id="{51AE1EE3-726B-469B-B991-5335D61C15A3}"/>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49" name="Groep 248">
                  <a:extLst>
                    <a:ext uri="{FF2B5EF4-FFF2-40B4-BE49-F238E27FC236}">
                      <a16:creationId xmlns:a16="http://schemas.microsoft.com/office/drawing/2014/main" id="{719A8A66-D81A-4EE7-9DB2-0BC30647433C}"/>
                    </a:ext>
                  </a:extLst>
                </p:cNvPr>
                <p:cNvGrpSpPr/>
                <p:nvPr userDrawn="1"/>
              </p:nvGrpSpPr>
              <p:grpSpPr>
                <a:xfrm>
                  <a:off x="-2652453" y="866772"/>
                  <a:ext cx="294076" cy="231526"/>
                  <a:chOff x="-3310843" y="700986"/>
                  <a:chExt cx="182598" cy="143759"/>
                </a:xfrm>
              </p:grpSpPr>
              <p:grpSp>
                <p:nvGrpSpPr>
                  <p:cNvPr id="250" name="Groep 249">
                    <a:extLst>
                      <a:ext uri="{FF2B5EF4-FFF2-40B4-BE49-F238E27FC236}">
                        <a16:creationId xmlns:a16="http://schemas.microsoft.com/office/drawing/2014/main" id="{527D31C4-8C8C-4524-8541-3D53D61C09F6}"/>
                      </a:ext>
                    </a:extLst>
                  </p:cNvPr>
                  <p:cNvGrpSpPr/>
                  <p:nvPr userDrawn="1"/>
                </p:nvGrpSpPr>
                <p:grpSpPr>
                  <a:xfrm>
                    <a:off x="-3310843" y="700986"/>
                    <a:ext cx="182598" cy="143759"/>
                    <a:chOff x="-3310843" y="700986"/>
                    <a:chExt cx="182598" cy="143759"/>
                  </a:xfrm>
                </p:grpSpPr>
                <p:cxnSp>
                  <p:nvCxnSpPr>
                    <p:cNvPr id="254" name="Rechte verbindingslijn 253">
                      <a:extLst>
                        <a:ext uri="{FF2B5EF4-FFF2-40B4-BE49-F238E27FC236}">
                          <a16:creationId xmlns:a16="http://schemas.microsoft.com/office/drawing/2014/main" id="{2FE8AAE6-E2B4-42B8-9D90-27765A5B2B2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id="{2A2CA1E0-680D-4045-8F99-FD00E95EF02E}"/>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id="{A628F0CA-A070-4445-9EA0-A85AF6C2D79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256">
                      <a:extLst>
                        <a:ext uri="{FF2B5EF4-FFF2-40B4-BE49-F238E27FC236}">
                          <a16:creationId xmlns:a16="http://schemas.microsoft.com/office/drawing/2014/main" id="{D301DE3C-CD10-4AF8-8FC9-A6BA6B3F6DAE}"/>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257">
                      <a:extLst>
                        <a:ext uri="{FF2B5EF4-FFF2-40B4-BE49-F238E27FC236}">
                          <a16:creationId xmlns:a16="http://schemas.microsoft.com/office/drawing/2014/main" id="{42DC9F08-B924-4508-B616-D4B31F8C527D}"/>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250">
                    <a:extLst>
                      <a:ext uri="{FF2B5EF4-FFF2-40B4-BE49-F238E27FC236}">
                        <a16:creationId xmlns:a16="http://schemas.microsoft.com/office/drawing/2014/main" id="{FE16DC7B-E0B9-4383-B975-431DF3CC606D}"/>
                      </a:ext>
                    </a:extLst>
                  </p:cNvPr>
                  <p:cNvGrpSpPr/>
                  <p:nvPr userDrawn="1"/>
                </p:nvGrpSpPr>
                <p:grpSpPr>
                  <a:xfrm flipH="1">
                    <a:off x="-3310774" y="735854"/>
                    <a:ext cx="88801" cy="72568"/>
                    <a:chOff x="-2091059" y="1395403"/>
                    <a:chExt cx="157316" cy="128558"/>
                  </a:xfrm>
                </p:grpSpPr>
                <p:sp>
                  <p:nvSpPr>
                    <p:cNvPr id="252" name="Rechthoek 251">
                      <a:extLst>
                        <a:ext uri="{FF2B5EF4-FFF2-40B4-BE49-F238E27FC236}">
                          <a16:creationId xmlns:a16="http://schemas.microsoft.com/office/drawing/2014/main" id="{13A371CF-4324-47E9-9957-A950BACB217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53" name="Pijl: punthaak 252">
                      <a:extLst>
                        <a:ext uri="{FF2B5EF4-FFF2-40B4-BE49-F238E27FC236}">
                          <a16:creationId xmlns:a16="http://schemas.microsoft.com/office/drawing/2014/main" id="{0AB2FE67-2B77-4A27-854E-362AB3D429B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46" name="Rechthoek 245">
                <a:extLst>
                  <a:ext uri="{FF2B5EF4-FFF2-40B4-BE49-F238E27FC236}">
                    <a16:creationId xmlns:a16="http://schemas.microsoft.com/office/drawing/2014/main" id="{7108A5A8-0143-4C43-9FBB-1B39253D0F7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47" name="Rechthoek 246">
                <a:extLst>
                  <a:ext uri="{FF2B5EF4-FFF2-40B4-BE49-F238E27FC236}">
                    <a16:creationId xmlns:a16="http://schemas.microsoft.com/office/drawing/2014/main" id="{775E562D-70D3-4F35-A911-1DBA652DF94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20" name="Rechte verbindingslijn 219">
              <a:extLst>
                <a:ext uri="{FF2B5EF4-FFF2-40B4-BE49-F238E27FC236}">
                  <a16:creationId xmlns:a16="http://schemas.microsoft.com/office/drawing/2014/main" id="{A7325EB5-1D47-41D6-9EC4-F26F10F81F2A}"/>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21" name="Rechthoek 220">
              <a:extLst>
                <a:ext uri="{FF2B5EF4-FFF2-40B4-BE49-F238E27FC236}">
                  <a16:creationId xmlns:a16="http://schemas.microsoft.com/office/drawing/2014/main" id="{1A184D99-770C-4A47-953D-0229C03C044E}"/>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2" name="Ovaal 221">
              <a:extLst>
                <a:ext uri="{FF2B5EF4-FFF2-40B4-BE49-F238E27FC236}">
                  <a16:creationId xmlns:a16="http://schemas.microsoft.com/office/drawing/2014/main" id="{58BC65E9-2379-4D4D-9C05-D4D604000128}"/>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3" name="Rechthoek 222">
              <a:extLst>
                <a:ext uri="{FF2B5EF4-FFF2-40B4-BE49-F238E27FC236}">
                  <a16:creationId xmlns:a16="http://schemas.microsoft.com/office/drawing/2014/main" id="{2FD5C81F-D763-4FC0-B4B5-4DFCADD260CA}"/>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24" name="Ovaal 223">
              <a:extLst>
                <a:ext uri="{FF2B5EF4-FFF2-40B4-BE49-F238E27FC236}">
                  <a16:creationId xmlns:a16="http://schemas.microsoft.com/office/drawing/2014/main" id="{96068312-A366-47E1-BCED-A0DF3287663D}"/>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5" name="Rechthoek 224">
              <a:extLst>
                <a:ext uri="{FF2B5EF4-FFF2-40B4-BE49-F238E27FC236}">
                  <a16:creationId xmlns:a16="http://schemas.microsoft.com/office/drawing/2014/main" id="{9AA5BF9F-6B92-4F52-A27E-A02BF2D4E8C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26" name="Ovaal 225">
              <a:extLst>
                <a:ext uri="{FF2B5EF4-FFF2-40B4-BE49-F238E27FC236}">
                  <a16:creationId xmlns:a16="http://schemas.microsoft.com/office/drawing/2014/main" id="{D64E823E-9B0C-42AD-BD59-436F6678921C}"/>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7" name="Rechthoek 226">
              <a:extLst>
                <a:ext uri="{FF2B5EF4-FFF2-40B4-BE49-F238E27FC236}">
                  <a16:creationId xmlns:a16="http://schemas.microsoft.com/office/drawing/2014/main" id="{0980AD28-CDAC-4452-9D24-596DAAB243A1}"/>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28" name="Ovaal 227">
              <a:extLst>
                <a:ext uri="{FF2B5EF4-FFF2-40B4-BE49-F238E27FC236}">
                  <a16:creationId xmlns:a16="http://schemas.microsoft.com/office/drawing/2014/main" id="{4137DA4C-D0B5-4B30-B13D-19073616625D}"/>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9" name="Rechthoek 228">
              <a:extLst>
                <a:ext uri="{FF2B5EF4-FFF2-40B4-BE49-F238E27FC236}">
                  <a16:creationId xmlns:a16="http://schemas.microsoft.com/office/drawing/2014/main" id="{84845393-915B-49BF-831D-AF241DBF2FEA}"/>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30" name="Rechthoek 229">
              <a:extLst>
                <a:ext uri="{FF2B5EF4-FFF2-40B4-BE49-F238E27FC236}">
                  <a16:creationId xmlns:a16="http://schemas.microsoft.com/office/drawing/2014/main" id="{36AFBB31-3914-41C9-AB11-DD70E7685E26}"/>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31" name="Rechte verbindingslijn 230">
              <a:extLst>
                <a:ext uri="{FF2B5EF4-FFF2-40B4-BE49-F238E27FC236}">
                  <a16:creationId xmlns:a16="http://schemas.microsoft.com/office/drawing/2014/main" id="{44BBDC5C-614C-429F-A51E-08EAFAF16124}"/>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32" name="Ovaal 231">
              <a:extLst>
                <a:ext uri="{FF2B5EF4-FFF2-40B4-BE49-F238E27FC236}">
                  <a16:creationId xmlns:a16="http://schemas.microsoft.com/office/drawing/2014/main" id="{B93A69D1-273C-44F0-B8A6-30E7C46616D1}"/>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33" name="Rechthoek 232">
              <a:extLst>
                <a:ext uri="{FF2B5EF4-FFF2-40B4-BE49-F238E27FC236}">
                  <a16:creationId xmlns:a16="http://schemas.microsoft.com/office/drawing/2014/main" id="{F0C1744E-769B-45BB-B14D-AFA810C00DBF}"/>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234" name="Ovaal 233">
              <a:extLst>
                <a:ext uri="{FF2B5EF4-FFF2-40B4-BE49-F238E27FC236}">
                  <a16:creationId xmlns:a16="http://schemas.microsoft.com/office/drawing/2014/main" id="{7C93644F-ED07-4C44-8F42-6FA70688D1A8}"/>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35" name="Rechthoek 234">
              <a:extLst>
                <a:ext uri="{FF2B5EF4-FFF2-40B4-BE49-F238E27FC236}">
                  <a16:creationId xmlns:a16="http://schemas.microsoft.com/office/drawing/2014/main" id="{6392E5A1-F01D-44CC-BC08-A866220F893D}"/>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spTree>
    <p:extLst>
      <p:ext uri="{BB962C8B-B14F-4D97-AF65-F5344CB8AC3E}">
        <p14:creationId xmlns:p14="http://schemas.microsoft.com/office/powerpoint/2010/main" val="40467746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 TABEL 2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39999" y="1459112"/>
            <a:ext cx="5015239"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15CB1DD3-46A0-448C-9575-B43F941DA04B}"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TABEL 2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6096000"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sp>
        <p:nvSpPr>
          <p:cNvPr id="13" name="Tijdelijke aanduiding voor tabel 8">
            <a:extLst>
              <a:ext uri="{FF2B5EF4-FFF2-40B4-BE49-F238E27FC236}">
                <a16:creationId xmlns:a16="http://schemas.microsoft.com/office/drawing/2014/main" id="{5E3BB786-F36F-4F8B-9ECF-AA4D9B7F4C0E}"/>
              </a:ext>
            </a:extLst>
          </p:cNvPr>
          <p:cNvSpPr>
            <a:spLocks noGrp="1"/>
          </p:cNvSpPr>
          <p:nvPr>
            <p:ph type="tbl" sz="quarter" idx="17" hasCustomPrompt="1"/>
          </p:nvPr>
        </p:nvSpPr>
        <p:spPr>
          <a:xfrm>
            <a:off x="6636761" y="1459112"/>
            <a:ext cx="5015239" cy="1878839"/>
          </a:xfrm>
          <a:solidFill>
            <a:schemeClr val="bg1">
              <a:lumMod val="95000"/>
            </a:schemeClr>
          </a:solidFill>
        </p:spPr>
        <p:txBody>
          <a:bodyPr tIns="504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14" name="GRID" hidden="1">
            <a:extLst>
              <a:ext uri="{FF2B5EF4-FFF2-40B4-BE49-F238E27FC236}">
                <a16:creationId xmlns:a16="http://schemas.microsoft.com/office/drawing/2014/main" id="{5DA96321-4290-48B4-9E31-25979D37A4BF}"/>
              </a:ext>
            </a:extLst>
          </p:cNvPr>
          <p:cNvGrpSpPr/>
          <p:nvPr userDrawn="1"/>
        </p:nvGrpSpPr>
        <p:grpSpPr>
          <a:xfrm>
            <a:off x="0" y="0"/>
            <a:ext cx="12192000" cy="6858000"/>
            <a:chOff x="0" y="0"/>
            <a:chExt cx="12192000" cy="6858000"/>
          </a:xfrm>
          <a:solidFill>
            <a:schemeClr val="tx1">
              <a:alpha val="30000"/>
            </a:schemeClr>
          </a:solidFill>
        </p:grpSpPr>
        <p:sp>
          <p:nvSpPr>
            <p:cNvPr id="15" name="Rechthoek 14">
              <a:extLst>
                <a:ext uri="{FF2B5EF4-FFF2-40B4-BE49-F238E27FC236}">
                  <a16:creationId xmlns:a16="http://schemas.microsoft.com/office/drawing/2014/main" id="{CB122825-8A60-40A8-B68A-699C82DDB342}"/>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1120589F-D38A-4032-9F9B-3C5979236C42}"/>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4A81EAD3-7EF1-4206-98D8-337B2A55A2B6}"/>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25CA14D-A742-4DC9-8077-66CC72097644}"/>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CAEF66F7-FC99-4573-9A51-A226686CDB3A}"/>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BF22E5F8-A866-4ECF-91EE-0FD2C05EA447}"/>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141661C6-CEAA-4E71-877D-AFF8F9DA6F63}"/>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106EF57B-5E81-4FFE-B917-76EE3E50BDBE}"/>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206D8710-A5DB-4198-83DC-F4CAD94EB907}"/>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018895F-81C7-4C74-825A-4F37B0F61DC9}"/>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1D2962F3-C415-4096-9444-8FD161521935}"/>
                </a:ext>
              </a:extLst>
            </p:cNvPr>
            <p:cNvSpPr/>
            <p:nvPr userDrawn="1"/>
          </p:nvSpPr>
          <p:spPr>
            <a:xfrm>
              <a:off x="609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AED4D8FD-078B-47B8-B991-58C716DDE36D}"/>
                </a:ext>
              </a:extLst>
            </p:cNvPr>
            <p:cNvSpPr/>
            <p:nvPr userDrawn="1"/>
          </p:nvSpPr>
          <p:spPr>
            <a:xfrm>
              <a:off x="5555744"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AA783331-7115-4DED-99F6-A20C4CD37FBB}"/>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2" name="Tijdelijke aanduiding voor tabel 8">
            <a:extLst>
              <a:ext uri="{FF2B5EF4-FFF2-40B4-BE49-F238E27FC236}">
                <a16:creationId xmlns:a16="http://schemas.microsoft.com/office/drawing/2014/main" id="{1791F0C3-BE15-409D-9204-AB5C32387DBC}"/>
              </a:ext>
            </a:extLst>
          </p:cNvPr>
          <p:cNvSpPr>
            <a:spLocks noGrp="1"/>
          </p:cNvSpPr>
          <p:nvPr>
            <p:ph type="tbl" sz="quarter" idx="18" hasCustomPrompt="1"/>
          </p:nvPr>
        </p:nvSpPr>
        <p:spPr>
          <a:xfrm>
            <a:off x="6636761" y="3699000"/>
            <a:ext cx="5015239" cy="1878839"/>
          </a:xfrm>
          <a:solidFill>
            <a:schemeClr val="bg1">
              <a:lumMod val="95000"/>
            </a:schemeClr>
          </a:solidFill>
        </p:spPr>
        <p:txBody>
          <a:bodyPr tIns="504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221" name="Instructie">
            <a:extLst>
              <a:ext uri="{FF2B5EF4-FFF2-40B4-BE49-F238E27FC236}">
                <a16:creationId xmlns:a16="http://schemas.microsoft.com/office/drawing/2014/main" id="{B2653EA5-671F-4111-B5AB-9B0F2D3F7A49}"/>
              </a:ext>
            </a:extLst>
          </p:cNvPr>
          <p:cNvGrpSpPr/>
          <p:nvPr userDrawn="1"/>
        </p:nvGrpSpPr>
        <p:grpSpPr>
          <a:xfrm>
            <a:off x="-3437547" y="1434"/>
            <a:ext cx="3201327" cy="6041867"/>
            <a:chOff x="-3437547" y="1434"/>
            <a:chExt cx="3201327" cy="6041867"/>
          </a:xfrm>
        </p:grpSpPr>
        <p:cxnSp>
          <p:nvCxnSpPr>
            <p:cNvPr id="222" name="Rechte verbindingslijn 221">
              <a:extLst>
                <a:ext uri="{FF2B5EF4-FFF2-40B4-BE49-F238E27FC236}">
                  <a16:creationId xmlns:a16="http://schemas.microsoft.com/office/drawing/2014/main" id="{B739E408-5A00-4F55-8ADD-A80FFFBDE4C9}"/>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23" name="Ovaal 222">
              <a:extLst>
                <a:ext uri="{FF2B5EF4-FFF2-40B4-BE49-F238E27FC236}">
                  <a16:creationId xmlns:a16="http://schemas.microsoft.com/office/drawing/2014/main" id="{C90D1D6A-87EC-454A-B282-0A0BB556337F}"/>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24" name="Rechthoek 223">
              <a:extLst>
                <a:ext uri="{FF2B5EF4-FFF2-40B4-BE49-F238E27FC236}">
                  <a16:creationId xmlns:a16="http://schemas.microsoft.com/office/drawing/2014/main" id="{AE709315-9E90-4655-9D18-B2BFA65A6D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5" name="Ovaal 224">
              <a:extLst>
                <a:ext uri="{FF2B5EF4-FFF2-40B4-BE49-F238E27FC236}">
                  <a16:creationId xmlns:a16="http://schemas.microsoft.com/office/drawing/2014/main" id="{21892402-A260-4AED-A74E-189787397240}"/>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26" name="Rechthoek 225">
              <a:extLst>
                <a:ext uri="{FF2B5EF4-FFF2-40B4-BE49-F238E27FC236}">
                  <a16:creationId xmlns:a16="http://schemas.microsoft.com/office/drawing/2014/main" id="{8FD1AF7D-061A-4D63-9C5A-B207F8C79D47}"/>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27" name="Ovaal 226">
              <a:extLst>
                <a:ext uri="{FF2B5EF4-FFF2-40B4-BE49-F238E27FC236}">
                  <a16:creationId xmlns:a16="http://schemas.microsoft.com/office/drawing/2014/main" id="{F1849587-23D4-4A69-A493-72F2B7B3D955}"/>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28" name="Rechthoek 227">
              <a:extLst>
                <a:ext uri="{FF2B5EF4-FFF2-40B4-BE49-F238E27FC236}">
                  <a16:creationId xmlns:a16="http://schemas.microsoft.com/office/drawing/2014/main" id="{CFD9FD95-34E2-4323-9D4C-BF754CA2E606}"/>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29" name="Ovaal 228">
              <a:extLst>
                <a:ext uri="{FF2B5EF4-FFF2-40B4-BE49-F238E27FC236}">
                  <a16:creationId xmlns:a16="http://schemas.microsoft.com/office/drawing/2014/main" id="{631F9D02-783D-4312-AA03-30BF60E24AFB}"/>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30" name="Rechthoek 229">
              <a:extLst>
                <a:ext uri="{FF2B5EF4-FFF2-40B4-BE49-F238E27FC236}">
                  <a16:creationId xmlns:a16="http://schemas.microsoft.com/office/drawing/2014/main" id="{81C1DFE0-9D0B-4AA0-BD49-8134885BA1FA}"/>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231" name="Rechthoek 230">
              <a:extLst>
                <a:ext uri="{FF2B5EF4-FFF2-40B4-BE49-F238E27FC236}">
                  <a16:creationId xmlns:a16="http://schemas.microsoft.com/office/drawing/2014/main" id="{65943516-EF34-4779-8262-A7515CC50C0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32" name="Ovaal 231">
              <a:extLst>
                <a:ext uri="{FF2B5EF4-FFF2-40B4-BE49-F238E27FC236}">
                  <a16:creationId xmlns:a16="http://schemas.microsoft.com/office/drawing/2014/main" id="{34B1D59C-0AC8-465B-A4B1-A69DCA3B9272}"/>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33" name="Rechte verbindingslijn 232">
              <a:extLst>
                <a:ext uri="{FF2B5EF4-FFF2-40B4-BE49-F238E27FC236}">
                  <a16:creationId xmlns:a16="http://schemas.microsoft.com/office/drawing/2014/main" id="{BC582A78-1BDB-4F83-A67B-EEDCFB40C3D5}"/>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34" name="Groep 233">
              <a:extLst>
                <a:ext uri="{FF2B5EF4-FFF2-40B4-BE49-F238E27FC236}">
                  <a16:creationId xmlns:a16="http://schemas.microsoft.com/office/drawing/2014/main" id="{90573D25-69B9-452E-A4E0-AC192C72A08B}"/>
                </a:ext>
              </a:extLst>
            </p:cNvPr>
            <p:cNvGrpSpPr/>
            <p:nvPr userDrawn="1"/>
          </p:nvGrpSpPr>
          <p:grpSpPr>
            <a:xfrm>
              <a:off x="-3437547" y="1295337"/>
              <a:ext cx="2933825" cy="558875"/>
              <a:chOff x="-3419346" y="368233"/>
              <a:chExt cx="3904920" cy="743862"/>
            </a:xfrm>
          </p:grpSpPr>
          <p:sp>
            <p:nvSpPr>
              <p:cNvPr id="251" name="Rechthoek 250">
                <a:extLst>
                  <a:ext uri="{FF2B5EF4-FFF2-40B4-BE49-F238E27FC236}">
                    <a16:creationId xmlns:a16="http://schemas.microsoft.com/office/drawing/2014/main" id="{3CDD5308-008F-4F39-B357-57C3B3A2EB70}"/>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52" name="Rechte verbindingslijn 251">
                <a:extLst>
                  <a:ext uri="{FF2B5EF4-FFF2-40B4-BE49-F238E27FC236}">
                    <a16:creationId xmlns:a16="http://schemas.microsoft.com/office/drawing/2014/main" id="{3EB055C4-5D9A-45D3-B566-B85757EE073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3" name="Rechte verbindingslijn 252">
                <a:extLst>
                  <a:ext uri="{FF2B5EF4-FFF2-40B4-BE49-F238E27FC236}">
                    <a16:creationId xmlns:a16="http://schemas.microsoft.com/office/drawing/2014/main" id="{73568B89-4281-41EE-BAAA-64726CDA976A}"/>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4" name="Rechthoek 253">
                <a:extLst>
                  <a:ext uri="{FF2B5EF4-FFF2-40B4-BE49-F238E27FC236}">
                    <a16:creationId xmlns:a16="http://schemas.microsoft.com/office/drawing/2014/main" id="{104A6F6F-1081-48F1-8E08-BD7E552E147B}"/>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55" name="Groep 254">
                <a:extLst>
                  <a:ext uri="{FF2B5EF4-FFF2-40B4-BE49-F238E27FC236}">
                    <a16:creationId xmlns:a16="http://schemas.microsoft.com/office/drawing/2014/main" id="{82D66327-D1E6-49D8-B4FF-18CF5A8CBDEE}"/>
                  </a:ext>
                </a:extLst>
              </p:cNvPr>
              <p:cNvGrpSpPr/>
              <p:nvPr userDrawn="1"/>
            </p:nvGrpSpPr>
            <p:grpSpPr>
              <a:xfrm>
                <a:off x="-3002834" y="720303"/>
                <a:ext cx="182598" cy="143759"/>
                <a:chOff x="-3310843" y="700986"/>
                <a:chExt cx="182598" cy="143759"/>
              </a:xfrm>
            </p:grpSpPr>
            <p:grpSp>
              <p:nvGrpSpPr>
                <p:cNvPr id="294" name="Groep 293">
                  <a:extLst>
                    <a:ext uri="{FF2B5EF4-FFF2-40B4-BE49-F238E27FC236}">
                      <a16:creationId xmlns:a16="http://schemas.microsoft.com/office/drawing/2014/main" id="{D064D897-24AD-4505-AC71-EFF9AEDB3B4A}"/>
                    </a:ext>
                  </a:extLst>
                </p:cNvPr>
                <p:cNvGrpSpPr/>
                <p:nvPr userDrawn="1"/>
              </p:nvGrpSpPr>
              <p:grpSpPr>
                <a:xfrm>
                  <a:off x="-3310843" y="700986"/>
                  <a:ext cx="182598" cy="143759"/>
                  <a:chOff x="-3310843" y="700986"/>
                  <a:chExt cx="182598" cy="143759"/>
                </a:xfrm>
              </p:grpSpPr>
              <p:cxnSp>
                <p:nvCxnSpPr>
                  <p:cNvPr id="298" name="Rechte verbindingslijn 297">
                    <a:extLst>
                      <a:ext uri="{FF2B5EF4-FFF2-40B4-BE49-F238E27FC236}">
                        <a16:creationId xmlns:a16="http://schemas.microsoft.com/office/drawing/2014/main" id="{461290BE-8F96-4DC5-B43F-8C9BE432490D}"/>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99" name="Rechte verbindingslijn 298">
                    <a:extLst>
                      <a:ext uri="{FF2B5EF4-FFF2-40B4-BE49-F238E27FC236}">
                        <a16:creationId xmlns:a16="http://schemas.microsoft.com/office/drawing/2014/main" id="{D010547F-27BC-481F-8B43-21CD74442F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00" name="Rechte verbindingslijn 299">
                    <a:extLst>
                      <a:ext uri="{FF2B5EF4-FFF2-40B4-BE49-F238E27FC236}">
                        <a16:creationId xmlns:a16="http://schemas.microsoft.com/office/drawing/2014/main" id="{3E3592CE-4A8E-40BE-AEA9-2B856155089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01" name="Rechte verbindingslijn 300">
                    <a:extLst>
                      <a:ext uri="{FF2B5EF4-FFF2-40B4-BE49-F238E27FC236}">
                        <a16:creationId xmlns:a16="http://schemas.microsoft.com/office/drawing/2014/main" id="{3E7980F6-CF0F-4EB4-928D-49FE0BD9318B}"/>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02" name="Rechte verbindingslijn 301">
                    <a:extLst>
                      <a:ext uri="{FF2B5EF4-FFF2-40B4-BE49-F238E27FC236}">
                        <a16:creationId xmlns:a16="http://schemas.microsoft.com/office/drawing/2014/main" id="{43DD3D00-5F53-4167-AF98-B68B882BF1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95" name="Groep 294">
                  <a:extLst>
                    <a:ext uri="{FF2B5EF4-FFF2-40B4-BE49-F238E27FC236}">
                      <a16:creationId xmlns:a16="http://schemas.microsoft.com/office/drawing/2014/main" id="{660B7A9C-290D-4AFF-BF60-F53119A6FE84}"/>
                    </a:ext>
                  </a:extLst>
                </p:cNvPr>
                <p:cNvGrpSpPr/>
                <p:nvPr userDrawn="1"/>
              </p:nvGrpSpPr>
              <p:grpSpPr>
                <a:xfrm flipH="1">
                  <a:off x="-3310774" y="735854"/>
                  <a:ext cx="88801" cy="72568"/>
                  <a:chOff x="-2091059" y="1395403"/>
                  <a:chExt cx="157316" cy="128558"/>
                </a:xfrm>
              </p:grpSpPr>
              <p:sp>
                <p:nvSpPr>
                  <p:cNvPr id="296" name="Rechthoek 295">
                    <a:extLst>
                      <a:ext uri="{FF2B5EF4-FFF2-40B4-BE49-F238E27FC236}">
                        <a16:creationId xmlns:a16="http://schemas.microsoft.com/office/drawing/2014/main" id="{C603840F-DBF6-4FEB-B5F4-1CD52B49A02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97" name="Pijl: punthaak 296">
                    <a:extLst>
                      <a:ext uri="{FF2B5EF4-FFF2-40B4-BE49-F238E27FC236}">
                        <a16:creationId xmlns:a16="http://schemas.microsoft.com/office/drawing/2014/main" id="{2FEF4729-249B-4A02-8F95-8D93EB2AA4D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56" name="Groep 255">
                <a:extLst>
                  <a:ext uri="{FF2B5EF4-FFF2-40B4-BE49-F238E27FC236}">
                    <a16:creationId xmlns:a16="http://schemas.microsoft.com/office/drawing/2014/main" id="{90CC8A40-D3B0-49D2-81F5-A4BE3B9B9B4C}"/>
                  </a:ext>
                </a:extLst>
              </p:cNvPr>
              <p:cNvGrpSpPr/>
              <p:nvPr userDrawn="1"/>
            </p:nvGrpSpPr>
            <p:grpSpPr>
              <a:xfrm>
                <a:off x="-3326107" y="720303"/>
                <a:ext cx="182598" cy="143759"/>
                <a:chOff x="-3634116" y="700986"/>
                <a:chExt cx="182598" cy="143759"/>
              </a:xfrm>
            </p:grpSpPr>
            <p:grpSp>
              <p:nvGrpSpPr>
                <p:cNvPr id="285" name="Groep 284">
                  <a:extLst>
                    <a:ext uri="{FF2B5EF4-FFF2-40B4-BE49-F238E27FC236}">
                      <a16:creationId xmlns:a16="http://schemas.microsoft.com/office/drawing/2014/main" id="{92B7769E-63A1-4ABD-A0A0-0B443112A358}"/>
                    </a:ext>
                  </a:extLst>
                </p:cNvPr>
                <p:cNvGrpSpPr/>
                <p:nvPr userDrawn="1"/>
              </p:nvGrpSpPr>
              <p:grpSpPr>
                <a:xfrm>
                  <a:off x="-3634116" y="700986"/>
                  <a:ext cx="182598" cy="143759"/>
                  <a:chOff x="-3634116" y="700986"/>
                  <a:chExt cx="182598" cy="143759"/>
                </a:xfrm>
              </p:grpSpPr>
              <p:cxnSp>
                <p:nvCxnSpPr>
                  <p:cNvPr id="289" name="Rechte verbindingslijn 288">
                    <a:extLst>
                      <a:ext uri="{FF2B5EF4-FFF2-40B4-BE49-F238E27FC236}">
                        <a16:creationId xmlns:a16="http://schemas.microsoft.com/office/drawing/2014/main" id="{F8257E83-CBC0-4F70-8194-62C0F4E5B0E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90" name="Rechte verbindingslijn 289">
                    <a:extLst>
                      <a:ext uri="{FF2B5EF4-FFF2-40B4-BE49-F238E27FC236}">
                        <a16:creationId xmlns:a16="http://schemas.microsoft.com/office/drawing/2014/main" id="{444686B2-5707-4A14-A116-4410697217A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91" name="Rechte verbindingslijn 290">
                    <a:extLst>
                      <a:ext uri="{FF2B5EF4-FFF2-40B4-BE49-F238E27FC236}">
                        <a16:creationId xmlns:a16="http://schemas.microsoft.com/office/drawing/2014/main" id="{A684E9F9-EF66-425F-BB26-8C990205A2F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92" name="Rechte verbindingslijn 291">
                    <a:extLst>
                      <a:ext uri="{FF2B5EF4-FFF2-40B4-BE49-F238E27FC236}">
                        <a16:creationId xmlns:a16="http://schemas.microsoft.com/office/drawing/2014/main" id="{88F545D0-D3C6-4B11-9E0A-9550379DCFE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93" name="Rechte verbindingslijn 292">
                    <a:extLst>
                      <a:ext uri="{FF2B5EF4-FFF2-40B4-BE49-F238E27FC236}">
                        <a16:creationId xmlns:a16="http://schemas.microsoft.com/office/drawing/2014/main" id="{17A6ACE0-81D8-4012-9382-C2566632BC6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86" name="Groep 285">
                  <a:extLst>
                    <a:ext uri="{FF2B5EF4-FFF2-40B4-BE49-F238E27FC236}">
                      <a16:creationId xmlns:a16="http://schemas.microsoft.com/office/drawing/2014/main" id="{B37E1FA7-BE64-4849-81DA-4E4052C18966}"/>
                    </a:ext>
                  </a:extLst>
                </p:cNvPr>
                <p:cNvGrpSpPr/>
                <p:nvPr userDrawn="1"/>
              </p:nvGrpSpPr>
              <p:grpSpPr>
                <a:xfrm>
                  <a:off x="-3634047" y="735854"/>
                  <a:ext cx="88801" cy="72568"/>
                  <a:chOff x="-2091059" y="1395403"/>
                  <a:chExt cx="157316" cy="128558"/>
                </a:xfrm>
              </p:grpSpPr>
              <p:sp>
                <p:nvSpPr>
                  <p:cNvPr id="287" name="Rechthoek 286">
                    <a:extLst>
                      <a:ext uri="{FF2B5EF4-FFF2-40B4-BE49-F238E27FC236}">
                        <a16:creationId xmlns:a16="http://schemas.microsoft.com/office/drawing/2014/main" id="{67050660-9FF3-478A-99D9-1090E38523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8" name="Pijl: punthaak 287">
                    <a:extLst>
                      <a:ext uri="{FF2B5EF4-FFF2-40B4-BE49-F238E27FC236}">
                        <a16:creationId xmlns:a16="http://schemas.microsoft.com/office/drawing/2014/main" id="{7BF97517-051C-45CD-8288-B6A7B57E61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57" name="Rechte verbindingslijn 256">
                <a:extLst>
                  <a:ext uri="{FF2B5EF4-FFF2-40B4-BE49-F238E27FC236}">
                    <a16:creationId xmlns:a16="http://schemas.microsoft.com/office/drawing/2014/main" id="{D4F99625-C68F-4DC9-BEE4-48D3ACEC3549}"/>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58" name="Rechte verbindingslijn 257">
                <a:extLst>
                  <a:ext uri="{FF2B5EF4-FFF2-40B4-BE49-F238E27FC236}">
                    <a16:creationId xmlns:a16="http://schemas.microsoft.com/office/drawing/2014/main" id="{359AD480-C921-4023-8503-922C9D517F44}"/>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59" name="Groep 258">
                <a:extLst>
                  <a:ext uri="{FF2B5EF4-FFF2-40B4-BE49-F238E27FC236}">
                    <a16:creationId xmlns:a16="http://schemas.microsoft.com/office/drawing/2014/main" id="{95045E8D-1C5E-4191-B6CD-46026C012D0D}"/>
                  </a:ext>
                </a:extLst>
              </p:cNvPr>
              <p:cNvGrpSpPr/>
              <p:nvPr userDrawn="1"/>
            </p:nvGrpSpPr>
            <p:grpSpPr>
              <a:xfrm>
                <a:off x="-2425037" y="370226"/>
                <a:ext cx="357690" cy="330595"/>
                <a:chOff x="-2721817" y="347336"/>
                <a:chExt cx="432805" cy="400021"/>
              </a:xfrm>
            </p:grpSpPr>
            <p:sp>
              <p:nvSpPr>
                <p:cNvPr id="274" name="Rechthoek 273">
                  <a:extLst>
                    <a:ext uri="{FF2B5EF4-FFF2-40B4-BE49-F238E27FC236}">
                      <a16:creationId xmlns:a16="http://schemas.microsoft.com/office/drawing/2014/main" id="{3015B5EB-2DC8-403F-A375-84E4F086439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75" name="Groep 274">
                  <a:extLst>
                    <a:ext uri="{FF2B5EF4-FFF2-40B4-BE49-F238E27FC236}">
                      <a16:creationId xmlns:a16="http://schemas.microsoft.com/office/drawing/2014/main" id="{EB779A8C-1DB8-4044-8D62-A7F88100FC55}"/>
                    </a:ext>
                  </a:extLst>
                </p:cNvPr>
                <p:cNvGrpSpPr/>
                <p:nvPr userDrawn="1"/>
              </p:nvGrpSpPr>
              <p:grpSpPr>
                <a:xfrm>
                  <a:off x="-2652453" y="431583"/>
                  <a:ext cx="294076" cy="231526"/>
                  <a:chOff x="-3634116" y="700986"/>
                  <a:chExt cx="182598" cy="143759"/>
                </a:xfrm>
              </p:grpSpPr>
              <p:grpSp>
                <p:nvGrpSpPr>
                  <p:cNvPr id="276" name="Groep 275">
                    <a:extLst>
                      <a:ext uri="{FF2B5EF4-FFF2-40B4-BE49-F238E27FC236}">
                        <a16:creationId xmlns:a16="http://schemas.microsoft.com/office/drawing/2014/main" id="{D2A35FED-6BD8-41AB-8F59-FF2BF33BCD89}"/>
                      </a:ext>
                    </a:extLst>
                  </p:cNvPr>
                  <p:cNvGrpSpPr/>
                  <p:nvPr userDrawn="1"/>
                </p:nvGrpSpPr>
                <p:grpSpPr>
                  <a:xfrm>
                    <a:off x="-3634116" y="700986"/>
                    <a:ext cx="182598" cy="143759"/>
                    <a:chOff x="-3634116" y="700986"/>
                    <a:chExt cx="182598" cy="143759"/>
                  </a:xfrm>
                </p:grpSpPr>
                <p:cxnSp>
                  <p:nvCxnSpPr>
                    <p:cNvPr id="280" name="Rechte verbindingslijn 279">
                      <a:extLst>
                        <a:ext uri="{FF2B5EF4-FFF2-40B4-BE49-F238E27FC236}">
                          <a16:creationId xmlns:a16="http://schemas.microsoft.com/office/drawing/2014/main" id="{DD41E0A3-79C5-42F3-9712-AA3D53B2671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81" name="Rechte verbindingslijn 280">
                      <a:extLst>
                        <a:ext uri="{FF2B5EF4-FFF2-40B4-BE49-F238E27FC236}">
                          <a16:creationId xmlns:a16="http://schemas.microsoft.com/office/drawing/2014/main" id="{82358B59-3D3A-423A-9B4B-B81D16CE225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82" name="Rechte verbindingslijn 281">
                      <a:extLst>
                        <a:ext uri="{FF2B5EF4-FFF2-40B4-BE49-F238E27FC236}">
                          <a16:creationId xmlns:a16="http://schemas.microsoft.com/office/drawing/2014/main" id="{5F8F92CE-CF74-4486-8DF0-5134F7E303F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83" name="Rechte verbindingslijn 282">
                      <a:extLst>
                        <a:ext uri="{FF2B5EF4-FFF2-40B4-BE49-F238E27FC236}">
                          <a16:creationId xmlns:a16="http://schemas.microsoft.com/office/drawing/2014/main" id="{AA3E59B8-4359-4B34-8EFC-2B956B2CD1EA}"/>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84" name="Rechte verbindingslijn 283">
                      <a:extLst>
                        <a:ext uri="{FF2B5EF4-FFF2-40B4-BE49-F238E27FC236}">
                          <a16:creationId xmlns:a16="http://schemas.microsoft.com/office/drawing/2014/main" id="{71D4AF3A-3A86-405C-8CA7-BDD09DD8D27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77" name="Groep 276">
                    <a:extLst>
                      <a:ext uri="{FF2B5EF4-FFF2-40B4-BE49-F238E27FC236}">
                        <a16:creationId xmlns:a16="http://schemas.microsoft.com/office/drawing/2014/main" id="{54BF1B23-EF9E-48DE-BF13-8BFB4397FE55}"/>
                      </a:ext>
                    </a:extLst>
                  </p:cNvPr>
                  <p:cNvGrpSpPr/>
                  <p:nvPr userDrawn="1"/>
                </p:nvGrpSpPr>
                <p:grpSpPr>
                  <a:xfrm>
                    <a:off x="-3634047" y="735854"/>
                    <a:ext cx="88801" cy="72568"/>
                    <a:chOff x="-2091059" y="1395403"/>
                    <a:chExt cx="157316" cy="128558"/>
                  </a:xfrm>
                </p:grpSpPr>
                <p:sp>
                  <p:nvSpPr>
                    <p:cNvPr id="278" name="Rechthoek 277">
                      <a:extLst>
                        <a:ext uri="{FF2B5EF4-FFF2-40B4-BE49-F238E27FC236}">
                          <a16:creationId xmlns:a16="http://schemas.microsoft.com/office/drawing/2014/main" id="{8B0FB909-EF47-4536-A922-4403F82E9D8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9" name="Pijl: punthaak 278">
                      <a:extLst>
                        <a:ext uri="{FF2B5EF4-FFF2-40B4-BE49-F238E27FC236}">
                          <a16:creationId xmlns:a16="http://schemas.microsoft.com/office/drawing/2014/main" id="{7178D84D-7369-4BF5-A5EB-65A7F01B44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60" name="Groep 259">
                <a:extLst>
                  <a:ext uri="{FF2B5EF4-FFF2-40B4-BE49-F238E27FC236}">
                    <a16:creationId xmlns:a16="http://schemas.microsoft.com/office/drawing/2014/main" id="{B4D0F6CC-A6CA-460C-9B22-5F69761037C0}"/>
                  </a:ext>
                </a:extLst>
              </p:cNvPr>
              <p:cNvGrpSpPr/>
              <p:nvPr userDrawn="1"/>
            </p:nvGrpSpPr>
            <p:grpSpPr>
              <a:xfrm>
                <a:off x="-2425037" y="781500"/>
                <a:ext cx="357690" cy="330595"/>
                <a:chOff x="-2721817" y="782525"/>
                <a:chExt cx="432805" cy="400021"/>
              </a:xfrm>
            </p:grpSpPr>
            <p:sp>
              <p:nvSpPr>
                <p:cNvPr id="263" name="Rechthoek 262">
                  <a:extLst>
                    <a:ext uri="{FF2B5EF4-FFF2-40B4-BE49-F238E27FC236}">
                      <a16:creationId xmlns:a16="http://schemas.microsoft.com/office/drawing/2014/main" id="{1C8D6848-59EE-475D-A328-BE5B49EB6A5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64" name="Groep 263">
                  <a:extLst>
                    <a:ext uri="{FF2B5EF4-FFF2-40B4-BE49-F238E27FC236}">
                      <a16:creationId xmlns:a16="http://schemas.microsoft.com/office/drawing/2014/main" id="{F3DC2B7C-A7AB-4E99-B4F9-50A543CB34A4}"/>
                    </a:ext>
                  </a:extLst>
                </p:cNvPr>
                <p:cNvGrpSpPr/>
                <p:nvPr userDrawn="1"/>
              </p:nvGrpSpPr>
              <p:grpSpPr>
                <a:xfrm>
                  <a:off x="-2652453" y="866772"/>
                  <a:ext cx="294076" cy="231526"/>
                  <a:chOff x="-3310843" y="700986"/>
                  <a:chExt cx="182598" cy="143759"/>
                </a:xfrm>
              </p:grpSpPr>
              <p:grpSp>
                <p:nvGrpSpPr>
                  <p:cNvPr id="265" name="Groep 264">
                    <a:extLst>
                      <a:ext uri="{FF2B5EF4-FFF2-40B4-BE49-F238E27FC236}">
                        <a16:creationId xmlns:a16="http://schemas.microsoft.com/office/drawing/2014/main" id="{D10431F4-4F32-4040-8F34-1A80843AB2EE}"/>
                      </a:ext>
                    </a:extLst>
                  </p:cNvPr>
                  <p:cNvGrpSpPr/>
                  <p:nvPr userDrawn="1"/>
                </p:nvGrpSpPr>
                <p:grpSpPr>
                  <a:xfrm>
                    <a:off x="-3310843" y="700986"/>
                    <a:ext cx="182598" cy="143759"/>
                    <a:chOff x="-3310843" y="700986"/>
                    <a:chExt cx="182598" cy="143759"/>
                  </a:xfrm>
                </p:grpSpPr>
                <p:cxnSp>
                  <p:nvCxnSpPr>
                    <p:cNvPr id="269" name="Rechte verbindingslijn 268">
                      <a:extLst>
                        <a:ext uri="{FF2B5EF4-FFF2-40B4-BE49-F238E27FC236}">
                          <a16:creationId xmlns:a16="http://schemas.microsoft.com/office/drawing/2014/main" id="{19161EDE-E28A-4E33-BD84-1998EC21B9C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70" name="Rechte verbindingslijn 269">
                      <a:extLst>
                        <a:ext uri="{FF2B5EF4-FFF2-40B4-BE49-F238E27FC236}">
                          <a16:creationId xmlns:a16="http://schemas.microsoft.com/office/drawing/2014/main" id="{567DC791-F3FA-46FA-9A76-991F5B946761}"/>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71" name="Rechte verbindingslijn 270">
                      <a:extLst>
                        <a:ext uri="{FF2B5EF4-FFF2-40B4-BE49-F238E27FC236}">
                          <a16:creationId xmlns:a16="http://schemas.microsoft.com/office/drawing/2014/main" id="{276ED34B-DABD-4507-9AD3-164CFC8E4A1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72" name="Rechte verbindingslijn 271">
                      <a:extLst>
                        <a:ext uri="{FF2B5EF4-FFF2-40B4-BE49-F238E27FC236}">
                          <a16:creationId xmlns:a16="http://schemas.microsoft.com/office/drawing/2014/main" id="{9F8FF6F4-460B-40FD-9EEB-C2F6DA2716F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73" name="Rechte verbindingslijn 272">
                      <a:extLst>
                        <a:ext uri="{FF2B5EF4-FFF2-40B4-BE49-F238E27FC236}">
                          <a16:creationId xmlns:a16="http://schemas.microsoft.com/office/drawing/2014/main" id="{32E039AD-2A01-49DA-9454-2D5E1A83872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66" name="Groep 265">
                    <a:extLst>
                      <a:ext uri="{FF2B5EF4-FFF2-40B4-BE49-F238E27FC236}">
                        <a16:creationId xmlns:a16="http://schemas.microsoft.com/office/drawing/2014/main" id="{DEE0F91F-2E31-49EB-80D1-4051937A9390}"/>
                      </a:ext>
                    </a:extLst>
                  </p:cNvPr>
                  <p:cNvGrpSpPr/>
                  <p:nvPr userDrawn="1"/>
                </p:nvGrpSpPr>
                <p:grpSpPr>
                  <a:xfrm flipH="1">
                    <a:off x="-3310774" y="735854"/>
                    <a:ext cx="88801" cy="72568"/>
                    <a:chOff x="-2091059" y="1395403"/>
                    <a:chExt cx="157316" cy="128558"/>
                  </a:xfrm>
                </p:grpSpPr>
                <p:sp>
                  <p:nvSpPr>
                    <p:cNvPr id="267" name="Rechthoek 266">
                      <a:extLst>
                        <a:ext uri="{FF2B5EF4-FFF2-40B4-BE49-F238E27FC236}">
                          <a16:creationId xmlns:a16="http://schemas.microsoft.com/office/drawing/2014/main" id="{543A816E-051C-41BB-8834-E313CFB7D09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68" name="Pijl: punthaak 267">
                      <a:extLst>
                        <a:ext uri="{FF2B5EF4-FFF2-40B4-BE49-F238E27FC236}">
                          <a16:creationId xmlns:a16="http://schemas.microsoft.com/office/drawing/2014/main" id="{7BDB7020-6C5E-43E8-A31E-0C7F32E15DF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61" name="Rechthoek 260">
                <a:extLst>
                  <a:ext uri="{FF2B5EF4-FFF2-40B4-BE49-F238E27FC236}">
                    <a16:creationId xmlns:a16="http://schemas.microsoft.com/office/drawing/2014/main" id="{F1C6515C-7515-4ED6-B2B5-3D65E095570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62" name="Rechthoek 261">
                <a:extLst>
                  <a:ext uri="{FF2B5EF4-FFF2-40B4-BE49-F238E27FC236}">
                    <a16:creationId xmlns:a16="http://schemas.microsoft.com/office/drawing/2014/main" id="{3EB7F3CC-7DFD-4B50-AA12-64AF660AA23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35" name="Rechte verbindingslijn 234">
              <a:extLst>
                <a:ext uri="{FF2B5EF4-FFF2-40B4-BE49-F238E27FC236}">
                  <a16:creationId xmlns:a16="http://schemas.microsoft.com/office/drawing/2014/main" id="{E4C9761F-B7C4-4E8B-9674-67C8A3E8A870}"/>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36" name="Rechthoek 235">
              <a:extLst>
                <a:ext uri="{FF2B5EF4-FFF2-40B4-BE49-F238E27FC236}">
                  <a16:creationId xmlns:a16="http://schemas.microsoft.com/office/drawing/2014/main" id="{9523D864-5821-4528-B63C-7856D09BC939}"/>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7" name="Ovaal 236">
              <a:extLst>
                <a:ext uri="{FF2B5EF4-FFF2-40B4-BE49-F238E27FC236}">
                  <a16:creationId xmlns:a16="http://schemas.microsoft.com/office/drawing/2014/main" id="{8B632F0A-735B-4931-AC91-D05F6BB0A58F}"/>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38" name="Rechthoek 237">
              <a:extLst>
                <a:ext uri="{FF2B5EF4-FFF2-40B4-BE49-F238E27FC236}">
                  <a16:creationId xmlns:a16="http://schemas.microsoft.com/office/drawing/2014/main" id="{A9B7281F-182E-4C78-82F2-21C5A903C3BB}"/>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39" name="Ovaal 238">
              <a:extLst>
                <a:ext uri="{FF2B5EF4-FFF2-40B4-BE49-F238E27FC236}">
                  <a16:creationId xmlns:a16="http://schemas.microsoft.com/office/drawing/2014/main" id="{8F28CED0-26EE-4BC1-B52C-4D74F39E4B9D}"/>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40" name="Rechthoek 239">
              <a:extLst>
                <a:ext uri="{FF2B5EF4-FFF2-40B4-BE49-F238E27FC236}">
                  <a16:creationId xmlns:a16="http://schemas.microsoft.com/office/drawing/2014/main" id="{230DD818-2C78-46DC-8AE6-ACB21D58BF79}"/>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41" name="Ovaal 240">
              <a:extLst>
                <a:ext uri="{FF2B5EF4-FFF2-40B4-BE49-F238E27FC236}">
                  <a16:creationId xmlns:a16="http://schemas.microsoft.com/office/drawing/2014/main" id="{63BDCE35-ED87-41D1-86A5-E701ABA46B29}"/>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42" name="Rechthoek 241">
              <a:extLst>
                <a:ext uri="{FF2B5EF4-FFF2-40B4-BE49-F238E27FC236}">
                  <a16:creationId xmlns:a16="http://schemas.microsoft.com/office/drawing/2014/main" id="{E1D77EB9-225E-4167-9935-0552AD998CCF}"/>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43" name="Ovaal 242">
              <a:extLst>
                <a:ext uri="{FF2B5EF4-FFF2-40B4-BE49-F238E27FC236}">
                  <a16:creationId xmlns:a16="http://schemas.microsoft.com/office/drawing/2014/main" id="{2D7E19D2-59F0-4447-B16C-07B6DB75293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44" name="Rechthoek 243">
              <a:extLst>
                <a:ext uri="{FF2B5EF4-FFF2-40B4-BE49-F238E27FC236}">
                  <a16:creationId xmlns:a16="http://schemas.microsoft.com/office/drawing/2014/main" id="{69154EB3-0DB9-4711-987B-ED7474A26082}"/>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45" name="Rechthoek 244">
              <a:extLst>
                <a:ext uri="{FF2B5EF4-FFF2-40B4-BE49-F238E27FC236}">
                  <a16:creationId xmlns:a16="http://schemas.microsoft.com/office/drawing/2014/main" id="{D29E9073-F387-4097-98EF-D24C484F1DE3}"/>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46" name="Rechte verbindingslijn 245">
              <a:extLst>
                <a:ext uri="{FF2B5EF4-FFF2-40B4-BE49-F238E27FC236}">
                  <a16:creationId xmlns:a16="http://schemas.microsoft.com/office/drawing/2014/main" id="{F760D3E8-EE4C-4C68-853C-9727DA767A09}"/>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47" name="Ovaal 246">
              <a:extLst>
                <a:ext uri="{FF2B5EF4-FFF2-40B4-BE49-F238E27FC236}">
                  <a16:creationId xmlns:a16="http://schemas.microsoft.com/office/drawing/2014/main" id="{6507191D-F460-45F7-86A1-B33EDBD9C865}"/>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48" name="Rechthoek 247">
              <a:extLst>
                <a:ext uri="{FF2B5EF4-FFF2-40B4-BE49-F238E27FC236}">
                  <a16:creationId xmlns:a16="http://schemas.microsoft.com/office/drawing/2014/main" id="{73D56071-38A1-41FF-BA5F-8A444C1C3492}"/>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249" name="Ovaal 248">
              <a:extLst>
                <a:ext uri="{FF2B5EF4-FFF2-40B4-BE49-F238E27FC236}">
                  <a16:creationId xmlns:a16="http://schemas.microsoft.com/office/drawing/2014/main" id="{7EFA7A13-E0CD-4158-9128-01B6D14A2D53}"/>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0" name="Rechthoek 249">
              <a:extLst>
                <a:ext uri="{FF2B5EF4-FFF2-40B4-BE49-F238E27FC236}">
                  <a16:creationId xmlns:a16="http://schemas.microsoft.com/office/drawing/2014/main" id="{ED9FD791-B2F4-4A67-A42C-D03F534E1B3F}"/>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303" name="Instructie">
            <a:extLst>
              <a:ext uri="{FF2B5EF4-FFF2-40B4-BE49-F238E27FC236}">
                <a16:creationId xmlns:a16="http://schemas.microsoft.com/office/drawing/2014/main" id="{05DC39FA-E20F-4FC5-BD41-713C175BC11F}"/>
              </a:ext>
            </a:extLst>
          </p:cNvPr>
          <p:cNvGrpSpPr/>
          <p:nvPr userDrawn="1"/>
        </p:nvGrpSpPr>
        <p:grpSpPr>
          <a:xfrm>
            <a:off x="12391601" y="0"/>
            <a:ext cx="3183677" cy="2499789"/>
            <a:chOff x="12391601" y="0"/>
            <a:chExt cx="3183677" cy="2499789"/>
          </a:xfrm>
        </p:grpSpPr>
        <p:sp>
          <p:nvSpPr>
            <p:cNvPr id="304" name="Rechthoek 303">
              <a:extLst>
                <a:ext uri="{FF2B5EF4-FFF2-40B4-BE49-F238E27FC236}">
                  <a16:creationId xmlns:a16="http://schemas.microsoft.com/office/drawing/2014/main" id="{3CEC8CD8-AE01-4897-B831-53295103072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305" name="Ovaal 304">
              <a:extLst>
                <a:ext uri="{FF2B5EF4-FFF2-40B4-BE49-F238E27FC236}">
                  <a16:creationId xmlns:a16="http://schemas.microsoft.com/office/drawing/2014/main" id="{C566E74B-DB5C-4AC5-B5A8-10E3E3B36296}"/>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06" name="Rechte verbindingslijn 305">
              <a:extLst>
                <a:ext uri="{FF2B5EF4-FFF2-40B4-BE49-F238E27FC236}">
                  <a16:creationId xmlns:a16="http://schemas.microsoft.com/office/drawing/2014/main" id="{94B87B40-C6C3-46CE-83B4-ACB75DD6A29B}"/>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307" name="Rechte verbindingslijn 306">
              <a:extLst>
                <a:ext uri="{FF2B5EF4-FFF2-40B4-BE49-F238E27FC236}">
                  <a16:creationId xmlns:a16="http://schemas.microsoft.com/office/drawing/2014/main" id="{1ACE6FAD-7562-4FAB-9843-B8CE647B98D4}"/>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308" name="Rechthoek 307">
              <a:extLst>
                <a:ext uri="{FF2B5EF4-FFF2-40B4-BE49-F238E27FC236}">
                  <a16:creationId xmlns:a16="http://schemas.microsoft.com/office/drawing/2014/main" id="{F38B7203-9CCD-4392-8AC5-67DCBA24613F}"/>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309" name="Ovaal 308">
              <a:extLst>
                <a:ext uri="{FF2B5EF4-FFF2-40B4-BE49-F238E27FC236}">
                  <a16:creationId xmlns:a16="http://schemas.microsoft.com/office/drawing/2014/main" id="{3A7E558A-CD23-4708-B30B-EB9FDA647C45}"/>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0" name="Rechthoek 309">
              <a:extLst>
                <a:ext uri="{FF2B5EF4-FFF2-40B4-BE49-F238E27FC236}">
                  <a16:creationId xmlns:a16="http://schemas.microsoft.com/office/drawing/2014/main" id="{B8557B11-1557-4393-8109-FF0F5D83442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11" name="Groep 310">
              <a:extLst>
                <a:ext uri="{FF2B5EF4-FFF2-40B4-BE49-F238E27FC236}">
                  <a16:creationId xmlns:a16="http://schemas.microsoft.com/office/drawing/2014/main" id="{E5BE92FA-195D-4759-801E-957D9AC424B7}"/>
                </a:ext>
              </a:extLst>
            </p:cNvPr>
            <p:cNvGrpSpPr/>
            <p:nvPr userDrawn="1"/>
          </p:nvGrpSpPr>
          <p:grpSpPr>
            <a:xfrm>
              <a:off x="12757282" y="2184550"/>
              <a:ext cx="825500" cy="209550"/>
              <a:chOff x="13504624" y="2482850"/>
              <a:chExt cx="825500" cy="209550"/>
            </a:xfrm>
          </p:grpSpPr>
          <p:sp>
            <p:nvSpPr>
              <p:cNvPr id="322" name="Rechthoek 321">
                <a:extLst>
                  <a:ext uri="{FF2B5EF4-FFF2-40B4-BE49-F238E27FC236}">
                    <a16:creationId xmlns:a16="http://schemas.microsoft.com/office/drawing/2014/main" id="{CFB19222-82F5-40ED-A2FD-347F115AA47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323" name="Rechte verbindingslijn 322">
                <a:extLst>
                  <a:ext uri="{FF2B5EF4-FFF2-40B4-BE49-F238E27FC236}">
                    <a16:creationId xmlns:a16="http://schemas.microsoft.com/office/drawing/2014/main" id="{CCB57C0A-781C-44EC-AD6A-7D191576542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4" name="Gelijkbenige driehoek 323">
                <a:extLst>
                  <a:ext uri="{FF2B5EF4-FFF2-40B4-BE49-F238E27FC236}">
                    <a16:creationId xmlns:a16="http://schemas.microsoft.com/office/drawing/2014/main" id="{ADCE21DD-7B3C-49C7-AE0F-E00672717B7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312" name="Rechte verbindingslijn 311">
              <a:extLst>
                <a:ext uri="{FF2B5EF4-FFF2-40B4-BE49-F238E27FC236}">
                  <a16:creationId xmlns:a16="http://schemas.microsoft.com/office/drawing/2014/main" id="{D8048752-7D44-400C-8F32-C4498F38DBC2}"/>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313" name="Tabel icoon">
              <a:extLst>
                <a:ext uri="{FF2B5EF4-FFF2-40B4-BE49-F238E27FC236}">
                  <a16:creationId xmlns:a16="http://schemas.microsoft.com/office/drawing/2014/main" id="{9B98FBC6-5ECD-4EFA-A7FE-0A40D882E734}"/>
                </a:ext>
              </a:extLst>
            </p:cNvPr>
            <p:cNvGrpSpPr/>
            <p:nvPr userDrawn="1"/>
          </p:nvGrpSpPr>
          <p:grpSpPr>
            <a:xfrm>
              <a:off x="12757283" y="1133664"/>
              <a:ext cx="375500" cy="339168"/>
              <a:chOff x="6072040" y="3376043"/>
              <a:chExt cx="1227920" cy="1109109"/>
            </a:xfrm>
          </p:grpSpPr>
          <p:sp>
            <p:nvSpPr>
              <p:cNvPr id="314" name="Rechthoek 313">
                <a:extLst>
                  <a:ext uri="{FF2B5EF4-FFF2-40B4-BE49-F238E27FC236}">
                    <a16:creationId xmlns:a16="http://schemas.microsoft.com/office/drawing/2014/main" id="{52C17AE5-499D-4017-B722-DEAE42FC0CDA}"/>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315" name="Rechthoek 314">
                <a:extLst>
                  <a:ext uri="{FF2B5EF4-FFF2-40B4-BE49-F238E27FC236}">
                    <a16:creationId xmlns:a16="http://schemas.microsoft.com/office/drawing/2014/main" id="{7550212A-C269-4E88-96ED-000C4E4C6DB6}"/>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316" name="Rechte verbindingslijn 315">
                <a:extLst>
                  <a:ext uri="{FF2B5EF4-FFF2-40B4-BE49-F238E27FC236}">
                    <a16:creationId xmlns:a16="http://schemas.microsoft.com/office/drawing/2014/main" id="{63BF9A70-5588-4611-A6DE-E94E398023F4}"/>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7" name="Rechte verbindingslijn 316">
                <a:extLst>
                  <a:ext uri="{FF2B5EF4-FFF2-40B4-BE49-F238E27FC236}">
                    <a16:creationId xmlns:a16="http://schemas.microsoft.com/office/drawing/2014/main" id="{4F48CFFD-AEF0-4263-822E-D252DF5AD37A}"/>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8" name="Rechte verbindingslijn 317">
                <a:extLst>
                  <a:ext uri="{FF2B5EF4-FFF2-40B4-BE49-F238E27FC236}">
                    <a16:creationId xmlns:a16="http://schemas.microsoft.com/office/drawing/2014/main" id="{ECCA4748-71A8-457A-BD04-A3C11B49C624}"/>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19" name="Rechte verbindingslijn 318">
                <a:extLst>
                  <a:ext uri="{FF2B5EF4-FFF2-40B4-BE49-F238E27FC236}">
                    <a16:creationId xmlns:a16="http://schemas.microsoft.com/office/drawing/2014/main" id="{0F5B8577-53AD-4910-B42D-15BF7A8519D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0" name="Rechte verbindingslijn 319">
                <a:extLst>
                  <a:ext uri="{FF2B5EF4-FFF2-40B4-BE49-F238E27FC236}">
                    <a16:creationId xmlns:a16="http://schemas.microsoft.com/office/drawing/2014/main" id="{9A8A13C5-4F83-4566-867D-3F3C23387C8A}"/>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21" name="Rechthoek 320">
                <a:extLst>
                  <a:ext uri="{FF2B5EF4-FFF2-40B4-BE49-F238E27FC236}">
                    <a16:creationId xmlns:a16="http://schemas.microsoft.com/office/drawing/2014/main" id="{572F692C-78CF-4974-BF48-FC2F263B860F}"/>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1255538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TABEL 4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3" name="Tijdelijke aanduiding voor verticale tekst 2">
            <a:extLst>
              <a:ext uri="{FF2B5EF4-FFF2-40B4-BE49-F238E27FC236}">
                <a16:creationId xmlns:a16="http://schemas.microsoft.com/office/drawing/2014/main" id="{7C849E55-A25C-4202-801C-0514342EA9C6}"/>
              </a:ext>
            </a:extLst>
          </p:cNvPr>
          <p:cNvSpPr>
            <a:spLocks noGrp="1"/>
          </p:cNvSpPr>
          <p:nvPr>
            <p:ph type="body" orient="vert" idx="1" hasCustomPrompt="1"/>
          </p:nvPr>
        </p:nvSpPr>
        <p:spPr>
          <a:xfrm>
            <a:off x="540000" y="1459112"/>
            <a:ext cx="3934476" cy="411977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4"/>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084ED59E-B445-4125-A361-CCB4D267CE64}"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EKST / TABEL 4X</a:t>
            </a:r>
          </a:p>
        </p:txBody>
      </p:sp>
      <p:cxnSp>
        <p:nvCxnSpPr>
          <p:cNvPr id="23" name="Rechte verbindingslijn 22">
            <a:extLst>
              <a:ext uri="{FF2B5EF4-FFF2-40B4-BE49-F238E27FC236}">
                <a16:creationId xmlns:a16="http://schemas.microsoft.com/office/drawing/2014/main" id="{F758FBF6-EBB0-4F05-96EB-8AEB1E4BB59E}"/>
              </a:ext>
            </a:extLst>
          </p:cNvPr>
          <p:cNvCxnSpPr>
            <a:cxnSpLocks/>
          </p:cNvCxnSpPr>
          <p:nvPr userDrawn="1"/>
        </p:nvCxnSpPr>
        <p:spPr>
          <a:xfrm>
            <a:off x="5015238" y="1446663"/>
            <a:ext cx="0" cy="4121624"/>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4" name="Tijdelijke aanduiding voor tekst 43">
            <a:extLst>
              <a:ext uri="{FF2B5EF4-FFF2-40B4-BE49-F238E27FC236}">
                <a16:creationId xmlns:a16="http://schemas.microsoft.com/office/drawing/2014/main" id="{E054E093-0CA2-4AA3-9379-A9449CBE767D}"/>
              </a:ext>
            </a:extLst>
          </p:cNvPr>
          <p:cNvSpPr>
            <a:spLocks noGrp="1"/>
          </p:cNvSpPr>
          <p:nvPr>
            <p:ph type="body" sz="quarter" idx="16"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13" name="GRID" hidden="1">
            <a:extLst>
              <a:ext uri="{FF2B5EF4-FFF2-40B4-BE49-F238E27FC236}">
                <a16:creationId xmlns:a16="http://schemas.microsoft.com/office/drawing/2014/main" id="{2E339E7B-E5F0-4BB0-A7A8-08523662B92C}"/>
              </a:ext>
            </a:extLst>
          </p:cNvPr>
          <p:cNvGrpSpPr/>
          <p:nvPr userDrawn="1"/>
        </p:nvGrpSpPr>
        <p:grpSpPr>
          <a:xfrm>
            <a:off x="0" y="0"/>
            <a:ext cx="12192000" cy="6858000"/>
            <a:chOff x="0" y="0"/>
            <a:chExt cx="12192000" cy="6858000"/>
          </a:xfrm>
          <a:solidFill>
            <a:schemeClr val="tx1">
              <a:alpha val="30000"/>
            </a:schemeClr>
          </a:solidFill>
        </p:grpSpPr>
        <p:sp>
          <p:nvSpPr>
            <p:cNvPr id="14" name="Rechthoek 13">
              <a:extLst>
                <a:ext uri="{FF2B5EF4-FFF2-40B4-BE49-F238E27FC236}">
                  <a16:creationId xmlns:a16="http://schemas.microsoft.com/office/drawing/2014/main" id="{04FEBC71-862F-4C04-AFB8-6DB58D37BD7A}"/>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0333C89B-97F8-441B-8124-3FCC1D1260BC}"/>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59F01AF4-B6CB-4934-BDD9-96E56D3A7D49}"/>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9" name="Rechthoek 18">
              <a:extLst>
                <a:ext uri="{FF2B5EF4-FFF2-40B4-BE49-F238E27FC236}">
                  <a16:creationId xmlns:a16="http://schemas.microsoft.com/office/drawing/2014/main" id="{B6B9EB7F-0454-4FE8-8F4A-0FDE18AF83EB}"/>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0" name="Rechthoek 19">
              <a:extLst>
                <a:ext uri="{FF2B5EF4-FFF2-40B4-BE49-F238E27FC236}">
                  <a16:creationId xmlns:a16="http://schemas.microsoft.com/office/drawing/2014/main" id="{A0471D66-391B-4CA0-9CE3-3508EB3D7096}"/>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F607FFD1-EE10-4EE4-974D-D68FF051167C}"/>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5" name="Rechthoek 24">
              <a:extLst>
                <a:ext uri="{FF2B5EF4-FFF2-40B4-BE49-F238E27FC236}">
                  <a16:creationId xmlns:a16="http://schemas.microsoft.com/office/drawing/2014/main" id="{267B1A24-E5B5-44EF-BB26-289EC0FC99CF}"/>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Rechthoek 25">
              <a:extLst>
                <a:ext uri="{FF2B5EF4-FFF2-40B4-BE49-F238E27FC236}">
                  <a16:creationId xmlns:a16="http://schemas.microsoft.com/office/drawing/2014/main" id="{05615BB2-213B-4BE9-9A19-7700EE534E20}"/>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7B4D9E53-D3BA-46E2-B48B-1C4CE63D58E8}"/>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8" name="Rechthoek 27">
              <a:extLst>
                <a:ext uri="{FF2B5EF4-FFF2-40B4-BE49-F238E27FC236}">
                  <a16:creationId xmlns:a16="http://schemas.microsoft.com/office/drawing/2014/main" id="{ACE0CB45-9785-4BE8-B63D-A19B8F833E83}"/>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1" name="Rechthoek 30">
              <a:extLst>
                <a:ext uri="{FF2B5EF4-FFF2-40B4-BE49-F238E27FC236}">
                  <a16:creationId xmlns:a16="http://schemas.microsoft.com/office/drawing/2014/main" id="{E2FF30C8-090C-4BBB-B89D-01F3F22EDF02}"/>
                </a:ext>
              </a:extLst>
            </p:cNvPr>
            <p:cNvSpPr/>
            <p:nvPr userDrawn="1"/>
          </p:nvSpPr>
          <p:spPr>
            <a:xfrm>
              <a:off x="5555238" y="3338999"/>
              <a:ext cx="6636762"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C1AAD92-DAF5-42DC-B208-3E7B81FCA52A}"/>
                </a:ext>
              </a:extLst>
            </p:cNvPr>
            <p:cNvSpPr/>
            <p:nvPr userDrawn="1"/>
          </p:nvSpPr>
          <p:spPr>
            <a:xfrm>
              <a:off x="501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0461148A-D9B1-4FF0-B385-8C21A76C3054}"/>
                </a:ext>
              </a:extLst>
            </p:cNvPr>
            <p:cNvSpPr/>
            <p:nvPr userDrawn="1"/>
          </p:nvSpPr>
          <p:spPr>
            <a:xfrm>
              <a:off x="4475238"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73B0056-68B2-4760-9151-D257D1A5794C}"/>
                </a:ext>
              </a:extLst>
            </p:cNvPr>
            <p:cNvSpPr/>
            <p:nvPr userDrawn="1"/>
          </p:nvSpPr>
          <p:spPr>
            <a:xfrm>
              <a:off x="8423619" y="1099111"/>
              <a:ext cx="360000" cy="5167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8" name="Tijdelijke aanduiding voor tabel 8">
            <a:extLst>
              <a:ext uri="{FF2B5EF4-FFF2-40B4-BE49-F238E27FC236}">
                <a16:creationId xmlns:a16="http://schemas.microsoft.com/office/drawing/2014/main" id="{BC74F94D-24E2-4689-BA9F-19729FCE63A5}"/>
              </a:ext>
            </a:extLst>
          </p:cNvPr>
          <p:cNvSpPr>
            <a:spLocks noGrp="1"/>
          </p:cNvSpPr>
          <p:nvPr>
            <p:ph type="tbl" sz="quarter" idx="17" hasCustomPrompt="1"/>
          </p:nvPr>
        </p:nvSpPr>
        <p:spPr>
          <a:xfrm>
            <a:off x="5555238" y="1459112"/>
            <a:ext cx="2868382" cy="1878839"/>
          </a:xfrm>
          <a:solidFill>
            <a:schemeClr val="bg1">
              <a:lumMod val="95000"/>
            </a:schemeClr>
          </a:solidFill>
        </p:spPr>
        <p:txBody>
          <a:bodyPr lIns="432000" tIns="360000" rIns="432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39" name="Tijdelijke aanduiding voor tabel 8">
            <a:extLst>
              <a:ext uri="{FF2B5EF4-FFF2-40B4-BE49-F238E27FC236}">
                <a16:creationId xmlns:a16="http://schemas.microsoft.com/office/drawing/2014/main" id="{CAA8F510-F931-426F-B509-59B6B83A05C8}"/>
              </a:ext>
            </a:extLst>
          </p:cNvPr>
          <p:cNvSpPr>
            <a:spLocks noGrp="1"/>
          </p:cNvSpPr>
          <p:nvPr>
            <p:ph type="tbl" sz="quarter" idx="18" hasCustomPrompt="1"/>
          </p:nvPr>
        </p:nvSpPr>
        <p:spPr>
          <a:xfrm>
            <a:off x="8783616" y="1459112"/>
            <a:ext cx="2868382" cy="1878839"/>
          </a:xfrm>
          <a:solidFill>
            <a:schemeClr val="bg1">
              <a:lumMod val="95000"/>
            </a:schemeClr>
          </a:solidFill>
        </p:spPr>
        <p:txBody>
          <a:bodyPr lIns="432000" tIns="360000" rIns="432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0" name="Tijdelijke aanduiding voor tabel 8">
            <a:extLst>
              <a:ext uri="{FF2B5EF4-FFF2-40B4-BE49-F238E27FC236}">
                <a16:creationId xmlns:a16="http://schemas.microsoft.com/office/drawing/2014/main" id="{FDB6B68B-3679-4BF8-9C7A-212A5B9E0F36}"/>
              </a:ext>
            </a:extLst>
          </p:cNvPr>
          <p:cNvSpPr>
            <a:spLocks noGrp="1"/>
          </p:cNvSpPr>
          <p:nvPr>
            <p:ph type="tbl" sz="quarter" idx="19" hasCustomPrompt="1"/>
          </p:nvPr>
        </p:nvSpPr>
        <p:spPr>
          <a:xfrm>
            <a:off x="5555238" y="3698999"/>
            <a:ext cx="2868382" cy="1878839"/>
          </a:xfrm>
          <a:solidFill>
            <a:schemeClr val="bg1">
              <a:lumMod val="95000"/>
            </a:schemeClr>
          </a:solidFill>
        </p:spPr>
        <p:txBody>
          <a:bodyPr lIns="432000" tIns="360000" rIns="432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41" name="Tijdelijke aanduiding voor tabel 8">
            <a:extLst>
              <a:ext uri="{FF2B5EF4-FFF2-40B4-BE49-F238E27FC236}">
                <a16:creationId xmlns:a16="http://schemas.microsoft.com/office/drawing/2014/main" id="{9E5A0EB4-00D4-48A2-AC79-7D5EFF095F9E}"/>
              </a:ext>
            </a:extLst>
          </p:cNvPr>
          <p:cNvSpPr>
            <a:spLocks noGrp="1"/>
          </p:cNvSpPr>
          <p:nvPr>
            <p:ph type="tbl" sz="quarter" idx="20" hasCustomPrompt="1"/>
          </p:nvPr>
        </p:nvSpPr>
        <p:spPr>
          <a:xfrm>
            <a:off x="8783616" y="3698999"/>
            <a:ext cx="2868382" cy="1878839"/>
          </a:xfrm>
          <a:solidFill>
            <a:schemeClr val="bg1">
              <a:lumMod val="95000"/>
            </a:schemeClr>
          </a:solidFill>
        </p:spPr>
        <p:txBody>
          <a:bodyPr lIns="432000" tIns="360000" rIns="432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grpSp>
        <p:nvGrpSpPr>
          <p:cNvPr id="230" name="Instructie">
            <a:extLst>
              <a:ext uri="{FF2B5EF4-FFF2-40B4-BE49-F238E27FC236}">
                <a16:creationId xmlns:a16="http://schemas.microsoft.com/office/drawing/2014/main" id="{E9DB7AAF-F157-411D-BE6F-1B6226450D53}"/>
              </a:ext>
            </a:extLst>
          </p:cNvPr>
          <p:cNvGrpSpPr/>
          <p:nvPr userDrawn="1"/>
        </p:nvGrpSpPr>
        <p:grpSpPr>
          <a:xfrm>
            <a:off x="-3437547" y="1434"/>
            <a:ext cx="3201327" cy="6041867"/>
            <a:chOff x="-3437547" y="1434"/>
            <a:chExt cx="3201327" cy="6041867"/>
          </a:xfrm>
        </p:grpSpPr>
        <p:cxnSp>
          <p:nvCxnSpPr>
            <p:cNvPr id="231" name="Rechte verbindingslijn 230">
              <a:extLst>
                <a:ext uri="{FF2B5EF4-FFF2-40B4-BE49-F238E27FC236}">
                  <a16:creationId xmlns:a16="http://schemas.microsoft.com/office/drawing/2014/main" id="{E6C685BD-6D5D-4C40-ADFB-7D131DF63F34}"/>
                </a:ext>
              </a:extLst>
            </p:cNvPr>
            <p:cNvCxnSpPr>
              <a:cxnSpLocks/>
            </p:cNvCxnSpPr>
            <p:nvPr userDrawn="1"/>
          </p:nvCxnSpPr>
          <p:spPr>
            <a:xfrm>
              <a:off x="-3419346" y="6043301"/>
              <a:ext cx="3176013" cy="0"/>
            </a:xfrm>
            <a:prstGeom prst="line">
              <a:avLst/>
            </a:prstGeom>
            <a:noFill/>
            <a:ln w="3175" cap="flat" cmpd="sng" algn="ctr">
              <a:solidFill>
                <a:schemeClr val="bg1">
                  <a:lumMod val="50000"/>
                </a:schemeClr>
              </a:solidFill>
              <a:prstDash val="solid"/>
            </a:ln>
            <a:effectLst/>
          </p:spPr>
        </p:cxnSp>
        <p:sp>
          <p:nvSpPr>
            <p:cNvPr id="232" name="Ovaal 231">
              <a:extLst>
                <a:ext uri="{FF2B5EF4-FFF2-40B4-BE49-F238E27FC236}">
                  <a16:creationId xmlns:a16="http://schemas.microsoft.com/office/drawing/2014/main" id="{7D339716-93F8-497E-AD1D-4F8C2ED0CAEA}"/>
                </a:ext>
              </a:extLst>
            </p:cNvPr>
            <p:cNvSpPr/>
            <p:nvPr userDrawn="1"/>
          </p:nvSpPr>
          <p:spPr>
            <a:xfrm>
              <a:off x="-3425006" y="4548392"/>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33" name="Rechthoek 232">
              <a:extLst>
                <a:ext uri="{FF2B5EF4-FFF2-40B4-BE49-F238E27FC236}">
                  <a16:creationId xmlns:a16="http://schemas.microsoft.com/office/drawing/2014/main" id="{107ED551-5375-43FA-A36E-6EDFCB22B96A}"/>
                </a:ext>
              </a:extLst>
            </p:cNvPr>
            <p:cNvSpPr/>
            <p:nvPr userDrawn="1"/>
          </p:nvSpPr>
          <p:spPr>
            <a:xfrm>
              <a:off x="-3059324" y="4548391"/>
              <a:ext cx="2823104" cy="255963"/>
            </a:xfrm>
            <a:prstGeom prst="rect">
              <a:avLst/>
            </a:prstGeom>
            <a:noFill/>
            <a:ln w="25400" cap="flat" cmpd="sng" algn="ctr">
              <a:noFill/>
              <a:prstDash val="solid"/>
            </a:ln>
            <a:effectLst/>
          </p:spPr>
          <p:txBody>
            <a:bodyPr lIns="0" tIns="0" rIns="0" bIns="0" rtlCol="0" anchor="ctr"/>
            <a:lstStyle/>
            <a:p>
              <a:pPr marL="265113" marR="0" lvl="5" indent="-265113" algn="l" defTabSz="914400" rtl="0" eaLnBrk="1" fontAlgn="auto" latinLnBrk="0" hangingPunct="1">
                <a:lnSpc>
                  <a:spcPct val="100000"/>
                </a:lnSpc>
                <a:spcBef>
                  <a:spcPts val="300"/>
                </a:spcBef>
                <a:spcAft>
                  <a:spcPts val="300"/>
                </a:spcAft>
                <a:buClr>
                  <a:schemeClr val="tx1"/>
                </a:buClr>
                <a:buSzPct val="85000"/>
                <a:buFont typeface="+mj-lt"/>
                <a:buAutoNum type="arabicPeriod"/>
                <a:tabLst/>
                <a:defRPr/>
              </a:pPr>
              <a:r>
                <a:rPr lang="nl-NL" sz="1500" kern="1200" noProof="0">
                  <a:solidFill>
                    <a:schemeClr val="tx1"/>
                  </a:solidFill>
                  <a:latin typeface="+mn-lt"/>
                  <a:ea typeface="+mn-ea"/>
                  <a:cs typeface="+mn-cs"/>
                </a:rPr>
                <a:t>Numeriek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4" name="Ovaal 233">
              <a:extLst>
                <a:ext uri="{FF2B5EF4-FFF2-40B4-BE49-F238E27FC236}">
                  <a16:creationId xmlns:a16="http://schemas.microsoft.com/office/drawing/2014/main" id="{C7031A80-F089-42F2-BCDE-32EA689FFB75}"/>
                </a:ext>
              </a:extLst>
            </p:cNvPr>
            <p:cNvSpPr/>
            <p:nvPr userDrawn="1"/>
          </p:nvSpPr>
          <p:spPr>
            <a:xfrm>
              <a:off x="-3425006" y="492256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35" name="Rechthoek 234">
              <a:extLst>
                <a:ext uri="{FF2B5EF4-FFF2-40B4-BE49-F238E27FC236}">
                  <a16:creationId xmlns:a16="http://schemas.microsoft.com/office/drawing/2014/main" id="{2A96AE26-95A7-454F-B920-6C00E9D07BCF}"/>
                </a:ext>
              </a:extLst>
            </p:cNvPr>
            <p:cNvSpPr/>
            <p:nvPr userDrawn="1"/>
          </p:nvSpPr>
          <p:spPr>
            <a:xfrm>
              <a:off x="-3059324" y="4922567"/>
              <a:ext cx="2823104" cy="255963"/>
            </a:xfrm>
            <a:prstGeom prst="rect">
              <a:avLst/>
            </a:prstGeom>
            <a:noFill/>
            <a:ln w="25400" cap="flat" cmpd="sng" algn="ctr">
              <a:noFill/>
              <a:prstDash val="solid"/>
            </a:ln>
            <a:effectLst/>
          </p:spPr>
          <p:txBody>
            <a:bodyPr lIns="0" tIns="0" rIns="0" bIns="0" rtlCol="0" anchor="ctr"/>
            <a:lstStyle/>
            <a:p>
              <a:pPr marL="265113" marR="0" lvl="6" indent="-265113" algn="l" defTabSz="914400" rtl="0" eaLnBrk="1" fontAlgn="auto" latinLnBrk="0" hangingPunct="1">
                <a:lnSpc>
                  <a:spcPct val="100000"/>
                </a:lnSpc>
                <a:spcBef>
                  <a:spcPts val="300"/>
                </a:spcBef>
                <a:spcAft>
                  <a:spcPts val="300"/>
                </a:spcAft>
                <a:buClr>
                  <a:schemeClr val="tx1"/>
                </a:buClr>
                <a:buSzPct val="85000"/>
                <a:buFont typeface="+mj-lt"/>
                <a:buAutoNum type="alphaLcPeriod"/>
                <a:tabLst/>
                <a:defRPr/>
              </a:pPr>
              <a:r>
                <a:rPr lang="nl-NL" sz="1500" kern="1200" noProof="0">
                  <a:solidFill>
                    <a:schemeClr val="tx1"/>
                  </a:solidFill>
                  <a:latin typeface="+mn-lt"/>
                  <a:ea typeface="+mn-ea"/>
                  <a:cs typeface="+mn-cs"/>
                </a:rPr>
                <a:t>Alfabetische </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36" name="Ovaal 235">
              <a:extLst>
                <a:ext uri="{FF2B5EF4-FFF2-40B4-BE49-F238E27FC236}">
                  <a16:creationId xmlns:a16="http://schemas.microsoft.com/office/drawing/2014/main" id="{67901273-5A96-4009-A4D4-B127228327ED}"/>
                </a:ext>
              </a:extLst>
            </p:cNvPr>
            <p:cNvSpPr/>
            <p:nvPr userDrawn="1"/>
          </p:nvSpPr>
          <p:spPr>
            <a:xfrm>
              <a:off x="-3425006" y="52952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37" name="Rechthoek 236">
              <a:extLst>
                <a:ext uri="{FF2B5EF4-FFF2-40B4-BE49-F238E27FC236}">
                  <a16:creationId xmlns:a16="http://schemas.microsoft.com/office/drawing/2014/main" id="{EB56D44A-B6EF-432A-BCA7-E5D6CD07B621}"/>
                </a:ext>
              </a:extLst>
            </p:cNvPr>
            <p:cNvSpPr/>
            <p:nvPr userDrawn="1"/>
          </p:nvSpPr>
          <p:spPr>
            <a:xfrm>
              <a:off x="-3059324" y="5295212"/>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00000"/>
                </a:lnSpc>
                <a:spcBef>
                  <a:spcPts val="300"/>
                </a:spcBef>
                <a:spcAft>
                  <a:spcPts val="300"/>
                </a:spcAft>
                <a:buClr>
                  <a:schemeClr val="accent3"/>
                </a:buClr>
                <a:buSzTx/>
                <a:buFont typeface="Arial" panose="020B0604020202020204" pitchFamily="34" charset="0"/>
                <a:buNone/>
                <a:tabLst/>
                <a:defRPr/>
              </a:pPr>
              <a:r>
                <a:rPr lang="nl-NL" sz="1000" i="1" kern="1200" noProof="0">
                  <a:solidFill>
                    <a:schemeClr val="tx1"/>
                  </a:solidFill>
                  <a:latin typeface="+mn-lt"/>
                  <a:ea typeface="+mn-ea"/>
                  <a:cs typeface="+mn-cs"/>
                </a:rPr>
                <a:t>Fotobeschrijving (10pt)</a:t>
              </a:r>
            </a:p>
          </p:txBody>
        </p:sp>
        <p:sp>
          <p:nvSpPr>
            <p:cNvPr id="238" name="Ovaal 237">
              <a:extLst>
                <a:ext uri="{FF2B5EF4-FFF2-40B4-BE49-F238E27FC236}">
                  <a16:creationId xmlns:a16="http://schemas.microsoft.com/office/drawing/2014/main" id="{F2BC1661-3BE4-4D93-876C-CE65BA5277BE}"/>
                </a:ext>
              </a:extLst>
            </p:cNvPr>
            <p:cNvSpPr/>
            <p:nvPr userDrawn="1"/>
          </p:nvSpPr>
          <p:spPr>
            <a:xfrm>
              <a:off x="-3425006" y="566847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39" name="Rechthoek 238">
              <a:extLst>
                <a:ext uri="{FF2B5EF4-FFF2-40B4-BE49-F238E27FC236}">
                  <a16:creationId xmlns:a16="http://schemas.microsoft.com/office/drawing/2014/main" id="{C17C32F7-ECBE-4195-995A-6FDA25D738A9}"/>
                </a:ext>
              </a:extLst>
            </p:cNvPr>
            <p:cNvSpPr/>
            <p:nvPr userDrawn="1"/>
          </p:nvSpPr>
          <p:spPr>
            <a:xfrm>
              <a:off x="-3059324" y="5668477"/>
              <a:ext cx="2823104" cy="255963"/>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nl-NL" sz="2000" i="1" kern="1200" noProof="0">
                  <a:solidFill>
                    <a:schemeClr val="tx1"/>
                  </a:solidFill>
                  <a:latin typeface="+mn-lt"/>
                  <a:ea typeface="+mn-ea"/>
                  <a:cs typeface="+mn-cs"/>
                </a:rPr>
                <a:t>Quote tekst (20pt)</a:t>
              </a:r>
            </a:p>
          </p:txBody>
        </p:sp>
        <p:sp>
          <p:nvSpPr>
            <p:cNvPr id="240" name="Rechthoek 239">
              <a:extLst>
                <a:ext uri="{FF2B5EF4-FFF2-40B4-BE49-F238E27FC236}">
                  <a16:creationId xmlns:a16="http://schemas.microsoft.com/office/drawing/2014/main" id="{C6C7FA13-9E79-49B8-84E7-8B8E3651ECF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bg1">
                      <a:lumMod val="50000"/>
                    </a:schemeClr>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endParaRPr>
            </a:p>
          </p:txBody>
        </p:sp>
        <p:sp>
          <p:nvSpPr>
            <p:cNvPr id="241" name="Ovaal 240">
              <a:extLst>
                <a:ext uri="{FF2B5EF4-FFF2-40B4-BE49-F238E27FC236}">
                  <a16:creationId xmlns:a16="http://schemas.microsoft.com/office/drawing/2014/main" id="{3AFD6850-542F-4DBD-8D11-D924DF7B7575}"/>
                </a:ext>
              </a:extLst>
            </p:cNvPr>
            <p:cNvSpPr/>
            <p:nvPr userDrawn="1"/>
          </p:nvSpPr>
          <p:spPr>
            <a:xfrm>
              <a:off x="-3425006" y="2678716"/>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42" name="Rechte verbindingslijn 241">
              <a:extLst>
                <a:ext uri="{FF2B5EF4-FFF2-40B4-BE49-F238E27FC236}">
                  <a16:creationId xmlns:a16="http://schemas.microsoft.com/office/drawing/2014/main" id="{3F0E6AC4-1258-41E3-9AD9-20B6F5FEF697}"/>
                </a:ext>
              </a:extLst>
            </p:cNvPr>
            <p:cNvCxnSpPr>
              <a:cxnSpLocks/>
            </p:cNvCxnSpPr>
            <p:nvPr userDrawn="1"/>
          </p:nvCxnSpPr>
          <p:spPr>
            <a:xfrm>
              <a:off x="-3419346" y="243069"/>
              <a:ext cx="3176013" cy="0"/>
            </a:xfrm>
            <a:prstGeom prst="line">
              <a:avLst/>
            </a:prstGeom>
            <a:noFill/>
            <a:ln w="3175" cap="flat" cmpd="sng" algn="ctr">
              <a:solidFill>
                <a:schemeClr val="bg1">
                  <a:lumMod val="50000"/>
                </a:schemeClr>
              </a:solidFill>
              <a:prstDash val="solid"/>
            </a:ln>
            <a:effectLst/>
          </p:spPr>
        </p:cxnSp>
        <p:grpSp>
          <p:nvGrpSpPr>
            <p:cNvPr id="243" name="Groep 242">
              <a:extLst>
                <a:ext uri="{FF2B5EF4-FFF2-40B4-BE49-F238E27FC236}">
                  <a16:creationId xmlns:a16="http://schemas.microsoft.com/office/drawing/2014/main" id="{753D4BFA-D6BE-4728-923B-43B7E92E71FD}"/>
                </a:ext>
              </a:extLst>
            </p:cNvPr>
            <p:cNvGrpSpPr/>
            <p:nvPr userDrawn="1"/>
          </p:nvGrpSpPr>
          <p:grpSpPr>
            <a:xfrm>
              <a:off x="-3437547" y="1295337"/>
              <a:ext cx="2933825" cy="558875"/>
              <a:chOff x="-3419346" y="368233"/>
              <a:chExt cx="3904920" cy="743862"/>
            </a:xfrm>
          </p:grpSpPr>
          <p:sp>
            <p:nvSpPr>
              <p:cNvPr id="260" name="Rechthoek 259">
                <a:extLst>
                  <a:ext uri="{FF2B5EF4-FFF2-40B4-BE49-F238E27FC236}">
                    <a16:creationId xmlns:a16="http://schemas.microsoft.com/office/drawing/2014/main" id="{75B86434-B724-4A6F-B46D-3943EE9D78C1}"/>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61" name="Rechte verbindingslijn 260">
                <a:extLst>
                  <a:ext uri="{FF2B5EF4-FFF2-40B4-BE49-F238E27FC236}">
                    <a16:creationId xmlns:a16="http://schemas.microsoft.com/office/drawing/2014/main" id="{14776DF3-4ABF-41DE-9661-99A87D23C4AC}"/>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Rechte verbindingslijn 261">
                <a:extLst>
                  <a:ext uri="{FF2B5EF4-FFF2-40B4-BE49-F238E27FC236}">
                    <a16:creationId xmlns:a16="http://schemas.microsoft.com/office/drawing/2014/main" id="{D43A93A9-37FF-4A75-A17C-30672962BC6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3" name="Rechthoek 262">
                <a:extLst>
                  <a:ext uri="{FF2B5EF4-FFF2-40B4-BE49-F238E27FC236}">
                    <a16:creationId xmlns:a16="http://schemas.microsoft.com/office/drawing/2014/main" id="{5DB219BD-09F5-4A14-8FA3-F695B471341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64" name="Groep 263">
                <a:extLst>
                  <a:ext uri="{FF2B5EF4-FFF2-40B4-BE49-F238E27FC236}">
                    <a16:creationId xmlns:a16="http://schemas.microsoft.com/office/drawing/2014/main" id="{2B64E856-E73E-4843-A808-B7DC9284370E}"/>
                  </a:ext>
                </a:extLst>
              </p:cNvPr>
              <p:cNvGrpSpPr/>
              <p:nvPr userDrawn="1"/>
            </p:nvGrpSpPr>
            <p:grpSpPr>
              <a:xfrm>
                <a:off x="-3002834" y="720303"/>
                <a:ext cx="182598" cy="143759"/>
                <a:chOff x="-3310843" y="700986"/>
                <a:chExt cx="182598" cy="143759"/>
              </a:xfrm>
            </p:grpSpPr>
            <p:grpSp>
              <p:nvGrpSpPr>
                <p:cNvPr id="303" name="Groep 302">
                  <a:extLst>
                    <a:ext uri="{FF2B5EF4-FFF2-40B4-BE49-F238E27FC236}">
                      <a16:creationId xmlns:a16="http://schemas.microsoft.com/office/drawing/2014/main" id="{5518A022-8663-4285-83DB-D691D0403B7C}"/>
                    </a:ext>
                  </a:extLst>
                </p:cNvPr>
                <p:cNvGrpSpPr/>
                <p:nvPr userDrawn="1"/>
              </p:nvGrpSpPr>
              <p:grpSpPr>
                <a:xfrm>
                  <a:off x="-3310843" y="700986"/>
                  <a:ext cx="182598" cy="143759"/>
                  <a:chOff x="-3310843" y="700986"/>
                  <a:chExt cx="182598" cy="143759"/>
                </a:xfrm>
              </p:grpSpPr>
              <p:cxnSp>
                <p:nvCxnSpPr>
                  <p:cNvPr id="307" name="Rechte verbindingslijn 306">
                    <a:extLst>
                      <a:ext uri="{FF2B5EF4-FFF2-40B4-BE49-F238E27FC236}">
                        <a16:creationId xmlns:a16="http://schemas.microsoft.com/office/drawing/2014/main" id="{FBD7D34C-9EB3-442C-BA12-235892C9BEC2}"/>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08" name="Rechte verbindingslijn 307">
                    <a:extLst>
                      <a:ext uri="{FF2B5EF4-FFF2-40B4-BE49-F238E27FC236}">
                        <a16:creationId xmlns:a16="http://schemas.microsoft.com/office/drawing/2014/main" id="{1391E6BF-5165-4FCC-B51C-15D5EEBCCFFA}"/>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09" name="Rechte verbindingslijn 308">
                    <a:extLst>
                      <a:ext uri="{FF2B5EF4-FFF2-40B4-BE49-F238E27FC236}">
                        <a16:creationId xmlns:a16="http://schemas.microsoft.com/office/drawing/2014/main" id="{C3175579-EBF1-4CFD-A526-DD4A4A79AB2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10" name="Rechte verbindingslijn 309">
                    <a:extLst>
                      <a:ext uri="{FF2B5EF4-FFF2-40B4-BE49-F238E27FC236}">
                        <a16:creationId xmlns:a16="http://schemas.microsoft.com/office/drawing/2014/main" id="{DE9C818B-5CC1-49F0-8EF8-CD27B5182E8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11" name="Rechte verbindingslijn 310">
                    <a:extLst>
                      <a:ext uri="{FF2B5EF4-FFF2-40B4-BE49-F238E27FC236}">
                        <a16:creationId xmlns:a16="http://schemas.microsoft.com/office/drawing/2014/main" id="{523CFF2D-286D-465A-A92C-0D59E2B7C92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04" name="Groep 303">
                  <a:extLst>
                    <a:ext uri="{FF2B5EF4-FFF2-40B4-BE49-F238E27FC236}">
                      <a16:creationId xmlns:a16="http://schemas.microsoft.com/office/drawing/2014/main" id="{ED3B0C80-3D3E-4A37-80B2-259FB94956CF}"/>
                    </a:ext>
                  </a:extLst>
                </p:cNvPr>
                <p:cNvGrpSpPr/>
                <p:nvPr userDrawn="1"/>
              </p:nvGrpSpPr>
              <p:grpSpPr>
                <a:xfrm flipH="1">
                  <a:off x="-3310774" y="735854"/>
                  <a:ext cx="88801" cy="72568"/>
                  <a:chOff x="-2091059" y="1395403"/>
                  <a:chExt cx="157316" cy="128558"/>
                </a:xfrm>
              </p:grpSpPr>
              <p:sp>
                <p:nvSpPr>
                  <p:cNvPr id="305" name="Rechthoek 304">
                    <a:extLst>
                      <a:ext uri="{FF2B5EF4-FFF2-40B4-BE49-F238E27FC236}">
                        <a16:creationId xmlns:a16="http://schemas.microsoft.com/office/drawing/2014/main" id="{8A1811D5-35ED-49C4-A504-6F5D5B9E8E6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306" name="Pijl: punthaak 305">
                    <a:extLst>
                      <a:ext uri="{FF2B5EF4-FFF2-40B4-BE49-F238E27FC236}">
                        <a16:creationId xmlns:a16="http://schemas.microsoft.com/office/drawing/2014/main" id="{6E2E1F6D-E3EC-4D4D-BB32-BB499252BA9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65" name="Groep 264">
                <a:extLst>
                  <a:ext uri="{FF2B5EF4-FFF2-40B4-BE49-F238E27FC236}">
                    <a16:creationId xmlns:a16="http://schemas.microsoft.com/office/drawing/2014/main" id="{49FDB4DC-3EFB-41E0-A608-EC886B6D8FD7}"/>
                  </a:ext>
                </a:extLst>
              </p:cNvPr>
              <p:cNvGrpSpPr/>
              <p:nvPr userDrawn="1"/>
            </p:nvGrpSpPr>
            <p:grpSpPr>
              <a:xfrm>
                <a:off x="-3326107" y="720303"/>
                <a:ext cx="182598" cy="143759"/>
                <a:chOff x="-3634116" y="700986"/>
                <a:chExt cx="182598" cy="143759"/>
              </a:xfrm>
            </p:grpSpPr>
            <p:grpSp>
              <p:nvGrpSpPr>
                <p:cNvPr id="294" name="Groep 293">
                  <a:extLst>
                    <a:ext uri="{FF2B5EF4-FFF2-40B4-BE49-F238E27FC236}">
                      <a16:creationId xmlns:a16="http://schemas.microsoft.com/office/drawing/2014/main" id="{A5EA7900-2EE3-4140-9BD5-211D34986D25}"/>
                    </a:ext>
                  </a:extLst>
                </p:cNvPr>
                <p:cNvGrpSpPr/>
                <p:nvPr userDrawn="1"/>
              </p:nvGrpSpPr>
              <p:grpSpPr>
                <a:xfrm>
                  <a:off x="-3634116" y="700986"/>
                  <a:ext cx="182598" cy="143759"/>
                  <a:chOff x="-3634116" y="700986"/>
                  <a:chExt cx="182598" cy="143759"/>
                </a:xfrm>
              </p:grpSpPr>
              <p:cxnSp>
                <p:nvCxnSpPr>
                  <p:cNvPr id="298" name="Rechte verbindingslijn 297">
                    <a:extLst>
                      <a:ext uri="{FF2B5EF4-FFF2-40B4-BE49-F238E27FC236}">
                        <a16:creationId xmlns:a16="http://schemas.microsoft.com/office/drawing/2014/main" id="{71524C11-5CD4-4CF8-BA72-A7D0DDFCB02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99" name="Rechte verbindingslijn 298">
                    <a:extLst>
                      <a:ext uri="{FF2B5EF4-FFF2-40B4-BE49-F238E27FC236}">
                        <a16:creationId xmlns:a16="http://schemas.microsoft.com/office/drawing/2014/main" id="{1F43EE9D-BD2C-499B-B722-84EDF8C9DF34}"/>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00" name="Rechte verbindingslijn 299">
                    <a:extLst>
                      <a:ext uri="{FF2B5EF4-FFF2-40B4-BE49-F238E27FC236}">
                        <a16:creationId xmlns:a16="http://schemas.microsoft.com/office/drawing/2014/main" id="{BF814A4E-40CD-4B76-8174-4AD1200811D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01" name="Rechte verbindingslijn 300">
                    <a:extLst>
                      <a:ext uri="{FF2B5EF4-FFF2-40B4-BE49-F238E27FC236}">
                        <a16:creationId xmlns:a16="http://schemas.microsoft.com/office/drawing/2014/main" id="{8A7D2AE3-C908-4CC9-8A1B-69370A7D79A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02" name="Rechte verbindingslijn 301">
                    <a:extLst>
                      <a:ext uri="{FF2B5EF4-FFF2-40B4-BE49-F238E27FC236}">
                        <a16:creationId xmlns:a16="http://schemas.microsoft.com/office/drawing/2014/main" id="{5778AED6-898A-493C-A4F2-36457101DC6B}"/>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95" name="Groep 294">
                  <a:extLst>
                    <a:ext uri="{FF2B5EF4-FFF2-40B4-BE49-F238E27FC236}">
                      <a16:creationId xmlns:a16="http://schemas.microsoft.com/office/drawing/2014/main" id="{C5555A22-02DA-4197-B9CB-9584B5976919}"/>
                    </a:ext>
                  </a:extLst>
                </p:cNvPr>
                <p:cNvGrpSpPr/>
                <p:nvPr userDrawn="1"/>
              </p:nvGrpSpPr>
              <p:grpSpPr>
                <a:xfrm>
                  <a:off x="-3634047" y="735854"/>
                  <a:ext cx="88801" cy="72568"/>
                  <a:chOff x="-2091059" y="1395403"/>
                  <a:chExt cx="157316" cy="128558"/>
                </a:xfrm>
              </p:grpSpPr>
              <p:sp>
                <p:nvSpPr>
                  <p:cNvPr id="296" name="Rechthoek 295">
                    <a:extLst>
                      <a:ext uri="{FF2B5EF4-FFF2-40B4-BE49-F238E27FC236}">
                        <a16:creationId xmlns:a16="http://schemas.microsoft.com/office/drawing/2014/main" id="{5D2B8588-2DB0-4EF0-942C-EA634D48958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97" name="Pijl: punthaak 296">
                    <a:extLst>
                      <a:ext uri="{FF2B5EF4-FFF2-40B4-BE49-F238E27FC236}">
                        <a16:creationId xmlns:a16="http://schemas.microsoft.com/office/drawing/2014/main" id="{6C6EF06C-F29C-442C-AF63-8334C3073AA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66" name="Rechte verbindingslijn 265">
                <a:extLst>
                  <a:ext uri="{FF2B5EF4-FFF2-40B4-BE49-F238E27FC236}">
                    <a16:creationId xmlns:a16="http://schemas.microsoft.com/office/drawing/2014/main" id="{36EC6C65-C6E4-430B-9F50-A9E5F3792E3E}"/>
                  </a:ext>
                </a:extLst>
              </p:cNvPr>
              <p:cNvCxnSpPr>
                <a:cxnSpLocks/>
              </p:cNvCxnSpPr>
              <p:nvPr userDrawn="1"/>
            </p:nvCxnSpPr>
            <p:spPr>
              <a:xfrm flipV="1">
                <a:off x="-3136454" y="523622"/>
                <a:ext cx="720437" cy="188422"/>
              </a:xfrm>
              <a:prstGeom prst="line">
                <a:avLst/>
              </a:prstGeom>
              <a:noFill/>
              <a:ln w="19050" cap="rnd" cmpd="sng" algn="ctr">
                <a:solidFill>
                  <a:schemeClr val="tx1"/>
                </a:solidFill>
                <a:prstDash val="solid"/>
                <a:headEnd type="oval"/>
              </a:ln>
              <a:effectLst/>
            </p:spPr>
          </p:cxnSp>
          <p:cxnSp>
            <p:nvCxnSpPr>
              <p:cNvPr id="267" name="Rechte verbindingslijn 266">
                <a:extLst>
                  <a:ext uri="{FF2B5EF4-FFF2-40B4-BE49-F238E27FC236}">
                    <a16:creationId xmlns:a16="http://schemas.microsoft.com/office/drawing/2014/main" id="{80BCC55C-4AEC-47D0-81FD-C4DBC10A25D6}"/>
                  </a:ext>
                </a:extLst>
              </p:cNvPr>
              <p:cNvCxnSpPr>
                <a:cxnSpLocks/>
              </p:cNvCxnSpPr>
              <p:nvPr userDrawn="1"/>
            </p:nvCxnSpPr>
            <p:spPr>
              <a:xfrm>
                <a:off x="-2820570" y="712044"/>
                <a:ext cx="399011" cy="238298"/>
              </a:xfrm>
              <a:prstGeom prst="line">
                <a:avLst/>
              </a:prstGeom>
              <a:noFill/>
              <a:ln w="19050" cap="rnd" cmpd="sng" algn="ctr">
                <a:solidFill>
                  <a:schemeClr val="tx1"/>
                </a:solidFill>
                <a:prstDash val="solid"/>
                <a:headEnd type="oval"/>
              </a:ln>
              <a:effectLst/>
            </p:spPr>
          </p:cxnSp>
          <p:grpSp>
            <p:nvGrpSpPr>
              <p:cNvPr id="268" name="Groep 267">
                <a:extLst>
                  <a:ext uri="{FF2B5EF4-FFF2-40B4-BE49-F238E27FC236}">
                    <a16:creationId xmlns:a16="http://schemas.microsoft.com/office/drawing/2014/main" id="{589CDE9B-39CF-4FC6-BB08-2E5A078BEA8D}"/>
                  </a:ext>
                </a:extLst>
              </p:cNvPr>
              <p:cNvGrpSpPr/>
              <p:nvPr userDrawn="1"/>
            </p:nvGrpSpPr>
            <p:grpSpPr>
              <a:xfrm>
                <a:off x="-2425037" y="370226"/>
                <a:ext cx="357690" cy="330595"/>
                <a:chOff x="-2721817" y="347336"/>
                <a:chExt cx="432805" cy="400021"/>
              </a:xfrm>
            </p:grpSpPr>
            <p:sp>
              <p:nvSpPr>
                <p:cNvPr id="283" name="Rechthoek 282">
                  <a:extLst>
                    <a:ext uri="{FF2B5EF4-FFF2-40B4-BE49-F238E27FC236}">
                      <a16:creationId xmlns:a16="http://schemas.microsoft.com/office/drawing/2014/main" id="{12C3A738-EF03-4375-97E9-A6C0FFA708E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84" name="Groep 283">
                  <a:extLst>
                    <a:ext uri="{FF2B5EF4-FFF2-40B4-BE49-F238E27FC236}">
                      <a16:creationId xmlns:a16="http://schemas.microsoft.com/office/drawing/2014/main" id="{FD357FE6-1C1B-4A26-9718-2E88DE1D3E23}"/>
                    </a:ext>
                  </a:extLst>
                </p:cNvPr>
                <p:cNvGrpSpPr/>
                <p:nvPr userDrawn="1"/>
              </p:nvGrpSpPr>
              <p:grpSpPr>
                <a:xfrm>
                  <a:off x="-2652453" y="431583"/>
                  <a:ext cx="294076" cy="231526"/>
                  <a:chOff x="-3634116" y="700986"/>
                  <a:chExt cx="182598" cy="143759"/>
                </a:xfrm>
              </p:grpSpPr>
              <p:grpSp>
                <p:nvGrpSpPr>
                  <p:cNvPr id="285" name="Groep 284">
                    <a:extLst>
                      <a:ext uri="{FF2B5EF4-FFF2-40B4-BE49-F238E27FC236}">
                        <a16:creationId xmlns:a16="http://schemas.microsoft.com/office/drawing/2014/main" id="{D845DBC7-CB8A-4EB4-8BFA-81609DCE3B42}"/>
                      </a:ext>
                    </a:extLst>
                  </p:cNvPr>
                  <p:cNvGrpSpPr/>
                  <p:nvPr userDrawn="1"/>
                </p:nvGrpSpPr>
                <p:grpSpPr>
                  <a:xfrm>
                    <a:off x="-3634116" y="700986"/>
                    <a:ext cx="182598" cy="143759"/>
                    <a:chOff x="-3634116" y="700986"/>
                    <a:chExt cx="182598" cy="143759"/>
                  </a:xfrm>
                </p:grpSpPr>
                <p:cxnSp>
                  <p:nvCxnSpPr>
                    <p:cNvPr id="289" name="Rechte verbindingslijn 288">
                      <a:extLst>
                        <a:ext uri="{FF2B5EF4-FFF2-40B4-BE49-F238E27FC236}">
                          <a16:creationId xmlns:a16="http://schemas.microsoft.com/office/drawing/2014/main" id="{9E81999D-2BEE-482C-83EA-D05781A982A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90" name="Rechte verbindingslijn 289">
                      <a:extLst>
                        <a:ext uri="{FF2B5EF4-FFF2-40B4-BE49-F238E27FC236}">
                          <a16:creationId xmlns:a16="http://schemas.microsoft.com/office/drawing/2014/main" id="{2A53F11F-FE0D-4C4F-9C71-97393225FFF3}"/>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91" name="Rechte verbindingslijn 290">
                      <a:extLst>
                        <a:ext uri="{FF2B5EF4-FFF2-40B4-BE49-F238E27FC236}">
                          <a16:creationId xmlns:a16="http://schemas.microsoft.com/office/drawing/2014/main" id="{22D43B22-E93D-4E81-975E-C609CEE3A28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92" name="Rechte verbindingslijn 291">
                      <a:extLst>
                        <a:ext uri="{FF2B5EF4-FFF2-40B4-BE49-F238E27FC236}">
                          <a16:creationId xmlns:a16="http://schemas.microsoft.com/office/drawing/2014/main" id="{D4639661-13B5-4DA3-9B19-75624C35C269}"/>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93" name="Rechte verbindingslijn 292">
                      <a:extLst>
                        <a:ext uri="{FF2B5EF4-FFF2-40B4-BE49-F238E27FC236}">
                          <a16:creationId xmlns:a16="http://schemas.microsoft.com/office/drawing/2014/main" id="{29B28214-51B7-4916-B84D-378362A84C9E}"/>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86" name="Groep 285">
                    <a:extLst>
                      <a:ext uri="{FF2B5EF4-FFF2-40B4-BE49-F238E27FC236}">
                        <a16:creationId xmlns:a16="http://schemas.microsoft.com/office/drawing/2014/main" id="{7DDAC773-993F-416F-95B9-A87F4013B6C8}"/>
                      </a:ext>
                    </a:extLst>
                  </p:cNvPr>
                  <p:cNvGrpSpPr/>
                  <p:nvPr userDrawn="1"/>
                </p:nvGrpSpPr>
                <p:grpSpPr>
                  <a:xfrm>
                    <a:off x="-3634047" y="735854"/>
                    <a:ext cx="88801" cy="72568"/>
                    <a:chOff x="-2091059" y="1395403"/>
                    <a:chExt cx="157316" cy="128558"/>
                  </a:xfrm>
                </p:grpSpPr>
                <p:sp>
                  <p:nvSpPr>
                    <p:cNvPr id="287" name="Rechthoek 286">
                      <a:extLst>
                        <a:ext uri="{FF2B5EF4-FFF2-40B4-BE49-F238E27FC236}">
                          <a16:creationId xmlns:a16="http://schemas.microsoft.com/office/drawing/2014/main" id="{498A9B40-F916-4BCC-A67F-20F63969BD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88" name="Pijl: punthaak 287">
                      <a:extLst>
                        <a:ext uri="{FF2B5EF4-FFF2-40B4-BE49-F238E27FC236}">
                          <a16:creationId xmlns:a16="http://schemas.microsoft.com/office/drawing/2014/main" id="{17C536E6-AB16-4BF9-B7A4-010F8C7964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69" name="Groep 268">
                <a:extLst>
                  <a:ext uri="{FF2B5EF4-FFF2-40B4-BE49-F238E27FC236}">
                    <a16:creationId xmlns:a16="http://schemas.microsoft.com/office/drawing/2014/main" id="{27151BDB-8DEE-4B3D-BD95-892F4DB23B1D}"/>
                  </a:ext>
                </a:extLst>
              </p:cNvPr>
              <p:cNvGrpSpPr/>
              <p:nvPr userDrawn="1"/>
            </p:nvGrpSpPr>
            <p:grpSpPr>
              <a:xfrm>
                <a:off x="-2425037" y="781500"/>
                <a:ext cx="357690" cy="330595"/>
                <a:chOff x="-2721817" y="782525"/>
                <a:chExt cx="432805" cy="400021"/>
              </a:xfrm>
            </p:grpSpPr>
            <p:sp>
              <p:nvSpPr>
                <p:cNvPr id="272" name="Rechthoek 271">
                  <a:extLst>
                    <a:ext uri="{FF2B5EF4-FFF2-40B4-BE49-F238E27FC236}">
                      <a16:creationId xmlns:a16="http://schemas.microsoft.com/office/drawing/2014/main" id="{78016BDB-5322-4535-942F-5B6A920AB55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73" name="Groep 272">
                  <a:extLst>
                    <a:ext uri="{FF2B5EF4-FFF2-40B4-BE49-F238E27FC236}">
                      <a16:creationId xmlns:a16="http://schemas.microsoft.com/office/drawing/2014/main" id="{B73801C7-54D7-4A27-A8C1-2F5C1F7B0598}"/>
                    </a:ext>
                  </a:extLst>
                </p:cNvPr>
                <p:cNvGrpSpPr/>
                <p:nvPr userDrawn="1"/>
              </p:nvGrpSpPr>
              <p:grpSpPr>
                <a:xfrm>
                  <a:off x="-2652453" y="866772"/>
                  <a:ext cx="294076" cy="231526"/>
                  <a:chOff x="-3310843" y="700986"/>
                  <a:chExt cx="182598" cy="143759"/>
                </a:xfrm>
              </p:grpSpPr>
              <p:grpSp>
                <p:nvGrpSpPr>
                  <p:cNvPr id="274" name="Groep 273">
                    <a:extLst>
                      <a:ext uri="{FF2B5EF4-FFF2-40B4-BE49-F238E27FC236}">
                        <a16:creationId xmlns:a16="http://schemas.microsoft.com/office/drawing/2014/main" id="{095C0BCD-ED81-4023-81F3-05A91C04A9CC}"/>
                      </a:ext>
                    </a:extLst>
                  </p:cNvPr>
                  <p:cNvGrpSpPr/>
                  <p:nvPr userDrawn="1"/>
                </p:nvGrpSpPr>
                <p:grpSpPr>
                  <a:xfrm>
                    <a:off x="-3310843" y="700986"/>
                    <a:ext cx="182598" cy="143759"/>
                    <a:chOff x="-3310843" y="700986"/>
                    <a:chExt cx="182598" cy="143759"/>
                  </a:xfrm>
                </p:grpSpPr>
                <p:cxnSp>
                  <p:nvCxnSpPr>
                    <p:cNvPr id="278" name="Rechte verbindingslijn 277">
                      <a:extLst>
                        <a:ext uri="{FF2B5EF4-FFF2-40B4-BE49-F238E27FC236}">
                          <a16:creationId xmlns:a16="http://schemas.microsoft.com/office/drawing/2014/main" id="{54FF38E4-BACB-4F5B-BAC5-20CBC04F5F7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79" name="Rechte verbindingslijn 278">
                      <a:extLst>
                        <a:ext uri="{FF2B5EF4-FFF2-40B4-BE49-F238E27FC236}">
                          <a16:creationId xmlns:a16="http://schemas.microsoft.com/office/drawing/2014/main" id="{EFEC67E8-982D-4834-B338-E8C384C5099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80" name="Rechte verbindingslijn 279">
                      <a:extLst>
                        <a:ext uri="{FF2B5EF4-FFF2-40B4-BE49-F238E27FC236}">
                          <a16:creationId xmlns:a16="http://schemas.microsoft.com/office/drawing/2014/main" id="{63DDF9AB-62D3-429F-B75C-557A5AD9627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81" name="Rechte verbindingslijn 280">
                      <a:extLst>
                        <a:ext uri="{FF2B5EF4-FFF2-40B4-BE49-F238E27FC236}">
                          <a16:creationId xmlns:a16="http://schemas.microsoft.com/office/drawing/2014/main" id="{D5372101-9CE2-4C07-B442-61383BEB7EF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82" name="Rechte verbindingslijn 281">
                      <a:extLst>
                        <a:ext uri="{FF2B5EF4-FFF2-40B4-BE49-F238E27FC236}">
                          <a16:creationId xmlns:a16="http://schemas.microsoft.com/office/drawing/2014/main" id="{722592F8-635A-4DA9-9C6E-274CF2BA0FD0}"/>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75" name="Groep 274">
                    <a:extLst>
                      <a:ext uri="{FF2B5EF4-FFF2-40B4-BE49-F238E27FC236}">
                        <a16:creationId xmlns:a16="http://schemas.microsoft.com/office/drawing/2014/main" id="{8606DD50-A340-4C84-A168-32055E12D6EB}"/>
                      </a:ext>
                    </a:extLst>
                  </p:cNvPr>
                  <p:cNvGrpSpPr/>
                  <p:nvPr userDrawn="1"/>
                </p:nvGrpSpPr>
                <p:grpSpPr>
                  <a:xfrm flipH="1">
                    <a:off x="-3310774" y="735854"/>
                    <a:ext cx="88801" cy="72568"/>
                    <a:chOff x="-2091059" y="1395403"/>
                    <a:chExt cx="157316" cy="128558"/>
                  </a:xfrm>
                </p:grpSpPr>
                <p:sp>
                  <p:nvSpPr>
                    <p:cNvPr id="276" name="Rechthoek 275">
                      <a:extLst>
                        <a:ext uri="{FF2B5EF4-FFF2-40B4-BE49-F238E27FC236}">
                          <a16:creationId xmlns:a16="http://schemas.microsoft.com/office/drawing/2014/main" id="{30CB3723-0DF0-419D-A243-FC7837798E5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77" name="Pijl: punthaak 276">
                      <a:extLst>
                        <a:ext uri="{FF2B5EF4-FFF2-40B4-BE49-F238E27FC236}">
                          <a16:creationId xmlns:a16="http://schemas.microsoft.com/office/drawing/2014/main" id="{C928910E-32D1-45B7-BCAD-1F92B23697E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70" name="Rechthoek 269">
                <a:extLst>
                  <a:ext uri="{FF2B5EF4-FFF2-40B4-BE49-F238E27FC236}">
                    <a16:creationId xmlns:a16="http://schemas.microsoft.com/office/drawing/2014/main" id="{9A0AC279-9C64-40B5-A259-F91E97DD85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71" name="Rechthoek 270">
                <a:extLst>
                  <a:ext uri="{FF2B5EF4-FFF2-40B4-BE49-F238E27FC236}">
                    <a16:creationId xmlns:a16="http://schemas.microsoft.com/office/drawing/2014/main" id="{20034261-AFF3-4916-B8DE-4E12D0A49DC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244" name="Rechte verbindingslijn 243">
              <a:extLst>
                <a:ext uri="{FF2B5EF4-FFF2-40B4-BE49-F238E27FC236}">
                  <a16:creationId xmlns:a16="http://schemas.microsoft.com/office/drawing/2014/main" id="{5B91DA79-C12E-4AD1-A18A-C170B0579690}"/>
                </a:ext>
              </a:extLst>
            </p:cNvPr>
            <p:cNvCxnSpPr>
              <a:cxnSpLocks/>
            </p:cNvCxnSpPr>
            <p:nvPr userDrawn="1"/>
          </p:nvCxnSpPr>
          <p:spPr>
            <a:xfrm>
              <a:off x="-3419346" y="1980503"/>
              <a:ext cx="3176013" cy="0"/>
            </a:xfrm>
            <a:prstGeom prst="line">
              <a:avLst/>
            </a:prstGeom>
            <a:noFill/>
            <a:ln w="3175" cap="flat" cmpd="sng" algn="ctr">
              <a:solidFill>
                <a:schemeClr val="bg1">
                  <a:lumMod val="50000"/>
                </a:schemeClr>
              </a:solidFill>
              <a:prstDash val="solid"/>
            </a:ln>
            <a:effectLst/>
          </p:spPr>
        </p:cxnSp>
        <p:sp>
          <p:nvSpPr>
            <p:cNvPr id="245" name="Rechthoek 244">
              <a:extLst>
                <a:ext uri="{FF2B5EF4-FFF2-40B4-BE49-F238E27FC236}">
                  <a16:creationId xmlns:a16="http://schemas.microsoft.com/office/drawing/2014/main" id="{47789934-DE87-41C7-9447-720FA8C053DC}"/>
                </a:ext>
              </a:extLst>
            </p:cNvPr>
            <p:cNvSpPr/>
            <p:nvPr userDrawn="1"/>
          </p:nvSpPr>
          <p:spPr>
            <a:xfrm>
              <a:off x="-3059324" y="2678715"/>
              <a:ext cx="2823104" cy="255963"/>
            </a:xfrm>
            <a:prstGeom prst="rect">
              <a:avLst/>
            </a:prstGeom>
            <a:noFill/>
            <a:ln w="25400" cap="flat" cmpd="sng" algn="ctr">
              <a:noFill/>
              <a:prstDash val="solid"/>
            </a:ln>
            <a:effectLst/>
          </p:spPr>
          <p:txBody>
            <a:bodyPr lIns="0" tIns="0" rIns="0" bIns="0" rtlCol="0" anchor="ctr"/>
            <a:lstStyle/>
            <a:p>
              <a:pPr marL="177800" marR="0" lvl="0"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5pt)</a:t>
              </a:r>
            </a:p>
          </p:txBody>
        </p:sp>
        <p:sp>
          <p:nvSpPr>
            <p:cNvPr id="246" name="Ovaal 245">
              <a:extLst>
                <a:ext uri="{FF2B5EF4-FFF2-40B4-BE49-F238E27FC236}">
                  <a16:creationId xmlns:a16="http://schemas.microsoft.com/office/drawing/2014/main" id="{71745DED-93DA-4FB1-86EC-0E2947444CDD}"/>
                </a:ext>
              </a:extLst>
            </p:cNvPr>
            <p:cNvSpPr/>
            <p:nvPr userDrawn="1"/>
          </p:nvSpPr>
          <p:spPr>
            <a:xfrm>
              <a:off x="-3425006" y="3050637"/>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47" name="Rechthoek 246">
              <a:extLst>
                <a:ext uri="{FF2B5EF4-FFF2-40B4-BE49-F238E27FC236}">
                  <a16:creationId xmlns:a16="http://schemas.microsoft.com/office/drawing/2014/main" id="{753E4D0A-0F61-4C86-9240-87214F9AE5CD}"/>
                </a:ext>
              </a:extLst>
            </p:cNvPr>
            <p:cNvSpPr/>
            <p:nvPr userDrawn="1"/>
          </p:nvSpPr>
          <p:spPr>
            <a:xfrm>
              <a:off x="-3059324" y="3050636"/>
              <a:ext cx="2823104" cy="255963"/>
            </a:xfrm>
            <a:prstGeom prst="rect">
              <a:avLst/>
            </a:prstGeom>
            <a:noFill/>
            <a:ln w="25400" cap="flat" cmpd="sng" algn="ctr">
              <a:noFill/>
              <a:prstDash val="solid"/>
            </a:ln>
            <a:effectLst/>
          </p:spPr>
          <p:txBody>
            <a:bodyPr lIns="0" tIns="0" rIns="0" bIns="0" rtlCol="0" anchor="ctr"/>
            <a:lstStyle/>
            <a:p>
              <a:pPr marL="355600" marR="0" lvl="1" indent="-1778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1 (15pt) </a:t>
              </a:r>
            </a:p>
          </p:txBody>
        </p:sp>
        <p:sp>
          <p:nvSpPr>
            <p:cNvPr id="248" name="Ovaal 247">
              <a:extLst>
                <a:ext uri="{FF2B5EF4-FFF2-40B4-BE49-F238E27FC236}">
                  <a16:creationId xmlns:a16="http://schemas.microsoft.com/office/drawing/2014/main" id="{E1D8641A-9CAF-4311-9B49-A4127E0A5E35}"/>
                </a:ext>
              </a:extLst>
            </p:cNvPr>
            <p:cNvSpPr/>
            <p:nvPr userDrawn="1"/>
          </p:nvSpPr>
          <p:spPr>
            <a:xfrm>
              <a:off x="-3425006" y="3424813"/>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49" name="Rechthoek 248">
              <a:extLst>
                <a:ext uri="{FF2B5EF4-FFF2-40B4-BE49-F238E27FC236}">
                  <a16:creationId xmlns:a16="http://schemas.microsoft.com/office/drawing/2014/main" id="{C8C85584-D0CC-42DF-BC71-FFE6436D58D3}"/>
                </a:ext>
              </a:extLst>
            </p:cNvPr>
            <p:cNvSpPr/>
            <p:nvPr userDrawn="1"/>
          </p:nvSpPr>
          <p:spPr>
            <a:xfrm>
              <a:off x="-3059324" y="3424812"/>
              <a:ext cx="2823104" cy="255963"/>
            </a:xfrm>
            <a:prstGeom prst="rect">
              <a:avLst/>
            </a:prstGeom>
            <a:noFill/>
            <a:ln w="25400" cap="flat" cmpd="sng" algn="ctr">
              <a:noFill/>
              <a:prstDash val="solid"/>
            </a:ln>
            <a:effectLst/>
          </p:spPr>
          <p:txBody>
            <a:bodyPr lIns="0" tIns="0" rIns="0" bIns="0" rtlCol="0" anchor="ctr"/>
            <a:lstStyle/>
            <a:p>
              <a:pPr marL="531813" marR="0" lvl="2" indent="-176213" algn="l" defTabSz="914400" rtl="0" eaLnBrk="1" fontAlgn="auto" latinLnBrk="0" hangingPunct="1">
                <a:lnSpc>
                  <a:spcPct val="100000"/>
                </a:lnSpc>
                <a:spcBef>
                  <a:spcPts val="300"/>
                </a:spcBef>
                <a:spcAft>
                  <a:spcPts val="300"/>
                </a:spcAft>
                <a:buClr>
                  <a:schemeClr val="tx1"/>
                </a:buClr>
                <a:buSzTx/>
                <a:buFont typeface="Corbel" panose="020B0503020204020204" pitchFamily="34" charset="0"/>
                <a:buChar char="–"/>
                <a:tabLst/>
                <a:defRPr/>
              </a:pPr>
              <a:r>
                <a:rPr lang="nl-NL" sz="1500" kern="1200" noProof="0">
                  <a:solidFill>
                    <a:schemeClr val="tx1"/>
                  </a:solidFill>
                  <a:latin typeface="+mn-lt"/>
                  <a:ea typeface="+mn-ea"/>
                  <a:cs typeface="+mn-cs"/>
                </a:rPr>
                <a:t>Sub-</a:t>
              </a:r>
              <a:r>
                <a:rPr lang="nl-NL" sz="1500" kern="1200" noProof="0" err="1">
                  <a:solidFill>
                    <a:schemeClr val="tx1"/>
                  </a:solidFill>
                  <a:latin typeface="+mn-lt"/>
                  <a:ea typeface="+mn-ea"/>
                  <a:cs typeface="+mn-cs"/>
                </a:rPr>
                <a:t>bullet</a:t>
              </a:r>
              <a:r>
                <a:rPr lang="nl-NL" sz="1500" kern="1200" noProof="0">
                  <a:solidFill>
                    <a:schemeClr val="tx1"/>
                  </a:solidFill>
                  <a:latin typeface="+mn-lt"/>
                  <a:ea typeface="+mn-ea"/>
                  <a:cs typeface="+mn-cs"/>
                </a:rPr>
                <a:t> #2 (15pt)</a:t>
              </a:r>
            </a:p>
          </p:txBody>
        </p:sp>
        <p:sp>
          <p:nvSpPr>
            <p:cNvPr id="250" name="Ovaal 249">
              <a:extLst>
                <a:ext uri="{FF2B5EF4-FFF2-40B4-BE49-F238E27FC236}">
                  <a16:creationId xmlns:a16="http://schemas.microsoft.com/office/drawing/2014/main" id="{216B64B7-8299-4339-A6BE-65EB970D1BB8}"/>
                </a:ext>
              </a:extLst>
            </p:cNvPr>
            <p:cNvSpPr/>
            <p:nvPr userDrawn="1"/>
          </p:nvSpPr>
          <p:spPr>
            <a:xfrm>
              <a:off x="-3425006" y="379745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51" name="Rechthoek 250">
              <a:extLst>
                <a:ext uri="{FF2B5EF4-FFF2-40B4-BE49-F238E27FC236}">
                  <a16:creationId xmlns:a16="http://schemas.microsoft.com/office/drawing/2014/main" id="{AE96D69C-11F6-4127-A6C6-E93C10351538}"/>
                </a:ext>
              </a:extLst>
            </p:cNvPr>
            <p:cNvSpPr/>
            <p:nvPr userDrawn="1"/>
          </p:nvSpPr>
          <p:spPr>
            <a:xfrm>
              <a:off x="-3059324" y="3797457"/>
              <a:ext cx="2823104" cy="255963"/>
            </a:xfrm>
            <a:prstGeom prst="rect">
              <a:avLst/>
            </a:prstGeom>
            <a:noFill/>
            <a:ln w="25400" cap="flat" cmpd="sng" algn="ctr">
              <a:noFill/>
              <a:prstDash val="solid"/>
            </a:ln>
            <a:effectLst/>
          </p:spPr>
          <p:txBody>
            <a:bodyPr lIns="0" tIns="0" rIns="0" bIns="0" rtlCol="0" anchor="ctr"/>
            <a:lstStyle/>
            <a:p>
              <a:pPr marL="0" marR="0" lvl="3"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nl-NL" sz="1500" kern="1200" noProof="0">
                  <a:solidFill>
                    <a:schemeClr val="tx1"/>
                  </a:solidFill>
                  <a:latin typeface="+mn-lt"/>
                  <a:ea typeface="+mn-ea"/>
                  <a:cs typeface="+mn-cs"/>
                </a:rPr>
                <a:t>Leestekst (15pt)</a:t>
              </a:r>
            </a:p>
          </p:txBody>
        </p:sp>
        <p:sp>
          <p:nvSpPr>
            <p:cNvPr id="252" name="Ovaal 251">
              <a:extLst>
                <a:ext uri="{FF2B5EF4-FFF2-40B4-BE49-F238E27FC236}">
                  <a16:creationId xmlns:a16="http://schemas.microsoft.com/office/drawing/2014/main" id="{314DE40F-F20A-4C14-A172-2A907AE22679}"/>
                </a:ext>
              </a:extLst>
            </p:cNvPr>
            <p:cNvSpPr/>
            <p:nvPr userDrawn="1"/>
          </p:nvSpPr>
          <p:spPr>
            <a:xfrm>
              <a:off x="-3425006" y="4181064"/>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53" name="Rechthoek 252">
              <a:extLst>
                <a:ext uri="{FF2B5EF4-FFF2-40B4-BE49-F238E27FC236}">
                  <a16:creationId xmlns:a16="http://schemas.microsoft.com/office/drawing/2014/main" id="{007562AC-2303-409C-A14B-7342B0737ED4}"/>
                </a:ext>
              </a:extLst>
            </p:cNvPr>
            <p:cNvSpPr/>
            <p:nvPr userDrawn="1"/>
          </p:nvSpPr>
          <p:spPr>
            <a:xfrm>
              <a:off x="-3059324" y="4181063"/>
              <a:ext cx="2823104" cy="255963"/>
            </a:xfrm>
            <a:prstGeom prst="rect">
              <a:avLst/>
            </a:prstGeom>
            <a:noFill/>
            <a:ln w="25400" cap="flat" cmpd="sng" algn="ctr">
              <a:noFill/>
              <a:prstDash val="solid"/>
            </a:ln>
            <a:effectLst/>
          </p:spPr>
          <p:txBody>
            <a:bodyPr lIns="0" tIns="0" rIns="0" bIns="0" rtlCol="0" anchor="ctr"/>
            <a:lstStyle/>
            <a:p>
              <a:pPr marL="0" marR="0" lvl="4" indent="0" fontAlgn="auto">
                <a:lnSpc>
                  <a:spcPct val="100000"/>
                </a:lnSpc>
                <a:spcBef>
                  <a:spcPts val="600"/>
                </a:spcBef>
                <a:spcAft>
                  <a:spcPts val="300"/>
                </a:spcAft>
                <a:buClrTx/>
                <a:buSzTx/>
                <a:buFont typeface="Arial" panose="020B0604020202020204" pitchFamily="34" charset="0"/>
                <a:buNone/>
                <a:tabLst/>
              </a:pPr>
              <a:r>
                <a:rPr lang="nl-NL" sz="1600" b="1" cap="none" baseline="0" noProof="0">
                  <a:solidFill>
                    <a:schemeClr val="accent1"/>
                  </a:solidFill>
                  <a:latin typeface="+mj-lt"/>
                </a:rPr>
                <a:t>Tussenkop (16pt)</a:t>
              </a:r>
            </a:p>
          </p:txBody>
        </p:sp>
        <p:sp>
          <p:nvSpPr>
            <p:cNvPr id="254" name="Rechthoek 253">
              <a:extLst>
                <a:ext uri="{FF2B5EF4-FFF2-40B4-BE49-F238E27FC236}">
                  <a16:creationId xmlns:a16="http://schemas.microsoft.com/office/drawing/2014/main" id="{DB9A2DCC-E590-4FDC-A37C-3422D1E9667F}"/>
                </a:ext>
              </a:extLst>
            </p:cNvPr>
            <p:cNvSpPr/>
            <p:nvPr userDrawn="1"/>
          </p:nvSpPr>
          <p:spPr>
            <a:xfrm>
              <a:off x="-3420798" y="2099231"/>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cxnSp>
          <p:nvCxnSpPr>
            <p:cNvPr id="255" name="Rechte verbindingslijn 254">
              <a:extLst>
                <a:ext uri="{FF2B5EF4-FFF2-40B4-BE49-F238E27FC236}">
                  <a16:creationId xmlns:a16="http://schemas.microsoft.com/office/drawing/2014/main" id="{1D023111-277A-4944-B9A1-3507E7881513}"/>
                </a:ext>
              </a:extLst>
            </p:cNvPr>
            <p:cNvCxnSpPr>
              <a:cxnSpLocks/>
            </p:cNvCxnSpPr>
            <p:nvPr userDrawn="1"/>
          </p:nvCxnSpPr>
          <p:spPr>
            <a:xfrm>
              <a:off x="-3419346" y="1161637"/>
              <a:ext cx="3176013" cy="0"/>
            </a:xfrm>
            <a:prstGeom prst="line">
              <a:avLst/>
            </a:prstGeom>
            <a:noFill/>
            <a:ln w="3175" cap="flat" cmpd="sng" algn="ctr">
              <a:solidFill>
                <a:schemeClr val="bg1">
                  <a:lumMod val="50000"/>
                </a:schemeClr>
              </a:solidFill>
              <a:prstDash val="solid"/>
            </a:ln>
            <a:effectLst/>
          </p:spPr>
        </p:cxnSp>
        <p:sp>
          <p:nvSpPr>
            <p:cNvPr id="256" name="Ovaal 255">
              <a:extLst>
                <a:ext uri="{FF2B5EF4-FFF2-40B4-BE49-F238E27FC236}">
                  <a16:creationId xmlns:a16="http://schemas.microsoft.com/office/drawing/2014/main" id="{DCC5CB5C-A7E7-46F5-B3DD-04EDDA8BB98E}"/>
                </a:ext>
              </a:extLst>
            </p:cNvPr>
            <p:cNvSpPr/>
            <p:nvPr userDrawn="1"/>
          </p:nvSpPr>
          <p:spPr>
            <a:xfrm>
              <a:off x="-3425006" y="38524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57" name="Rechthoek 256">
              <a:extLst>
                <a:ext uri="{FF2B5EF4-FFF2-40B4-BE49-F238E27FC236}">
                  <a16:creationId xmlns:a16="http://schemas.microsoft.com/office/drawing/2014/main" id="{F5CA65F7-9207-45E4-8E8A-1DB91ACBC1C7}"/>
                </a:ext>
              </a:extLst>
            </p:cNvPr>
            <p:cNvSpPr/>
            <p:nvPr userDrawn="1"/>
          </p:nvSpPr>
          <p:spPr>
            <a:xfrm>
              <a:off x="-3059324" y="385247"/>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ct val="0"/>
                </a:spcBef>
                <a:spcAft>
                  <a:spcPts val="300"/>
                </a:spcAft>
                <a:buClr>
                  <a:schemeClr val="accent1"/>
                </a:buClr>
                <a:buSzTx/>
                <a:buFont typeface="Wingdings" panose="05000000000000000000" pitchFamily="2" charset="2"/>
                <a:buNone/>
                <a:tabLst/>
                <a:defRPr/>
              </a:pPr>
              <a:r>
                <a:rPr lang="nl-NL" sz="2600" b="0" kern="1200" noProof="0">
                  <a:solidFill>
                    <a:schemeClr val="tx1"/>
                  </a:solidFill>
                  <a:latin typeface="+mn-lt"/>
                  <a:ea typeface="+mj-ea"/>
                  <a:cs typeface="+mj-cs"/>
                </a:rPr>
                <a:t>Titel (26pt)</a:t>
              </a:r>
            </a:p>
          </p:txBody>
        </p:sp>
        <p:sp>
          <p:nvSpPr>
            <p:cNvPr id="258" name="Ovaal 257">
              <a:extLst>
                <a:ext uri="{FF2B5EF4-FFF2-40B4-BE49-F238E27FC236}">
                  <a16:creationId xmlns:a16="http://schemas.microsoft.com/office/drawing/2014/main" id="{60EF0DB7-2981-4C0C-A3D2-5C6B7828F96E}"/>
                </a:ext>
              </a:extLst>
            </p:cNvPr>
            <p:cNvSpPr/>
            <p:nvPr userDrawn="1"/>
          </p:nvSpPr>
          <p:spPr>
            <a:xfrm>
              <a:off x="-3425006" y="757169"/>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9" name="Rechthoek 258">
              <a:extLst>
                <a:ext uri="{FF2B5EF4-FFF2-40B4-BE49-F238E27FC236}">
                  <a16:creationId xmlns:a16="http://schemas.microsoft.com/office/drawing/2014/main" id="{F057FF7E-881F-45CC-88D4-2E8D70EB1A39}"/>
                </a:ext>
              </a:extLst>
            </p:cNvPr>
            <p:cNvSpPr/>
            <p:nvPr userDrawn="1"/>
          </p:nvSpPr>
          <p:spPr>
            <a:xfrm>
              <a:off x="-3059324" y="757168"/>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nl-NL" sz="2000" b="0" kern="1200" noProof="0">
                  <a:solidFill>
                    <a:schemeClr val="accent1"/>
                  </a:solidFill>
                  <a:latin typeface="+mn-lt"/>
                  <a:ea typeface="+mn-ea"/>
                  <a:cs typeface="+mn-cs"/>
                </a:rPr>
                <a:t>Subtitel (20pt)</a:t>
              </a:r>
            </a:p>
          </p:txBody>
        </p:sp>
      </p:grpSp>
      <p:grpSp>
        <p:nvGrpSpPr>
          <p:cNvPr id="312" name="Instructie">
            <a:extLst>
              <a:ext uri="{FF2B5EF4-FFF2-40B4-BE49-F238E27FC236}">
                <a16:creationId xmlns:a16="http://schemas.microsoft.com/office/drawing/2014/main" id="{3E6CDCE8-9C1A-4209-A05D-0F7AB0C7BEC2}"/>
              </a:ext>
            </a:extLst>
          </p:cNvPr>
          <p:cNvGrpSpPr/>
          <p:nvPr userDrawn="1"/>
        </p:nvGrpSpPr>
        <p:grpSpPr>
          <a:xfrm>
            <a:off x="12391601" y="0"/>
            <a:ext cx="3183677" cy="2499789"/>
            <a:chOff x="12391601" y="0"/>
            <a:chExt cx="3183677" cy="2499789"/>
          </a:xfrm>
        </p:grpSpPr>
        <p:sp>
          <p:nvSpPr>
            <p:cNvPr id="313" name="Rechthoek 312">
              <a:extLst>
                <a:ext uri="{FF2B5EF4-FFF2-40B4-BE49-F238E27FC236}">
                  <a16:creationId xmlns:a16="http://schemas.microsoft.com/office/drawing/2014/main" id="{6920A5F9-38BC-405A-804E-D0E873A4CC0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314" name="Ovaal 313">
              <a:extLst>
                <a:ext uri="{FF2B5EF4-FFF2-40B4-BE49-F238E27FC236}">
                  <a16:creationId xmlns:a16="http://schemas.microsoft.com/office/drawing/2014/main" id="{A6B2C391-672F-4406-9505-DEF46CDAB81F}"/>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15" name="Rechte verbindingslijn 314">
              <a:extLst>
                <a:ext uri="{FF2B5EF4-FFF2-40B4-BE49-F238E27FC236}">
                  <a16:creationId xmlns:a16="http://schemas.microsoft.com/office/drawing/2014/main" id="{59D1BB86-93EE-4F49-A3B0-9CF5773DDEC5}"/>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316" name="Rechte verbindingslijn 315">
              <a:extLst>
                <a:ext uri="{FF2B5EF4-FFF2-40B4-BE49-F238E27FC236}">
                  <a16:creationId xmlns:a16="http://schemas.microsoft.com/office/drawing/2014/main" id="{16986D34-E1C9-4768-AA5F-9CCF2CC64EDA}"/>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317" name="Rechthoek 316">
              <a:extLst>
                <a:ext uri="{FF2B5EF4-FFF2-40B4-BE49-F238E27FC236}">
                  <a16:creationId xmlns:a16="http://schemas.microsoft.com/office/drawing/2014/main" id="{80C3275E-427E-4F57-AA86-8AFD3708469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318" name="Ovaal 317">
              <a:extLst>
                <a:ext uri="{FF2B5EF4-FFF2-40B4-BE49-F238E27FC236}">
                  <a16:creationId xmlns:a16="http://schemas.microsoft.com/office/drawing/2014/main" id="{3C000680-DAD4-4F26-A92C-DFD09F0250D9}"/>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9" name="Rechthoek 318">
              <a:extLst>
                <a:ext uri="{FF2B5EF4-FFF2-40B4-BE49-F238E27FC236}">
                  <a16:creationId xmlns:a16="http://schemas.microsoft.com/office/drawing/2014/main" id="{D4ABAF02-5F5D-4FA2-8BD8-2E43E086F0F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20" name="Groep 319">
              <a:extLst>
                <a:ext uri="{FF2B5EF4-FFF2-40B4-BE49-F238E27FC236}">
                  <a16:creationId xmlns:a16="http://schemas.microsoft.com/office/drawing/2014/main" id="{DC9C785A-5E87-4A6B-8A1E-7BED55D126D9}"/>
                </a:ext>
              </a:extLst>
            </p:cNvPr>
            <p:cNvGrpSpPr/>
            <p:nvPr userDrawn="1"/>
          </p:nvGrpSpPr>
          <p:grpSpPr>
            <a:xfrm>
              <a:off x="12757282" y="2184550"/>
              <a:ext cx="825500" cy="209550"/>
              <a:chOff x="13504624" y="2482850"/>
              <a:chExt cx="825500" cy="209550"/>
            </a:xfrm>
          </p:grpSpPr>
          <p:sp>
            <p:nvSpPr>
              <p:cNvPr id="331" name="Rechthoek 330">
                <a:extLst>
                  <a:ext uri="{FF2B5EF4-FFF2-40B4-BE49-F238E27FC236}">
                    <a16:creationId xmlns:a16="http://schemas.microsoft.com/office/drawing/2014/main" id="{6502314D-9C1A-4A3F-AD62-1D6DC875150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332" name="Rechte verbindingslijn 331">
                <a:extLst>
                  <a:ext uri="{FF2B5EF4-FFF2-40B4-BE49-F238E27FC236}">
                    <a16:creationId xmlns:a16="http://schemas.microsoft.com/office/drawing/2014/main" id="{A8E1C660-F930-40FA-8788-C7F8E2E2FC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33" name="Gelijkbenige driehoek 332">
                <a:extLst>
                  <a:ext uri="{FF2B5EF4-FFF2-40B4-BE49-F238E27FC236}">
                    <a16:creationId xmlns:a16="http://schemas.microsoft.com/office/drawing/2014/main" id="{704CD03F-27AF-457C-BDE3-A91571FFDC2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321" name="Rechte verbindingslijn 320">
              <a:extLst>
                <a:ext uri="{FF2B5EF4-FFF2-40B4-BE49-F238E27FC236}">
                  <a16:creationId xmlns:a16="http://schemas.microsoft.com/office/drawing/2014/main" id="{16C9B4F3-5660-48AE-B2B0-115EE32E95C3}"/>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322" name="Tabel icoon">
              <a:extLst>
                <a:ext uri="{FF2B5EF4-FFF2-40B4-BE49-F238E27FC236}">
                  <a16:creationId xmlns:a16="http://schemas.microsoft.com/office/drawing/2014/main" id="{3AD7280B-CA10-417D-AD8B-9C0A15FC8837}"/>
                </a:ext>
              </a:extLst>
            </p:cNvPr>
            <p:cNvGrpSpPr/>
            <p:nvPr userDrawn="1"/>
          </p:nvGrpSpPr>
          <p:grpSpPr>
            <a:xfrm>
              <a:off x="12757283" y="1133664"/>
              <a:ext cx="375500" cy="339168"/>
              <a:chOff x="6072040" y="3376043"/>
              <a:chExt cx="1227920" cy="1109109"/>
            </a:xfrm>
          </p:grpSpPr>
          <p:sp>
            <p:nvSpPr>
              <p:cNvPr id="323" name="Rechthoek 322">
                <a:extLst>
                  <a:ext uri="{FF2B5EF4-FFF2-40B4-BE49-F238E27FC236}">
                    <a16:creationId xmlns:a16="http://schemas.microsoft.com/office/drawing/2014/main" id="{410C6B0F-C9DD-4634-9F26-0D66AB174194}"/>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324" name="Rechthoek 323">
                <a:extLst>
                  <a:ext uri="{FF2B5EF4-FFF2-40B4-BE49-F238E27FC236}">
                    <a16:creationId xmlns:a16="http://schemas.microsoft.com/office/drawing/2014/main" id="{948678FB-847A-41FF-9195-84A6FC5ECF1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325" name="Rechte verbindingslijn 324">
                <a:extLst>
                  <a:ext uri="{FF2B5EF4-FFF2-40B4-BE49-F238E27FC236}">
                    <a16:creationId xmlns:a16="http://schemas.microsoft.com/office/drawing/2014/main" id="{D78B3CE6-06EB-4830-A143-984E35D9179A}"/>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6" name="Rechte verbindingslijn 325">
                <a:extLst>
                  <a:ext uri="{FF2B5EF4-FFF2-40B4-BE49-F238E27FC236}">
                    <a16:creationId xmlns:a16="http://schemas.microsoft.com/office/drawing/2014/main" id="{8A20F3A5-67E5-4428-8175-2B7A9E42632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7" name="Rechte verbindingslijn 326">
                <a:extLst>
                  <a:ext uri="{FF2B5EF4-FFF2-40B4-BE49-F238E27FC236}">
                    <a16:creationId xmlns:a16="http://schemas.microsoft.com/office/drawing/2014/main" id="{2A5B27AE-9E33-4DB0-AD80-0B3CB69FA5A9}"/>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8" name="Rechte verbindingslijn 327">
                <a:extLst>
                  <a:ext uri="{FF2B5EF4-FFF2-40B4-BE49-F238E27FC236}">
                    <a16:creationId xmlns:a16="http://schemas.microsoft.com/office/drawing/2014/main" id="{31EB11D2-91D1-4149-89C5-1F40DF5C036D}"/>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29" name="Rechte verbindingslijn 328">
                <a:extLst>
                  <a:ext uri="{FF2B5EF4-FFF2-40B4-BE49-F238E27FC236}">
                    <a16:creationId xmlns:a16="http://schemas.microsoft.com/office/drawing/2014/main" id="{4798BE63-A488-4485-BA78-F6FE6FBD7374}"/>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30" name="Rechthoek 329">
                <a:extLst>
                  <a:ext uri="{FF2B5EF4-FFF2-40B4-BE49-F238E27FC236}">
                    <a16:creationId xmlns:a16="http://schemas.microsoft.com/office/drawing/2014/main" id="{8AD466E9-BB10-4396-A03F-ED67DCB0F10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2579818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23073-572C-4F04-B89A-B107AB932F47}"/>
              </a:ext>
            </a:extLst>
          </p:cNvPr>
          <p:cNvSpPr>
            <a:spLocks noGrp="1"/>
          </p:cNvSpPr>
          <p:nvPr>
            <p:ph type="title" hasCustomPrompt="1"/>
          </p:nvPr>
        </p:nvSpPr>
        <p:spPr/>
        <p:txBody>
          <a:bodyPr/>
          <a:lstStyle>
            <a:lvl1pPr>
              <a:defRPr/>
            </a:lvl1pPr>
          </a:lstStyle>
          <a:p>
            <a:r>
              <a:rPr lang="nl-NL" noProof="0"/>
              <a:t>Voeg hier een titel in</a:t>
            </a:r>
            <a:endParaRPr lang="nl-NL"/>
          </a:p>
        </p:txBody>
      </p:sp>
      <p:sp>
        <p:nvSpPr>
          <p:cNvPr id="4" name="Tijdelijke aanduiding voor datum 3">
            <a:extLst>
              <a:ext uri="{FF2B5EF4-FFF2-40B4-BE49-F238E27FC236}">
                <a16:creationId xmlns:a16="http://schemas.microsoft.com/office/drawing/2014/main" id="{DABA8B2F-5EFD-4A05-8481-248C853EA1DE}"/>
              </a:ext>
            </a:extLst>
          </p:cNvPr>
          <p:cNvSpPr>
            <a:spLocks noGrp="1"/>
          </p:cNvSpPr>
          <p:nvPr>
            <p:ph type="dt" sz="half" idx="10"/>
          </p:nvPr>
        </p:nvSpPr>
        <p:spPr/>
        <p:txBody>
          <a:bodyPr/>
          <a:lstStyle/>
          <a:p>
            <a:fld id="{1978AA17-878B-48EF-819A-CEC642EDAA36}"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7D35606D-4D2E-4F0A-88AD-FA9467155265}"/>
              </a:ext>
            </a:extLst>
          </p:cNvPr>
          <p:cNvSpPr>
            <a:spLocks noGrp="1"/>
          </p:cNvSpPr>
          <p:nvPr>
            <p:ph type="ftr" sz="quarter" idx="11"/>
          </p:nvPr>
        </p:nvSpPr>
        <p:spPr/>
        <p:txBody>
          <a:body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A7656491-ADD5-4A7E-BAFA-5FCFF07D6EB0}"/>
              </a:ext>
            </a:extLst>
          </p:cNvPr>
          <p:cNvSpPr>
            <a:spLocks noGrp="1"/>
          </p:cNvSpPr>
          <p:nvPr>
            <p:ph type="sldNum" sz="quarter" idx="12"/>
          </p:nvPr>
        </p:nvSpPr>
        <p:spPr/>
        <p:txBody>
          <a:bodyPr/>
          <a:lstStyle/>
          <a:p>
            <a:fld id="{8D374ABD-355D-4B52-8A38-020B3DD5CC75}" type="slidenum">
              <a:rPr lang="nl-NL" smtClean="0"/>
              <a:t>‹#›</a:t>
            </a:fld>
            <a:endParaRPr lang="nl-NL"/>
          </a:p>
        </p:txBody>
      </p:sp>
      <p:sp>
        <p:nvSpPr>
          <p:cNvPr id="7" name="Tijdelijke aanduiding voor tekst 32">
            <a:extLst>
              <a:ext uri="{FF2B5EF4-FFF2-40B4-BE49-F238E27FC236}">
                <a16:creationId xmlns:a16="http://schemas.microsoft.com/office/drawing/2014/main" id="{7175F566-3665-4B0F-B70C-72779DF2FDD6}"/>
              </a:ext>
            </a:extLst>
          </p:cNvPr>
          <p:cNvSpPr>
            <a:spLocks noGrp="1"/>
          </p:cNvSpPr>
          <p:nvPr>
            <p:ph type="body" sz="quarter" idx="13" hasCustomPrompt="1"/>
          </p:nvPr>
        </p:nvSpPr>
        <p:spPr>
          <a:xfrm>
            <a:off x="539998" y="839972"/>
            <a:ext cx="11112000" cy="259612"/>
          </a:xfrm>
        </p:spPr>
        <p:txBody>
          <a:bodyPr/>
          <a:lstStyle>
            <a:lvl1pPr marL="0" indent="0">
              <a:buNone/>
              <a:defRPr sz="2000" b="0">
                <a:solidFill>
                  <a:schemeClr val="accent1"/>
                </a:solidFill>
              </a:defRPr>
            </a:lvl1pPr>
          </a:lstStyle>
          <a:p>
            <a:pPr lvl="0"/>
            <a:r>
              <a:rPr lang="nl-NL" noProof="0"/>
              <a:t>Voeg hier een subtitel in</a:t>
            </a:r>
          </a:p>
        </p:txBody>
      </p:sp>
      <p:sp>
        <p:nvSpPr>
          <p:cNvPr id="17" name="Tijdelijke aanduiding voor tekst 34">
            <a:extLst>
              <a:ext uri="{FF2B5EF4-FFF2-40B4-BE49-F238E27FC236}">
                <a16:creationId xmlns:a16="http://schemas.microsoft.com/office/drawing/2014/main" id="{9955CEC2-0160-42D3-9E2E-941A4A11119D}"/>
              </a:ext>
            </a:extLst>
          </p:cNvPr>
          <p:cNvSpPr>
            <a:spLocks noGrp="1"/>
          </p:cNvSpPr>
          <p:nvPr>
            <p:ph type="body" sz="quarter" idx="14" hasCustomPrompt="1"/>
          </p:nvPr>
        </p:nvSpPr>
        <p:spPr>
          <a:xfrm>
            <a:off x="539749" y="5758889"/>
            <a:ext cx="11112249" cy="147981"/>
          </a:xfrm>
        </p:spPr>
        <p:txBody>
          <a:bodyPr anchor="b"/>
          <a:lstStyle>
            <a:lvl1pPr marL="0" indent="0">
              <a:buNone/>
              <a:defRPr sz="1000" i="1"/>
            </a:lvl1pPr>
          </a:lstStyle>
          <a:p>
            <a:pPr lvl="0"/>
            <a:r>
              <a:rPr lang="nl-NL" noProof="0"/>
              <a:t>Bron…</a:t>
            </a:r>
          </a:p>
        </p:txBody>
      </p:sp>
      <p:sp>
        <p:nvSpPr>
          <p:cNvPr id="18" name="Rechthoek: afgeronde hoeken 17">
            <a:extLst>
              <a:ext uri="{FF2B5EF4-FFF2-40B4-BE49-F238E27FC236}">
                <a16:creationId xmlns:a16="http://schemas.microsoft.com/office/drawing/2014/main" id="{765A9402-96DA-4D08-A873-873C05E81C86}"/>
              </a:ext>
            </a:extLst>
          </p:cNvPr>
          <p:cNvSpPr/>
          <p:nvPr userDrawn="1"/>
        </p:nvSpPr>
        <p:spPr>
          <a:xfrm>
            <a:off x="3048000" y="-491319"/>
            <a:ext cx="6096000" cy="3002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r>
              <a:rPr lang="nl-NL" sz="2800" b="0" cap="all" baseline="0" noProof="0">
                <a:solidFill>
                  <a:schemeClr val="accent1"/>
                </a:solidFill>
                <a:latin typeface="+mn-lt"/>
              </a:rPr>
              <a:t>Tabel</a:t>
            </a:r>
          </a:p>
        </p:txBody>
      </p:sp>
      <p:sp>
        <p:nvSpPr>
          <p:cNvPr id="22" name="Tijdelijke aanduiding voor tabel 8">
            <a:extLst>
              <a:ext uri="{FF2B5EF4-FFF2-40B4-BE49-F238E27FC236}">
                <a16:creationId xmlns:a16="http://schemas.microsoft.com/office/drawing/2014/main" id="{3A7B68F0-B315-4D78-8510-1A733C0EE1BD}"/>
              </a:ext>
            </a:extLst>
          </p:cNvPr>
          <p:cNvSpPr>
            <a:spLocks noGrp="1"/>
          </p:cNvSpPr>
          <p:nvPr>
            <p:ph type="tbl" sz="quarter" idx="17" hasCustomPrompt="1"/>
          </p:nvPr>
        </p:nvSpPr>
        <p:spPr>
          <a:xfrm>
            <a:off x="539749" y="1459112"/>
            <a:ext cx="11112251" cy="4119774"/>
          </a:xfrm>
          <a:solidFill>
            <a:schemeClr val="bg1">
              <a:lumMod val="95000"/>
            </a:schemeClr>
          </a:solidFill>
        </p:spPr>
        <p:txBody>
          <a:bodyPr tIns="1620000"/>
          <a:lstStyle>
            <a:lvl1pPr marL="0" marR="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sz="1200" i="1">
                <a:solidFill>
                  <a:schemeClr val="bg1">
                    <a:lumMod val="50000"/>
                  </a:schemeClr>
                </a:solidFill>
              </a:defRPr>
            </a:lvl1pPr>
          </a:lstStyle>
          <a:p>
            <a:pPr marL="0" marR="0" lvl="0" indent="0" algn="ctr" defTabSz="914400" rtl="0" eaLnBrk="1" fontAlgn="auto" latinLnBrk="0" hangingPunct="1">
              <a:lnSpc>
                <a:spcPct val="90000"/>
              </a:lnSpc>
              <a:spcBef>
                <a:spcPts val="500"/>
              </a:spcBef>
              <a:spcAft>
                <a:spcPts val="500"/>
              </a:spcAft>
              <a:buClr>
                <a:schemeClr val="bg2"/>
              </a:buClr>
              <a:buSzTx/>
              <a:buFont typeface="Wingdings" panose="05000000000000000000" pitchFamily="2" charset="2"/>
              <a:buNone/>
              <a:tabLst/>
              <a:defRPr/>
            </a:pPr>
            <a:r>
              <a:rPr lang="nl-NL" noProof="0"/>
              <a:t>Klik op onderstaand pictogram om een tabel in te voegen</a:t>
            </a:r>
          </a:p>
        </p:txBody>
      </p:sp>
      <p:sp>
        <p:nvSpPr>
          <p:cNvPr id="21" name="Tijdelijke aanduiding voor tekst 43">
            <a:extLst>
              <a:ext uri="{FF2B5EF4-FFF2-40B4-BE49-F238E27FC236}">
                <a16:creationId xmlns:a16="http://schemas.microsoft.com/office/drawing/2014/main" id="{E9870227-35F5-4343-95B9-F4996570B217}"/>
              </a:ext>
            </a:extLst>
          </p:cNvPr>
          <p:cNvSpPr>
            <a:spLocks noGrp="1"/>
          </p:cNvSpPr>
          <p:nvPr>
            <p:ph type="body" sz="quarter" idx="15" hasCustomPrompt="1"/>
          </p:nvPr>
        </p:nvSpPr>
        <p:spPr>
          <a:xfrm>
            <a:off x="540000" y="0"/>
            <a:ext cx="1080000" cy="72000"/>
          </a:xfrm>
          <a:solidFill>
            <a:schemeClr val="accent1"/>
          </a:solidFill>
        </p:spPr>
        <p:txBody>
          <a:bodyPr/>
          <a:lstStyle>
            <a:lvl1pPr marL="0" indent="0">
              <a:buNone/>
              <a:defRPr sz="100">
                <a:solidFill>
                  <a:schemeClr val="bg2"/>
                </a:solidFill>
              </a:defRPr>
            </a:lvl1pPr>
            <a:lvl5pPr>
              <a:defRPr/>
            </a:lvl5pPr>
          </a:lstStyle>
          <a:p>
            <a:pPr lvl="0"/>
            <a:r>
              <a:rPr lang="en-GB"/>
              <a:t> </a:t>
            </a:r>
          </a:p>
        </p:txBody>
      </p:sp>
      <p:grpSp>
        <p:nvGrpSpPr>
          <p:cNvPr id="41" name="Instructie">
            <a:extLst>
              <a:ext uri="{FF2B5EF4-FFF2-40B4-BE49-F238E27FC236}">
                <a16:creationId xmlns:a16="http://schemas.microsoft.com/office/drawing/2014/main" id="{42FBC1ED-EE6F-4E5A-84CA-0283E514C9D5}"/>
              </a:ext>
            </a:extLst>
          </p:cNvPr>
          <p:cNvGrpSpPr/>
          <p:nvPr userDrawn="1"/>
        </p:nvGrpSpPr>
        <p:grpSpPr>
          <a:xfrm>
            <a:off x="12391601" y="0"/>
            <a:ext cx="3183677" cy="2499789"/>
            <a:chOff x="12391601" y="0"/>
            <a:chExt cx="3183677" cy="2499789"/>
          </a:xfrm>
        </p:grpSpPr>
        <p:sp>
          <p:nvSpPr>
            <p:cNvPr id="42" name="Rechthoek 41">
              <a:extLst>
                <a:ext uri="{FF2B5EF4-FFF2-40B4-BE49-F238E27FC236}">
                  <a16:creationId xmlns:a16="http://schemas.microsoft.com/office/drawing/2014/main" id="{DF4754D5-DE56-4EE2-A860-06CAD88F5DF8}"/>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bg1">
                      <a:lumMod val="50000"/>
                    </a:schemeClr>
                  </a:solidFill>
                  <a:effectLst/>
                  <a:uLnTx/>
                  <a:uFillTx/>
                  <a:latin typeface="+mj-lt"/>
                  <a:cs typeface="Segoe UI Light" panose="020B0502040204020203" pitchFamily="34" charset="0"/>
                </a:rPr>
                <a:t>Tabel invoegen/veranderen</a:t>
              </a:r>
            </a:p>
          </p:txBody>
        </p:sp>
        <p:sp>
          <p:nvSpPr>
            <p:cNvPr id="43" name="Ovaal 42">
              <a:extLst>
                <a:ext uri="{FF2B5EF4-FFF2-40B4-BE49-F238E27FC236}">
                  <a16:creationId xmlns:a16="http://schemas.microsoft.com/office/drawing/2014/main" id="{B2EF2DAF-0E72-4527-BF24-D5972B43A1E1}"/>
                </a:ext>
              </a:extLst>
            </p:cNvPr>
            <p:cNvSpPr/>
            <p:nvPr userDrawn="1"/>
          </p:nvSpPr>
          <p:spPr>
            <a:xfrm>
              <a:off x="12391601" y="366490"/>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4" name="Rechte verbindingslijn 43">
              <a:extLst>
                <a:ext uri="{FF2B5EF4-FFF2-40B4-BE49-F238E27FC236}">
                  <a16:creationId xmlns:a16="http://schemas.microsoft.com/office/drawing/2014/main" id="{297AAD0B-37E7-4686-941F-4662C812C44F}"/>
                </a:ext>
              </a:extLst>
            </p:cNvPr>
            <p:cNvCxnSpPr>
              <a:cxnSpLocks/>
            </p:cNvCxnSpPr>
            <p:nvPr userDrawn="1"/>
          </p:nvCxnSpPr>
          <p:spPr>
            <a:xfrm>
              <a:off x="12397261" y="241635"/>
              <a:ext cx="3178017" cy="0"/>
            </a:xfrm>
            <a:prstGeom prst="line">
              <a:avLst/>
            </a:prstGeom>
            <a:noFill/>
            <a:ln w="3175" cap="flat" cmpd="sng" algn="ctr">
              <a:solidFill>
                <a:schemeClr val="bg1">
                  <a:lumMod val="50000"/>
                </a:schemeClr>
              </a:solidFill>
              <a:prstDash val="solid"/>
            </a:ln>
            <a:effectLst/>
          </p:spPr>
        </p:cxnSp>
        <p:cxnSp>
          <p:nvCxnSpPr>
            <p:cNvPr id="45" name="Rechte verbindingslijn 44">
              <a:extLst>
                <a:ext uri="{FF2B5EF4-FFF2-40B4-BE49-F238E27FC236}">
                  <a16:creationId xmlns:a16="http://schemas.microsoft.com/office/drawing/2014/main" id="{BC792BCC-6082-476C-B5AD-4EAE1520B86B}"/>
                </a:ext>
              </a:extLst>
            </p:cNvPr>
            <p:cNvCxnSpPr>
              <a:cxnSpLocks/>
            </p:cNvCxnSpPr>
            <p:nvPr userDrawn="1"/>
          </p:nvCxnSpPr>
          <p:spPr>
            <a:xfrm>
              <a:off x="12397261" y="1577933"/>
              <a:ext cx="3178017" cy="0"/>
            </a:xfrm>
            <a:prstGeom prst="line">
              <a:avLst/>
            </a:prstGeom>
            <a:noFill/>
            <a:ln w="3175" cap="flat" cmpd="sng" algn="ctr">
              <a:solidFill>
                <a:schemeClr val="bg1">
                  <a:lumMod val="50000"/>
                </a:schemeClr>
              </a:solidFill>
              <a:prstDash val="solid"/>
            </a:ln>
            <a:effectLst/>
          </p:spPr>
        </p:cxnSp>
        <p:sp>
          <p:nvSpPr>
            <p:cNvPr id="46" name="Rechthoek 45">
              <a:extLst>
                <a:ext uri="{FF2B5EF4-FFF2-40B4-BE49-F238E27FC236}">
                  <a16:creationId xmlns:a16="http://schemas.microsoft.com/office/drawing/2014/main" id="{4E6ED860-C858-4869-BE40-F32240A07ED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tabel d.m.v.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knop</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7" name="Ovaal 46">
              <a:extLst>
                <a:ext uri="{FF2B5EF4-FFF2-40B4-BE49-F238E27FC236}">
                  <a16:creationId xmlns:a16="http://schemas.microsoft.com/office/drawing/2014/main" id="{362ED69E-A120-4E71-927D-BE70F8696B7D}"/>
                </a:ext>
              </a:extLst>
            </p:cNvPr>
            <p:cNvSpPr/>
            <p:nvPr userDrawn="1"/>
          </p:nvSpPr>
          <p:spPr>
            <a:xfrm>
              <a:off x="12391601" y="1706398"/>
              <a:ext cx="260914" cy="259683"/>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 name="Rechthoek 47">
              <a:extLst>
                <a:ext uri="{FF2B5EF4-FFF2-40B4-BE49-F238E27FC236}">
                  <a16:creationId xmlns:a16="http://schemas.microsoft.com/office/drawing/2014/main" id="{EDD63F0A-B561-454B-850F-8C02C930AB73}"/>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9" name="Groep 48">
              <a:extLst>
                <a:ext uri="{FF2B5EF4-FFF2-40B4-BE49-F238E27FC236}">
                  <a16:creationId xmlns:a16="http://schemas.microsoft.com/office/drawing/2014/main" id="{6EF274DC-C092-405D-94A5-FC67534BB2E1}"/>
                </a:ext>
              </a:extLst>
            </p:cNvPr>
            <p:cNvGrpSpPr/>
            <p:nvPr userDrawn="1"/>
          </p:nvGrpSpPr>
          <p:grpSpPr>
            <a:xfrm>
              <a:off x="12757282" y="2184550"/>
              <a:ext cx="825500" cy="209550"/>
              <a:chOff x="13504624" y="2482850"/>
              <a:chExt cx="825500" cy="209550"/>
            </a:xfrm>
          </p:grpSpPr>
          <p:sp>
            <p:nvSpPr>
              <p:cNvPr id="60" name="Rechthoek 59">
                <a:extLst>
                  <a:ext uri="{FF2B5EF4-FFF2-40B4-BE49-F238E27FC236}">
                    <a16:creationId xmlns:a16="http://schemas.microsoft.com/office/drawing/2014/main" id="{19CB3C8A-E064-40B2-98F3-E454EAC98DA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OK</a:t>
                </a:r>
              </a:p>
            </p:txBody>
          </p:sp>
          <p:cxnSp>
            <p:nvCxnSpPr>
              <p:cNvPr id="61" name="Rechte verbindingslijn 60">
                <a:extLst>
                  <a:ext uri="{FF2B5EF4-FFF2-40B4-BE49-F238E27FC236}">
                    <a16:creationId xmlns:a16="http://schemas.microsoft.com/office/drawing/2014/main" id="{BAF23CE3-1113-4FE8-B53A-E5C0F149AD5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62" name="Gelijkbenige driehoek 61">
                <a:extLst>
                  <a:ext uri="{FF2B5EF4-FFF2-40B4-BE49-F238E27FC236}">
                    <a16:creationId xmlns:a16="http://schemas.microsoft.com/office/drawing/2014/main" id="{ED7A6F93-C3F6-4D35-A1D7-80FFF565838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cxnSp>
          <p:nvCxnSpPr>
            <p:cNvPr id="50" name="Rechte verbindingslijn 49">
              <a:extLst>
                <a:ext uri="{FF2B5EF4-FFF2-40B4-BE49-F238E27FC236}">
                  <a16:creationId xmlns:a16="http://schemas.microsoft.com/office/drawing/2014/main" id="{DF05761D-C45F-481B-827F-A7C20E6BCA95}"/>
                </a:ext>
              </a:extLst>
            </p:cNvPr>
            <p:cNvCxnSpPr>
              <a:cxnSpLocks/>
            </p:cNvCxnSpPr>
            <p:nvPr userDrawn="1"/>
          </p:nvCxnSpPr>
          <p:spPr>
            <a:xfrm>
              <a:off x="12397261" y="2499789"/>
              <a:ext cx="3178017" cy="0"/>
            </a:xfrm>
            <a:prstGeom prst="line">
              <a:avLst/>
            </a:prstGeom>
            <a:noFill/>
            <a:ln w="3175" cap="flat" cmpd="sng" algn="ctr">
              <a:solidFill>
                <a:schemeClr val="bg1">
                  <a:lumMod val="50000"/>
                </a:schemeClr>
              </a:solidFill>
              <a:prstDash val="solid"/>
            </a:ln>
            <a:effectLst/>
          </p:spPr>
        </p:cxnSp>
        <p:grpSp>
          <p:nvGrpSpPr>
            <p:cNvPr id="51" name="Tabel icoon">
              <a:extLst>
                <a:ext uri="{FF2B5EF4-FFF2-40B4-BE49-F238E27FC236}">
                  <a16:creationId xmlns:a16="http://schemas.microsoft.com/office/drawing/2014/main" id="{5EAD34A7-E242-4F6A-ACF1-864B15587138}"/>
                </a:ext>
              </a:extLst>
            </p:cNvPr>
            <p:cNvGrpSpPr/>
            <p:nvPr userDrawn="1"/>
          </p:nvGrpSpPr>
          <p:grpSpPr>
            <a:xfrm>
              <a:off x="12757283" y="1133664"/>
              <a:ext cx="375500" cy="339168"/>
              <a:chOff x="6072040" y="3376043"/>
              <a:chExt cx="1227920" cy="1109109"/>
            </a:xfrm>
          </p:grpSpPr>
          <p:sp>
            <p:nvSpPr>
              <p:cNvPr id="52" name="Rechthoek 51">
                <a:extLst>
                  <a:ext uri="{FF2B5EF4-FFF2-40B4-BE49-F238E27FC236}">
                    <a16:creationId xmlns:a16="http://schemas.microsoft.com/office/drawing/2014/main" id="{8CE3C954-D297-458D-A189-29A98D0C2EE1}"/>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sp>
            <p:nvSpPr>
              <p:cNvPr id="53" name="Rechthoek 52">
                <a:extLst>
                  <a:ext uri="{FF2B5EF4-FFF2-40B4-BE49-F238E27FC236}">
                    <a16:creationId xmlns:a16="http://schemas.microsoft.com/office/drawing/2014/main" id="{BE3502DD-0DF7-4C04-A608-D6EF84CC022E}"/>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cxnSp>
            <p:nvCxnSpPr>
              <p:cNvPr id="54" name="Rechte verbindingslijn 53">
                <a:extLst>
                  <a:ext uri="{FF2B5EF4-FFF2-40B4-BE49-F238E27FC236}">
                    <a16:creationId xmlns:a16="http://schemas.microsoft.com/office/drawing/2014/main" id="{1CEC8736-D674-4573-BDE6-1D329D735175}"/>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5" name="Rechte verbindingslijn 54">
                <a:extLst>
                  <a:ext uri="{FF2B5EF4-FFF2-40B4-BE49-F238E27FC236}">
                    <a16:creationId xmlns:a16="http://schemas.microsoft.com/office/drawing/2014/main" id="{C5D8B1FD-8C8E-4A82-AC75-6A186F79209E}"/>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885D6CEC-C122-4568-BE44-17932EFFCDA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AD9B3590-09C3-4D85-B813-DDCBF88FAA5F}"/>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7EE41E3A-9F52-47B8-A9AC-944E657D362B}"/>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59" name="Rechthoek 58">
                <a:extLst>
                  <a:ext uri="{FF2B5EF4-FFF2-40B4-BE49-F238E27FC236}">
                    <a16:creationId xmlns:a16="http://schemas.microsoft.com/office/drawing/2014/main" id="{C2F4FD23-A5FD-436B-AC3C-7BFB4B651544}"/>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p>
            </p:txBody>
          </p:sp>
        </p:grpSp>
      </p:grpSp>
    </p:spTree>
    <p:extLst>
      <p:ext uri="{BB962C8B-B14F-4D97-AF65-F5344CB8AC3E}">
        <p14:creationId xmlns:p14="http://schemas.microsoft.com/office/powerpoint/2010/main" val="12503647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21" Type="http://schemas.openxmlformats.org/officeDocument/2006/relationships/slideLayout" Target="../slideLayouts/slideLayout48.xml"/><Relationship Id="rId34" Type="http://schemas.openxmlformats.org/officeDocument/2006/relationships/tags" Target="../tags/tag5.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theme" Target="../theme/theme2.xml"/><Relationship Id="rId38" Type="http://schemas.openxmlformats.org/officeDocument/2006/relationships/image" Target="../media/image8.tiff"/><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image" Target="../media/image7.emf"/><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image" Target="../media/image6.emf"/><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oleObject" Target="../embeddings/oleObject4.bin"/><Relationship Id="rId8" Type="http://schemas.openxmlformats.org/officeDocument/2006/relationships/slideLayout" Target="../slideLayouts/slideLayout35.xml"/><Relationship Id="rId3"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14.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3.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image" Target="../media/image14.png"/><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theme" Target="../theme/theme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heme" Target="../theme/theme5.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3213357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14" name="Afgeronde rechthoek 13"/>
          <p:cNvSpPr/>
          <p:nvPr/>
        </p:nvSpPr>
        <p:spPr>
          <a:xfrm>
            <a:off x="248357" y="186267"/>
            <a:ext cx="11672711" cy="6480000"/>
          </a:xfrm>
          <a:prstGeom prst="roundRect">
            <a:avLst>
              <a:gd name="adj" fmla="val 2033"/>
            </a:avLst>
          </a:prstGeom>
          <a:gradFill>
            <a:gsLst>
              <a:gs pos="100000">
                <a:schemeClr val="bg1"/>
              </a:gs>
              <a:gs pos="0">
                <a:srgbClr val="C8C8C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8" name="Vrije vorm 17"/>
          <p:cNvSpPr/>
          <p:nvPr/>
        </p:nvSpPr>
        <p:spPr bwMode="gray">
          <a:xfrm>
            <a:off x="0" y="0"/>
            <a:ext cx="12192000" cy="6858000"/>
          </a:xfrm>
          <a:custGeom>
            <a:avLst/>
            <a:gdLst>
              <a:gd name="connsiteX0" fmla="*/ 323174 w 9144000"/>
              <a:gd name="connsiteY0" fmla="*/ 188913 h 6858000"/>
              <a:gd name="connsiteX1" fmla="*/ 179388 w 9144000"/>
              <a:gd name="connsiteY1" fmla="*/ 332699 h 6858000"/>
              <a:gd name="connsiteX2" fmla="*/ 179388 w 9144000"/>
              <a:gd name="connsiteY2" fmla="*/ 6548327 h 6858000"/>
              <a:gd name="connsiteX3" fmla="*/ 323174 w 9144000"/>
              <a:gd name="connsiteY3" fmla="*/ 6692113 h 6858000"/>
              <a:gd name="connsiteX4" fmla="*/ 8798602 w 9144000"/>
              <a:gd name="connsiteY4" fmla="*/ 6692113 h 6858000"/>
              <a:gd name="connsiteX5" fmla="*/ 8942388 w 9144000"/>
              <a:gd name="connsiteY5" fmla="*/ 6548327 h 6858000"/>
              <a:gd name="connsiteX6" fmla="*/ 8942388 w 9144000"/>
              <a:gd name="connsiteY6" fmla="*/ 332699 h 6858000"/>
              <a:gd name="connsiteX7" fmla="*/ 8798602 w 9144000"/>
              <a:gd name="connsiteY7" fmla="*/ 188913 h 6858000"/>
              <a:gd name="connsiteX8" fmla="*/ 0 w 9144000"/>
              <a:gd name="connsiteY8" fmla="*/ 0 h 6858000"/>
              <a:gd name="connsiteX9" fmla="*/ 9144000 w 9144000"/>
              <a:gd name="connsiteY9" fmla="*/ 0 h 6858000"/>
              <a:gd name="connsiteX10" fmla="*/ 9144000 w 9144000"/>
              <a:gd name="connsiteY10" fmla="*/ 6858000 h 6858000"/>
              <a:gd name="connsiteX11" fmla="*/ 0 w 9144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6858000">
                <a:moveTo>
                  <a:pt x="323174" y="188913"/>
                </a:moveTo>
                <a:cubicBezTo>
                  <a:pt x="243763" y="188913"/>
                  <a:pt x="179388" y="253288"/>
                  <a:pt x="179388" y="332699"/>
                </a:cubicBezTo>
                <a:lnTo>
                  <a:pt x="179388" y="6548327"/>
                </a:lnTo>
                <a:cubicBezTo>
                  <a:pt x="179388" y="6627738"/>
                  <a:pt x="243763" y="6692113"/>
                  <a:pt x="323174" y="6692113"/>
                </a:cubicBezTo>
                <a:lnTo>
                  <a:pt x="8798602" y="6692113"/>
                </a:lnTo>
                <a:cubicBezTo>
                  <a:pt x="8878013" y="6692113"/>
                  <a:pt x="8942388" y="6627738"/>
                  <a:pt x="8942388" y="6548327"/>
                </a:cubicBezTo>
                <a:lnTo>
                  <a:pt x="8942388" y="332699"/>
                </a:lnTo>
                <a:cubicBezTo>
                  <a:pt x="8942388" y="253288"/>
                  <a:pt x="8878013" y="188913"/>
                  <a:pt x="8798602" y="188913"/>
                </a:cubicBezTo>
                <a:close/>
                <a:moveTo>
                  <a:pt x="0" y="0"/>
                </a:moveTo>
                <a:lnTo>
                  <a:pt x="9144000" y="0"/>
                </a:lnTo>
                <a:lnTo>
                  <a:pt x="9144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 name="Title Placeholder 1"/>
          <p:cNvSpPr>
            <a:spLocks noGrp="1"/>
          </p:cNvSpPr>
          <p:nvPr>
            <p:ph type="title"/>
          </p:nvPr>
        </p:nvSpPr>
        <p:spPr>
          <a:xfrm>
            <a:off x="502651" y="533568"/>
            <a:ext cx="11122823" cy="584775"/>
          </a:xfrm>
          <a:prstGeom prst="rect">
            <a:avLst/>
          </a:prstGeom>
        </p:spPr>
        <p:txBody>
          <a:bodyPr vert="horz" lIns="91440" tIns="45720" rIns="91440" bIns="45720" rtlCol="0" anchor="t">
            <a:spAutoFit/>
          </a:bodyPr>
          <a:lstStyle/>
          <a:p>
            <a:endParaRPr lang="nl-NL" noProof="0"/>
          </a:p>
        </p:txBody>
      </p:sp>
      <p:sp>
        <p:nvSpPr>
          <p:cNvPr id="3" name="Text Placeholder 2"/>
          <p:cNvSpPr>
            <a:spLocks noGrp="1"/>
          </p:cNvSpPr>
          <p:nvPr>
            <p:ph type="body" idx="1"/>
          </p:nvPr>
        </p:nvSpPr>
        <p:spPr>
          <a:xfrm>
            <a:off x="502651" y="1703556"/>
            <a:ext cx="11122823" cy="4472257"/>
          </a:xfrm>
          <a:prstGeom prst="rect">
            <a:avLst/>
          </a:prstGeom>
        </p:spPr>
        <p:txBody>
          <a:bodyPr vert="horz" lIns="91440" tIns="45720" rIns="91440" bIns="45720" rtlCol="0">
            <a:noAutofit/>
          </a:body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5" name="Footer Placeholder 4"/>
          <p:cNvSpPr>
            <a:spLocks noGrp="1"/>
          </p:cNvSpPr>
          <p:nvPr>
            <p:ph type="ftr" sz="quarter" idx="3"/>
          </p:nvPr>
        </p:nvSpPr>
        <p:spPr>
          <a:xfrm>
            <a:off x="3793960" y="6387336"/>
            <a:ext cx="4719051" cy="230832"/>
          </a:xfrm>
          <a:prstGeom prst="rect">
            <a:avLst/>
          </a:prstGeom>
        </p:spPr>
        <p:txBody>
          <a:bodyPr vert="horz" wrap="square" lIns="0" tIns="45720" rIns="91440" bIns="45720" rtlCol="0" anchor="ctr">
            <a:spAutoFit/>
          </a:bodyPr>
          <a:lstStyle>
            <a:lvl1pPr algn="ctr">
              <a:defRPr sz="900">
                <a:solidFill>
                  <a:schemeClr val="tx1"/>
                </a:solidFill>
              </a:defRPr>
            </a:lvl1pPr>
          </a:lstStyle>
          <a:p>
            <a:endParaRPr lang="nl-NL" noProof="0"/>
          </a:p>
        </p:txBody>
      </p:sp>
      <p:sp>
        <p:nvSpPr>
          <p:cNvPr id="6" name="Slide Number Placeholder 5"/>
          <p:cNvSpPr>
            <a:spLocks noGrp="1"/>
          </p:cNvSpPr>
          <p:nvPr>
            <p:ph type="sldNum" sz="quarter" idx="4"/>
          </p:nvPr>
        </p:nvSpPr>
        <p:spPr>
          <a:xfrm>
            <a:off x="502654" y="6387336"/>
            <a:ext cx="566821" cy="230832"/>
          </a:xfrm>
          <a:prstGeom prst="rect">
            <a:avLst/>
          </a:prstGeom>
        </p:spPr>
        <p:txBody>
          <a:bodyPr vert="horz" lIns="91440" tIns="45720" rIns="91440" bIns="45720" rtlCol="0" anchor="ctr">
            <a:spAutoFit/>
          </a:bodyPr>
          <a:lstStyle>
            <a:lvl1pPr algn="l">
              <a:defRPr sz="900" b="1">
                <a:solidFill>
                  <a:schemeClr val="tx1"/>
                </a:solidFill>
              </a:defRPr>
            </a:lvl1pPr>
          </a:lstStyle>
          <a:p>
            <a:fld id="{8A87A398-2B52-41CE-AD18-FB681F1DBEA6}" type="slidenum">
              <a:rPr lang="nl-NL" noProof="0" smtClean="0"/>
              <a:pPr/>
              <a:t>‹#›</a:t>
            </a:fld>
            <a:endParaRPr lang="nl-NL" noProof="0"/>
          </a:p>
        </p:txBody>
      </p:sp>
      <p:grpSp>
        <p:nvGrpSpPr>
          <p:cNvPr id="16" name="Groep 15"/>
          <p:cNvGrpSpPr/>
          <p:nvPr/>
        </p:nvGrpSpPr>
        <p:grpSpPr>
          <a:xfrm>
            <a:off x="4398066" y="6768988"/>
            <a:ext cx="3497100" cy="89012"/>
            <a:chOff x="3298549" y="6768988"/>
            <a:chExt cx="2622825" cy="89012"/>
          </a:xfrm>
        </p:grpSpPr>
        <p:sp>
          <p:nvSpPr>
            <p:cNvPr id="17" name="Rechthoek 16"/>
            <p:cNvSpPr/>
            <p:nvPr/>
          </p:nvSpPr>
          <p:spPr>
            <a:xfrm>
              <a:off x="3298549" y="6768988"/>
              <a:ext cx="524565" cy="890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9" name="Rechthoek 18"/>
            <p:cNvSpPr/>
            <p:nvPr/>
          </p:nvSpPr>
          <p:spPr>
            <a:xfrm>
              <a:off x="3823114" y="6768988"/>
              <a:ext cx="524565" cy="8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2" name="Rechthoek 21"/>
            <p:cNvSpPr/>
            <p:nvPr/>
          </p:nvSpPr>
          <p:spPr>
            <a:xfrm>
              <a:off x="4347679" y="6768988"/>
              <a:ext cx="524565" cy="890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8" name="Rechthoek 27"/>
            <p:cNvSpPr/>
            <p:nvPr/>
          </p:nvSpPr>
          <p:spPr>
            <a:xfrm>
              <a:off x="4872244" y="6768988"/>
              <a:ext cx="524565" cy="890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9" name="Rechthoek 28"/>
            <p:cNvSpPr/>
            <p:nvPr/>
          </p:nvSpPr>
          <p:spPr>
            <a:xfrm>
              <a:off x="5396809" y="6768988"/>
              <a:ext cx="524565" cy="890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pic>
        <p:nvPicPr>
          <p:cNvPr id="21" name="Afbeelding 20"/>
          <p:cNvPicPr>
            <a:picLocks noChangeAspect="1"/>
          </p:cNvPicPr>
          <p:nvPr/>
        </p:nvPicPr>
        <p:blipFill>
          <a:blip r:embed="rId32"/>
          <a:stretch>
            <a:fillRect/>
          </a:stretch>
        </p:blipFill>
        <p:spPr>
          <a:xfrm>
            <a:off x="10624654" y="6391182"/>
            <a:ext cx="1018287" cy="216000"/>
          </a:xfrm>
          <a:prstGeom prst="rect">
            <a:avLst/>
          </a:prstGeom>
        </p:spPr>
      </p:pic>
      <p:sp>
        <p:nvSpPr>
          <p:cNvPr id="15" name="Footer Placeholder 4"/>
          <p:cNvSpPr txBox="1">
            <a:spLocks/>
          </p:cNvSpPr>
          <p:nvPr/>
        </p:nvSpPr>
        <p:spPr>
          <a:xfrm>
            <a:off x="502653" y="6605254"/>
            <a:ext cx="2869811" cy="230832"/>
          </a:xfrm>
          <a:prstGeom prst="rect">
            <a:avLst/>
          </a:prstGeom>
        </p:spPr>
        <p:txBody>
          <a:bodyPr vert="horz" wrap="square" lIns="90000" tIns="45720" rIns="90000" bIns="45720" rtlCol="0" anchor="ctr">
            <a:spAutoFit/>
          </a:bodyPr>
          <a:lstStyle>
            <a:defPPr>
              <a:defRPr lang="nl-NL"/>
            </a:defPPr>
            <a:lvl1pPr marL="0" algn="ctr" defTabSz="914400" rtl="0" eaLnBrk="1" latinLnBrk="0" hangingPunct="1">
              <a:defRPr sz="1000" i="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nl-NL" sz="900" i="0"/>
              <a:t>[Vertrouwelijk]</a:t>
            </a:r>
          </a:p>
        </p:txBody>
      </p:sp>
    </p:spTree>
    <p:extLst>
      <p:ext uri="{BB962C8B-B14F-4D97-AF65-F5344CB8AC3E}">
        <p14:creationId xmlns:p14="http://schemas.microsoft.com/office/powerpoint/2010/main" val="2803494676"/>
      </p:ext>
    </p:extLst>
  </p:cSld>
  <p:clrMap bg1="lt1" tx1="dk1" bg2="lt2" tx2="dk2" accent1="accent1" accent2="accent2" accent3="accent3" accent4="accent4" accent5="accent5" accent6="accent6" hlink="hlink" folHlink="folHlink"/>
  <p:sldLayoutIdLst>
    <p:sldLayoutId id="2147483672" r:id="rId1"/>
    <p:sldLayoutId id="2147483677" r:id="rId2"/>
    <p:sldLayoutId id="2147483683" r:id="rId3"/>
    <p:sldLayoutId id="2147483684" r:id="rId4"/>
    <p:sldLayoutId id="2147483685" r:id="rId5"/>
    <p:sldLayoutId id="2147483686" r:id="rId6"/>
    <p:sldLayoutId id="2147483687" r:id="rId7"/>
    <p:sldLayoutId id="2147483664" r:id="rId8"/>
    <p:sldLayoutId id="2147483676" r:id="rId9"/>
    <p:sldLayoutId id="2147483679" r:id="rId10"/>
    <p:sldLayoutId id="2147483680" r:id="rId11"/>
    <p:sldLayoutId id="2147483681" r:id="rId12"/>
    <p:sldLayoutId id="2147483682" r:id="rId13"/>
    <p:sldLayoutId id="2147483688" r:id="rId14"/>
    <p:sldLayoutId id="2147483689" r:id="rId15"/>
    <p:sldLayoutId id="2147483690" r:id="rId16"/>
    <p:sldLayoutId id="2147483691" r:id="rId17"/>
    <p:sldLayoutId id="2147483692" r:id="rId18"/>
    <p:sldLayoutId id="2147483693" r:id="rId19"/>
    <p:sldLayoutId id="2147483694" r:id="rId20"/>
    <p:sldLayoutId id="2147483666" r:id="rId21"/>
    <p:sldLayoutId id="2147483673" r:id="rId22"/>
    <p:sldLayoutId id="2147483674" r:id="rId23"/>
    <p:sldLayoutId id="2147483675" r:id="rId24"/>
    <p:sldLayoutId id="2147483667" r:id="rId25"/>
    <p:sldLayoutId id="2147483668" r:id="rId26"/>
    <p:sldLayoutId id="2147483700" r:id="rId27"/>
  </p:sldLayoutIdLst>
  <p:hf hdr="0" dt="0"/>
  <p:txStyles>
    <p:titleStyle>
      <a:lvl1pPr algn="l" defTabSz="914400" rtl="0" eaLnBrk="1" latinLnBrk="0" hangingPunct="1">
        <a:lnSpc>
          <a:spcPct val="100000"/>
        </a:lnSpc>
        <a:spcBef>
          <a:spcPct val="0"/>
        </a:spcBef>
        <a:buNone/>
        <a:defRPr sz="3200" b="1"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449263" indent="-18415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625475" indent="-176213"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3pPr>
      <a:lvl4pPr marL="809625" indent="-184150" algn="l" defTabSz="914400" rtl="0" eaLnBrk="1" latinLnBrk="0" hangingPunct="1">
        <a:lnSpc>
          <a:spcPct val="100000"/>
        </a:lnSpc>
        <a:spcBef>
          <a:spcPts val="0"/>
        </a:spcBef>
        <a:buFont typeface="Arial" panose="020B0604020202020204" pitchFamily="34" charset="0"/>
        <a:buChar char="•"/>
        <a:defRPr sz="1200" kern="1200">
          <a:solidFill>
            <a:schemeClr val="tx1"/>
          </a:solidFill>
          <a:latin typeface="+mn-lt"/>
          <a:ea typeface="+mn-ea"/>
          <a:cs typeface="+mn-cs"/>
        </a:defRPr>
      </a:lvl4pPr>
      <a:lvl5pPr marL="985838" indent="-176213" algn="l" defTabSz="914400" rtl="0" eaLnBrk="1" latinLnBrk="0" hangingPunct="1">
        <a:lnSpc>
          <a:spcPct val="100000"/>
        </a:lnSpc>
        <a:spcBef>
          <a:spcPts val="0"/>
        </a:spcBef>
        <a:buFont typeface="Arial" panose="020B060402020202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AFAB03C-65C5-4A82-A893-B87B513DBC9D}"/>
              </a:ext>
            </a:extLst>
          </p:cNvPr>
          <p:cNvGraphicFramePr>
            <a:graphicFrameLocks noChangeAspect="1"/>
          </p:cNvGraphicFramePr>
          <p:nvPr userDrawn="1">
            <p:custDataLst>
              <p:tags r:id="rId34"/>
            </p:custDataLst>
            <p:extLst>
              <p:ext uri="{D42A27DB-BD31-4B8C-83A1-F6EECF244321}">
                <p14:modId xmlns:p14="http://schemas.microsoft.com/office/powerpoint/2010/main" val="191209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98" imgH="499" progId="TCLayout.ActiveDocument.1">
                  <p:embed/>
                </p:oleObj>
              </mc:Choice>
              <mc:Fallback>
                <p:oleObj name="think-cell Slide" r:id="rId35" imgW="498" imgH="499" progId="TCLayout.ActiveDocument.1">
                  <p:embed/>
                  <p:pic>
                    <p:nvPicPr>
                      <p:cNvPr id="7" name="Object 6" hidden="1">
                        <a:extLst>
                          <a:ext uri="{FF2B5EF4-FFF2-40B4-BE49-F238E27FC236}">
                            <a16:creationId xmlns:a16="http://schemas.microsoft.com/office/drawing/2014/main" id="{5AFAB03C-65C5-4A82-A893-B87B513DBC9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540000" y="538833"/>
            <a:ext cx="11112000" cy="301139"/>
          </a:xfrm>
          <a:prstGeom prst="rect">
            <a:avLst/>
          </a:prstGeom>
        </p:spPr>
        <p:txBody>
          <a:bodyPr vert="horz" lIns="0" tIns="0" rIns="0" bIns="0" rtlCol="0" anchor="t">
            <a:noAutofit/>
          </a:bodyPr>
          <a:lstStyle/>
          <a:p>
            <a:r>
              <a:rPr lang="nl-NL" noProof="0"/>
              <a:t>Voeg hier een titel in</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539999" y="1459112"/>
            <a:ext cx="11112001" cy="4119774"/>
          </a:xfrm>
          <a:prstGeom prst="rect">
            <a:avLst/>
          </a:prstGeom>
        </p:spPr>
        <p:txBody>
          <a:bodyPr vert="horz" lIns="0" tIns="0" rIns="0" bIns="0" rtlCol="0">
            <a:noAutofit/>
          </a:body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8"/>
            <a:endParaRPr lang="nl-NL" noProof="0"/>
          </a:p>
        </p:txBody>
      </p:sp>
      <p:sp>
        <p:nvSpPr>
          <p:cNvPr id="20" name="Tekstvak 19">
            <a:extLst>
              <a:ext uri="{FF2B5EF4-FFF2-40B4-BE49-F238E27FC236}">
                <a16:creationId xmlns:a16="http://schemas.microsoft.com/office/drawing/2014/main" id="{88A106C3-3B5C-4817-A9B9-E1AA65368768}"/>
              </a:ext>
            </a:extLst>
          </p:cNvPr>
          <p:cNvSpPr txBox="1"/>
          <p:nvPr userDrawn="1"/>
        </p:nvSpPr>
        <p:spPr>
          <a:xfrm>
            <a:off x="5031475" y="-696037"/>
            <a:ext cx="2129051" cy="150127"/>
          </a:xfrm>
          <a:prstGeom prst="rect">
            <a:avLst/>
          </a:prstGeom>
          <a:noFill/>
        </p:spPr>
        <p:txBody>
          <a:bodyPr wrap="square" lIns="72000" tIns="0" rIns="72000" bIns="0" rtlCol="0">
            <a:noAutofit/>
          </a:bodyPr>
          <a:lstStyle/>
          <a:p>
            <a:pPr algn="ctr"/>
            <a:r>
              <a:rPr lang="nl-NL" sz="1200" b="0" cap="all" baseline="0" noProof="0">
                <a:latin typeface="+mn-lt"/>
              </a:rPr>
              <a:t>Naam van de indeling</a:t>
            </a:r>
          </a:p>
        </p:txBody>
      </p:sp>
      <p:grpSp>
        <p:nvGrpSpPr>
          <p:cNvPr id="96" name="GRID" hidden="1">
            <a:extLst>
              <a:ext uri="{FF2B5EF4-FFF2-40B4-BE49-F238E27FC236}">
                <a16:creationId xmlns:a16="http://schemas.microsoft.com/office/drawing/2014/main" id="{75B097B3-7A68-4D5C-B43B-DF33941C7F97}"/>
              </a:ext>
            </a:extLst>
          </p:cNvPr>
          <p:cNvGrpSpPr/>
          <p:nvPr userDrawn="1"/>
        </p:nvGrpSpPr>
        <p:grpSpPr>
          <a:xfrm>
            <a:off x="0" y="0"/>
            <a:ext cx="12192000" cy="6858000"/>
            <a:chOff x="0" y="0"/>
            <a:chExt cx="12192000" cy="6858000"/>
          </a:xfrm>
          <a:solidFill>
            <a:schemeClr val="tx1">
              <a:alpha val="30000"/>
            </a:schemeClr>
          </a:solidFill>
        </p:grpSpPr>
        <p:sp>
          <p:nvSpPr>
            <p:cNvPr id="97" name="Rechthoek 96">
              <a:extLst>
                <a:ext uri="{FF2B5EF4-FFF2-40B4-BE49-F238E27FC236}">
                  <a16:creationId xmlns:a16="http://schemas.microsoft.com/office/drawing/2014/main" id="{EE3D9B21-E975-43D7-8C81-95C8CDD290B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8" name="Rechthoek 97">
              <a:extLst>
                <a:ext uri="{FF2B5EF4-FFF2-40B4-BE49-F238E27FC236}">
                  <a16:creationId xmlns:a16="http://schemas.microsoft.com/office/drawing/2014/main" id="{105DD2F5-A6F6-4D19-B89E-2F7BCA325C6F}"/>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9" name="Rechthoek 98">
              <a:extLst>
                <a:ext uri="{FF2B5EF4-FFF2-40B4-BE49-F238E27FC236}">
                  <a16:creationId xmlns:a16="http://schemas.microsoft.com/office/drawing/2014/main" id="{2AEA8E2A-9314-4431-84B8-815D27F55574}"/>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0" name="Rechthoek 99">
              <a:extLst>
                <a:ext uri="{FF2B5EF4-FFF2-40B4-BE49-F238E27FC236}">
                  <a16:creationId xmlns:a16="http://schemas.microsoft.com/office/drawing/2014/main" id="{CDFCBDD9-389E-4547-9AAC-86E6DEAA46E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1" name="Rechthoek 100">
              <a:extLst>
                <a:ext uri="{FF2B5EF4-FFF2-40B4-BE49-F238E27FC236}">
                  <a16:creationId xmlns:a16="http://schemas.microsoft.com/office/drawing/2014/main" id="{96AE3856-6B74-49F5-9845-EF4D8D887E33}"/>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2" name="Rechthoek 101">
              <a:extLst>
                <a:ext uri="{FF2B5EF4-FFF2-40B4-BE49-F238E27FC236}">
                  <a16:creationId xmlns:a16="http://schemas.microsoft.com/office/drawing/2014/main" id="{19E8D85C-6B8B-4402-BE42-283B5165F5DD}"/>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3" name="Rechthoek 102">
              <a:extLst>
                <a:ext uri="{FF2B5EF4-FFF2-40B4-BE49-F238E27FC236}">
                  <a16:creationId xmlns:a16="http://schemas.microsoft.com/office/drawing/2014/main" id="{6B31C5D1-7B62-4E2A-BDD3-C2CA5E9E2002}"/>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4" name="Rechthoek 103">
              <a:extLst>
                <a:ext uri="{FF2B5EF4-FFF2-40B4-BE49-F238E27FC236}">
                  <a16:creationId xmlns:a16="http://schemas.microsoft.com/office/drawing/2014/main" id="{5BFF5FB1-4524-485C-AC08-837EBEAA9764}"/>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5BAE6A63-4FB0-4411-AFFC-63A8A8EF4DAE}"/>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6" name="Rechthoek 45">
              <a:extLst>
                <a:ext uri="{FF2B5EF4-FFF2-40B4-BE49-F238E27FC236}">
                  <a16:creationId xmlns:a16="http://schemas.microsoft.com/office/drawing/2014/main" id="{32F9B240-ED3F-49CA-B562-C067CCB5C19D}"/>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9" name="Tijdelijke aanduiding voor dianummer 3">
            <a:extLst>
              <a:ext uri="{FF2B5EF4-FFF2-40B4-BE49-F238E27FC236}">
                <a16:creationId xmlns:a16="http://schemas.microsoft.com/office/drawing/2014/main" id="{F22C19E4-E41C-CB43-AA6C-6DE3D1153F5A}"/>
              </a:ext>
            </a:extLst>
          </p:cNvPr>
          <p:cNvSpPr txBox="1">
            <a:spLocks/>
          </p:cNvSpPr>
          <p:nvPr userDrawn="1"/>
        </p:nvSpPr>
        <p:spPr>
          <a:xfrm>
            <a:off x="263467" y="6547709"/>
            <a:ext cx="539998" cy="224300"/>
          </a:xfrm>
          <a:prstGeom prst="rect">
            <a:avLst/>
          </a:prstGeom>
        </p:spPr>
        <p:txBody>
          <a:bodyPr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fld id="{8D374ABD-355D-4B52-8A38-020B3DD5CC75}" type="slidenum">
              <a:rPr kumimoji="0" lang="nl-NL" sz="1200" b="1" i="0" u="none" strike="noStrike" kern="1200" cap="none" spc="0" normalizeH="0" baseline="0" noProof="0" smtClean="0">
                <a:ln>
                  <a:noFill/>
                </a:ln>
                <a:solidFill>
                  <a:schemeClr val="accent1"/>
                </a:solidFill>
                <a:effectLst/>
                <a:uLnTx/>
                <a:uFillTx/>
                <a:latin typeface="Calibri"/>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a:t>
            </a:fld>
            <a:endParaRPr kumimoji="0" lang="nl-NL" sz="1200" b="1" i="0" u="none" strike="noStrike" kern="1200" cap="none" spc="0" normalizeH="0" baseline="0" noProof="0">
              <a:ln>
                <a:noFill/>
              </a:ln>
              <a:solidFill>
                <a:schemeClr val="accent1"/>
              </a:solidFill>
              <a:effectLst/>
              <a:uLnTx/>
              <a:uFillTx/>
              <a:latin typeface="Calibri"/>
              <a:ea typeface="+mn-ea"/>
              <a:cs typeface="+mn-cs"/>
            </a:endParaRPr>
          </a:p>
        </p:txBody>
      </p:sp>
      <p:sp>
        <p:nvSpPr>
          <p:cNvPr id="5" name="Tekstvak 4"/>
          <p:cNvSpPr txBox="1"/>
          <p:nvPr userDrawn="1"/>
        </p:nvSpPr>
        <p:spPr>
          <a:xfrm>
            <a:off x="4572000" y="-1672167"/>
            <a:ext cx="914400" cy="914400"/>
          </a:xfrm>
          <a:prstGeom prst="rect">
            <a:avLst/>
          </a:prstGeom>
          <a:noFill/>
        </p:spPr>
        <p:txBody>
          <a:bodyPr wrap="none" lIns="0" tIns="0" rIns="0" bIns="0" rtlCol="0">
            <a:noAutofit/>
          </a:bodyPr>
          <a:lstStyle/>
          <a:p>
            <a:pPr algn="l"/>
            <a:endParaRPr lang="nl-NL" sz="1600"/>
          </a:p>
        </p:txBody>
      </p:sp>
      <p:sp>
        <p:nvSpPr>
          <p:cNvPr id="6" name="Tekstvak 5"/>
          <p:cNvSpPr txBox="1"/>
          <p:nvPr userDrawn="1"/>
        </p:nvSpPr>
        <p:spPr>
          <a:xfrm>
            <a:off x="8413750" y="-1820333"/>
            <a:ext cx="914400" cy="914400"/>
          </a:xfrm>
          <a:prstGeom prst="rect">
            <a:avLst/>
          </a:prstGeom>
          <a:noFill/>
        </p:spPr>
        <p:txBody>
          <a:bodyPr wrap="none" lIns="0" tIns="0" rIns="0" bIns="0" rtlCol="0">
            <a:noAutofit/>
          </a:bodyPr>
          <a:lstStyle/>
          <a:p>
            <a:pPr algn="l"/>
            <a:endParaRPr lang="nl-NL" sz="1600"/>
          </a:p>
        </p:txBody>
      </p:sp>
      <p:pic>
        <p:nvPicPr>
          <p:cNvPr id="40" name="Afbeelding 39">
            <a:extLst>
              <a:ext uri="{FF2B5EF4-FFF2-40B4-BE49-F238E27FC236}">
                <a16:creationId xmlns:a16="http://schemas.microsoft.com/office/drawing/2014/main" id="{62E57C1C-87E1-154A-861A-34BCA8AA08BF}"/>
              </a:ext>
            </a:extLst>
          </p:cNvPr>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a:off x="10511406" y="6035220"/>
            <a:ext cx="1366570" cy="357314"/>
          </a:xfrm>
          <a:prstGeom prst="rect">
            <a:avLst/>
          </a:prstGeom>
        </p:spPr>
      </p:pic>
      <p:pic>
        <p:nvPicPr>
          <p:cNvPr id="42" name="Afbeelding 41">
            <a:extLst>
              <a:ext uri="{FF2B5EF4-FFF2-40B4-BE49-F238E27FC236}">
                <a16:creationId xmlns:a16="http://schemas.microsoft.com/office/drawing/2014/main" id="{7DE3C648-1803-6B4C-8676-EFD04E1CD9FB}"/>
              </a:ext>
            </a:extLst>
          </p:cNvPr>
          <p:cNvPicPr>
            <a:picLocks noChangeAspect="1"/>
          </p:cNvPicPr>
          <p:nvPr userDrawn="1"/>
        </p:nvPicPr>
        <p:blipFill>
          <a:blip r:embed="rId38" cstate="email">
            <a:extLst>
              <a:ext uri="{28A0092B-C50C-407E-A947-70E740481C1C}">
                <a14:useLocalDpi xmlns:a14="http://schemas.microsoft.com/office/drawing/2010/main"/>
              </a:ext>
            </a:extLst>
          </a:blip>
          <a:stretch>
            <a:fillRect/>
          </a:stretch>
        </p:blipFill>
        <p:spPr>
          <a:xfrm>
            <a:off x="355600" y="6494759"/>
            <a:ext cx="11480800" cy="165100"/>
          </a:xfrm>
          <a:prstGeom prst="rect">
            <a:avLst/>
          </a:prstGeom>
        </p:spPr>
      </p:pic>
    </p:spTree>
    <p:extLst>
      <p:ext uri="{BB962C8B-B14F-4D97-AF65-F5344CB8AC3E}">
        <p14:creationId xmlns:p14="http://schemas.microsoft.com/office/powerpoint/2010/main" val="22297952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Lst>
  <p:hf hdr="0" dt="0"/>
  <p:txStyles>
    <p:titleStyle>
      <a:lvl1pPr algn="l" defTabSz="914400" rtl="0" eaLnBrk="1" latinLnBrk="0" hangingPunct="1">
        <a:lnSpc>
          <a:spcPct val="80000"/>
        </a:lnSpc>
        <a:spcBef>
          <a:spcPct val="0"/>
        </a:spcBef>
        <a:buNone/>
        <a:defRPr sz="2400" b="1" kern="1200">
          <a:solidFill>
            <a:schemeClr val="accent1"/>
          </a:solidFill>
          <a:latin typeface="+mn-lt"/>
          <a:ea typeface="+mj-ea"/>
          <a:cs typeface="+mj-cs"/>
        </a:defRPr>
      </a:lvl1pPr>
    </p:titleStyle>
    <p:bodyStyle>
      <a:lvl1pPr marL="177800" indent="-177800" algn="l" defTabSz="914400" rtl="0" eaLnBrk="1" latinLnBrk="0" hangingPunct="1">
        <a:lnSpc>
          <a:spcPct val="100000"/>
        </a:lnSpc>
        <a:spcBef>
          <a:spcPts val="300"/>
        </a:spcBef>
        <a:spcAft>
          <a:spcPts val="300"/>
        </a:spcAft>
        <a:buClr>
          <a:schemeClr val="accent1"/>
        </a:buClr>
        <a:buSzPct val="110000"/>
        <a:buFont typeface="Arial"/>
        <a:buChar char="•"/>
        <a:defRPr sz="1500" kern="1200">
          <a:solidFill>
            <a:schemeClr val="bg1">
              <a:lumMod val="50000"/>
            </a:schemeClr>
          </a:solidFill>
          <a:latin typeface="+mn-lt"/>
          <a:ea typeface="+mn-ea"/>
          <a:cs typeface="+mn-cs"/>
        </a:defRPr>
      </a:lvl1pPr>
      <a:lvl2pPr marL="355600" indent="-177800" algn="l" defTabSz="914400" rtl="0" eaLnBrk="1" latinLnBrk="0" hangingPunct="1">
        <a:lnSpc>
          <a:spcPct val="100000"/>
        </a:lnSpc>
        <a:spcBef>
          <a:spcPts val="300"/>
        </a:spcBef>
        <a:spcAft>
          <a:spcPts val="300"/>
        </a:spcAft>
        <a:buClr>
          <a:schemeClr val="accent1"/>
        </a:buClr>
        <a:buSzPct val="110000"/>
        <a:buFont typeface="Arial"/>
        <a:buChar char="•"/>
        <a:tabLst/>
        <a:defRPr sz="1500" kern="1200">
          <a:solidFill>
            <a:schemeClr val="bg1">
              <a:lumMod val="50000"/>
            </a:schemeClr>
          </a:solidFill>
          <a:latin typeface="+mn-lt"/>
          <a:ea typeface="+mn-ea"/>
          <a:cs typeface="+mn-cs"/>
        </a:defRPr>
      </a:lvl2pPr>
      <a:lvl3pPr marL="531813" indent="-176213" algn="l" defTabSz="914400" rtl="0" eaLnBrk="1" latinLnBrk="0" hangingPunct="1">
        <a:lnSpc>
          <a:spcPct val="100000"/>
        </a:lnSpc>
        <a:spcBef>
          <a:spcPts val="300"/>
        </a:spcBef>
        <a:spcAft>
          <a:spcPts val="300"/>
        </a:spcAft>
        <a:buClrTx/>
        <a:buFont typeface="Corbel" panose="020B0503020204020204" pitchFamily="34" charset="0"/>
        <a:buChar char="–"/>
        <a:defRPr sz="1500" kern="1200">
          <a:solidFill>
            <a:schemeClr val="bg1">
              <a:lumMod val="50000"/>
            </a:schemeClr>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None/>
        <a:defRPr sz="1500" kern="1200">
          <a:solidFill>
            <a:schemeClr val="bg1">
              <a:lumMod val="50000"/>
            </a:schemeClr>
          </a:solidFill>
          <a:latin typeface="+mn-lt"/>
          <a:ea typeface="+mn-ea"/>
          <a:cs typeface="+mn-cs"/>
        </a:defRPr>
      </a:lvl4pPr>
      <a:lvl5pPr marL="0" indent="0" algn="l" defTabSz="914400" rtl="0" eaLnBrk="1" latinLnBrk="0" hangingPunct="1">
        <a:lnSpc>
          <a:spcPct val="100000"/>
        </a:lnSpc>
        <a:spcBef>
          <a:spcPts val="600"/>
        </a:spcBef>
        <a:spcAft>
          <a:spcPts val="300"/>
        </a:spcAft>
        <a:buFont typeface="Arial" panose="020B0604020202020204" pitchFamily="34" charset="0"/>
        <a:buNone/>
        <a:defRPr sz="1600" b="1" kern="1200" cap="none" baseline="0">
          <a:solidFill>
            <a:schemeClr val="accent1"/>
          </a:solidFill>
          <a:latin typeface="+mj-lt"/>
          <a:ea typeface="+mn-ea"/>
          <a:cs typeface="+mn-cs"/>
        </a:defRPr>
      </a:lvl5pPr>
      <a:lvl6pPr marL="265113" indent="-265113" algn="l" defTabSz="914400" rtl="0" eaLnBrk="1" latinLnBrk="0" hangingPunct="1">
        <a:lnSpc>
          <a:spcPct val="100000"/>
        </a:lnSpc>
        <a:spcBef>
          <a:spcPts val="300"/>
        </a:spcBef>
        <a:spcAft>
          <a:spcPts val="300"/>
        </a:spcAft>
        <a:buClrTx/>
        <a:buSzPct val="85000"/>
        <a:buFont typeface="+mj-lt"/>
        <a:buAutoNum type="arabicPeriod"/>
        <a:defRPr sz="1500" kern="1200">
          <a:solidFill>
            <a:srgbClr val="7F7F7F"/>
          </a:solidFill>
          <a:latin typeface="+mn-lt"/>
          <a:ea typeface="+mn-ea"/>
          <a:cs typeface="+mn-cs"/>
        </a:defRPr>
      </a:lvl6pPr>
      <a:lvl7pPr marL="265113" indent="-265113" algn="l" defTabSz="914400" rtl="0" eaLnBrk="1" latinLnBrk="0" hangingPunct="1">
        <a:lnSpc>
          <a:spcPct val="100000"/>
        </a:lnSpc>
        <a:spcBef>
          <a:spcPts val="300"/>
        </a:spcBef>
        <a:spcAft>
          <a:spcPts val="300"/>
        </a:spcAft>
        <a:buClrTx/>
        <a:buSzPct val="85000"/>
        <a:buFont typeface="+mj-lt"/>
        <a:buAutoNum type="alphaLcPeriod"/>
        <a:tabLst/>
        <a:defRPr sz="1500" kern="1200">
          <a:solidFill>
            <a:srgbClr val="7F7F7F"/>
          </a:solidFill>
          <a:latin typeface="+mn-lt"/>
          <a:ea typeface="+mn-ea"/>
          <a:cs typeface="+mn-cs"/>
        </a:defRPr>
      </a:lvl7pPr>
      <a:lvl8pPr marL="0" indent="0" algn="l" defTabSz="914400" rtl="0" eaLnBrk="1" latinLnBrk="0" hangingPunct="1">
        <a:lnSpc>
          <a:spcPct val="100000"/>
        </a:lnSpc>
        <a:spcBef>
          <a:spcPts val="300"/>
        </a:spcBef>
        <a:spcAft>
          <a:spcPts val="300"/>
        </a:spcAft>
        <a:buClr>
          <a:schemeClr val="accent3"/>
        </a:buClr>
        <a:buFont typeface="Arial" panose="020B0604020202020204" pitchFamily="34" charset="0"/>
        <a:buNone/>
        <a:defRPr sz="1000" i="1" kern="1200">
          <a:solidFill>
            <a:srgbClr val="7F7F7F"/>
          </a:solidFill>
          <a:latin typeface="+mn-lt"/>
          <a:ea typeface="+mn-ea"/>
          <a:cs typeface="+mn-cs"/>
        </a:defRPr>
      </a:lvl8pPr>
      <a:lvl9pPr marL="0" indent="0" algn="l" defTabSz="914400" rtl="0" eaLnBrk="1" latinLnBrk="0" hangingPunct="1">
        <a:lnSpc>
          <a:spcPct val="100000"/>
        </a:lnSpc>
        <a:spcBef>
          <a:spcPts val="600"/>
        </a:spcBef>
        <a:spcAft>
          <a:spcPts val="300"/>
        </a:spcAft>
        <a:buFont typeface="Arial" panose="020B0604020202020204" pitchFamily="34" charset="0"/>
        <a:buNone/>
        <a:defRPr sz="2000" i="1" kern="1200">
          <a:solidFill>
            <a:srgbClr val="7F7F7F"/>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3" name="THEMAKLEUREN">
            <a:extLst>
              <a:ext uri="{FF2B5EF4-FFF2-40B4-BE49-F238E27FC236}">
                <a16:creationId xmlns:a16="http://schemas.microsoft.com/office/drawing/2014/main" id="{9D3C318D-7D68-4056-B093-32B4543686BA}"/>
              </a:ext>
            </a:extLst>
          </p:cNvPr>
          <p:cNvGrpSpPr/>
          <p:nvPr userDrawn="1"/>
        </p:nvGrpSpPr>
        <p:grpSpPr>
          <a:xfrm>
            <a:off x="0" y="6925673"/>
            <a:ext cx="1461003" cy="333499"/>
            <a:chOff x="8419153" y="176532"/>
            <a:chExt cx="1461003" cy="333499"/>
          </a:xfrm>
        </p:grpSpPr>
        <p:grpSp>
          <p:nvGrpSpPr>
            <p:cNvPr id="12" name="Groep 11">
              <a:extLst>
                <a:ext uri="{FF2B5EF4-FFF2-40B4-BE49-F238E27FC236}">
                  <a16:creationId xmlns:a16="http://schemas.microsoft.com/office/drawing/2014/main" id="{6C8B8488-5D61-436D-BCDE-494BA44E52B3}"/>
                </a:ext>
              </a:extLst>
            </p:cNvPr>
            <p:cNvGrpSpPr/>
            <p:nvPr userDrawn="1"/>
          </p:nvGrpSpPr>
          <p:grpSpPr>
            <a:xfrm rot="16200000">
              <a:off x="9078096" y="-292029"/>
              <a:ext cx="143117" cy="1461003"/>
              <a:chOff x="8410390" y="426075"/>
              <a:chExt cx="212649" cy="2170815"/>
            </a:xfrm>
          </p:grpSpPr>
          <p:sp>
            <p:nvSpPr>
              <p:cNvPr id="10" name="Rechthoek: afgeronde hoeken 9">
                <a:extLst>
                  <a:ext uri="{FF2B5EF4-FFF2-40B4-BE49-F238E27FC236}">
                    <a16:creationId xmlns:a16="http://schemas.microsoft.com/office/drawing/2014/main" id="{72C35D7D-AAB4-4264-96AA-812D82EE03AB}"/>
                  </a:ext>
                </a:extLst>
              </p:cNvPr>
              <p:cNvSpPr/>
              <p:nvPr userDrawn="1"/>
            </p:nvSpPr>
            <p:spPr>
              <a:xfrm>
                <a:off x="8410390" y="705813"/>
                <a:ext cx="212649" cy="212649"/>
              </a:xfrm>
              <a:prstGeom prst="roundRect">
                <a:avLst>
                  <a:gd name="adj" fmla="val 2672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26" name="Rechthoek: afgeronde hoeken 25">
                <a:extLst>
                  <a:ext uri="{FF2B5EF4-FFF2-40B4-BE49-F238E27FC236}">
                    <a16:creationId xmlns:a16="http://schemas.microsoft.com/office/drawing/2014/main" id="{21B9CFFD-C4AF-4A24-8B0F-80433A49DA58}"/>
                  </a:ext>
                </a:extLst>
              </p:cNvPr>
              <p:cNvSpPr/>
              <p:nvPr userDrawn="1"/>
            </p:nvSpPr>
            <p:spPr>
              <a:xfrm>
                <a:off x="8410390" y="985551"/>
                <a:ext cx="212649" cy="212649"/>
              </a:xfrm>
              <a:prstGeom prst="roundRect">
                <a:avLst>
                  <a:gd name="adj" fmla="val 267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29" name="Rechthoek: afgeronde hoeken 28">
                <a:extLst>
                  <a:ext uri="{FF2B5EF4-FFF2-40B4-BE49-F238E27FC236}">
                    <a16:creationId xmlns:a16="http://schemas.microsoft.com/office/drawing/2014/main" id="{71112316-63C8-419B-93FA-B3BB8F8EFB81}"/>
                  </a:ext>
                </a:extLst>
              </p:cNvPr>
              <p:cNvSpPr/>
              <p:nvPr userDrawn="1"/>
            </p:nvSpPr>
            <p:spPr>
              <a:xfrm>
                <a:off x="8410390" y="1265289"/>
                <a:ext cx="212649" cy="212649"/>
              </a:xfrm>
              <a:prstGeom prst="roundRect">
                <a:avLst>
                  <a:gd name="adj" fmla="val 267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2" name="Rechthoek: afgeronde hoeken 31">
                <a:extLst>
                  <a:ext uri="{FF2B5EF4-FFF2-40B4-BE49-F238E27FC236}">
                    <a16:creationId xmlns:a16="http://schemas.microsoft.com/office/drawing/2014/main" id="{D7E9BEBB-D0DC-4557-835D-FC149C7585FD}"/>
                  </a:ext>
                </a:extLst>
              </p:cNvPr>
              <p:cNvSpPr/>
              <p:nvPr userDrawn="1"/>
            </p:nvSpPr>
            <p:spPr>
              <a:xfrm>
                <a:off x="8410390" y="1545027"/>
                <a:ext cx="212649" cy="212649"/>
              </a:xfrm>
              <a:prstGeom prst="roundRect">
                <a:avLst>
                  <a:gd name="adj" fmla="val 2672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5" name="Rechthoek: afgeronde hoeken 34">
                <a:extLst>
                  <a:ext uri="{FF2B5EF4-FFF2-40B4-BE49-F238E27FC236}">
                    <a16:creationId xmlns:a16="http://schemas.microsoft.com/office/drawing/2014/main" id="{2196EB4D-914A-41CD-9D75-6F89501EF0B8}"/>
                  </a:ext>
                </a:extLst>
              </p:cNvPr>
              <p:cNvSpPr/>
              <p:nvPr userDrawn="1"/>
            </p:nvSpPr>
            <p:spPr>
              <a:xfrm>
                <a:off x="8410390" y="1824765"/>
                <a:ext cx="212649" cy="212649"/>
              </a:xfrm>
              <a:prstGeom prst="roundRect">
                <a:avLst>
                  <a:gd name="adj" fmla="val 2672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8" name="Rechthoek: afgeronde hoeken 37">
                <a:extLst>
                  <a:ext uri="{FF2B5EF4-FFF2-40B4-BE49-F238E27FC236}">
                    <a16:creationId xmlns:a16="http://schemas.microsoft.com/office/drawing/2014/main" id="{F1454947-644A-4FBF-A032-C689B5740B2A}"/>
                  </a:ext>
                </a:extLst>
              </p:cNvPr>
              <p:cNvSpPr/>
              <p:nvPr userDrawn="1"/>
            </p:nvSpPr>
            <p:spPr>
              <a:xfrm>
                <a:off x="8410390" y="2104503"/>
                <a:ext cx="212649" cy="212649"/>
              </a:xfrm>
              <a:prstGeom prst="roundRect">
                <a:avLst>
                  <a:gd name="adj" fmla="val 267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41" name="Rechthoek: afgeronde hoeken 40">
                <a:extLst>
                  <a:ext uri="{FF2B5EF4-FFF2-40B4-BE49-F238E27FC236}">
                    <a16:creationId xmlns:a16="http://schemas.microsoft.com/office/drawing/2014/main" id="{78DD8BE2-8EB7-4C12-B1C2-AEA6DD7D8C23}"/>
                  </a:ext>
                </a:extLst>
              </p:cNvPr>
              <p:cNvSpPr/>
              <p:nvPr userDrawn="1"/>
            </p:nvSpPr>
            <p:spPr>
              <a:xfrm>
                <a:off x="8410390" y="2384241"/>
                <a:ext cx="212649" cy="212649"/>
              </a:xfrm>
              <a:prstGeom prst="roundRect">
                <a:avLst>
                  <a:gd name="adj" fmla="val 2672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47" name="Rechthoek: afgeronde hoeken 46">
                <a:extLst>
                  <a:ext uri="{FF2B5EF4-FFF2-40B4-BE49-F238E27FC236}">
                    <a16:creationId xmlns:a16="http://schemas.microsoft.com/office/drawing/2014/main" id="{1D7DDBC7-4460-4F2C-927A-7AE13B24D8F4}"/>
                  </a:ext>
                </a:extLst>
              </p:cNvPr>
              <p:cNvSpPr/>
              <p:nvPr userDrawn="1"/>
            </p:nvSpPr>
            <p:spPr>
              <a:xfrm>
                <a:off x="8410390" y="426075"/>
                <a:ext cx="212649" cy="212649"/>
              </a:xfrm>
              <a:prstGeom prst="roundRect">
                <a:avLst>
                  <a:gd name="adj" fmla="val 2672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grpSp>
        <p:sp>
          <p:nvSpPr>
            <p:cNvPr id="49" name="Tekstvak 48">
              <a:extLst>
                <a:ext uri="{FF2B5EF4-FFF2-40B4-BE49-F238E27FC236}">
                  <a16:creationId xmlns:a16="http://schemas.microsoft.com/office/drawing/2014/main" id="{00A66507-1AE0-46EB-92B8-915DBFB60F41}"/>
                </a:ext>
              </a:extLst>
            </p:cNvPr>
            <p:cNvSpPr txBox="1"/>
            <p:nvPr userDrawn="1"/>
          </p:nvSpPr>
          <p:spPr>
            <a:xfrm>
              <a:off x="8419153" y="176532"/>
              <a:ext cx="1461003" cy="134653"/>
            </a:xfrm>
            <a:prstGeom prst="rect">
              <a:avLst/>
            </a:prstGeom>
            <a:noFill/>
          </p:spPr>
          <p:txBody>
            <a:bodyPr wrap="square" lIns="0" tIns="0" rIns="0" bIns="0" rtlCol="0">
              <a:noAutofit/>
            </a:bodyPr>
            <a:lstStyle/>
            <a:p>
              <a:pPr algn="l"/>
              <a:r>
                <a:rPr lang="nl-NL" sz="1000" b="1" u="none" noProof="0">
                  <a:latin typeface="+mj-lt"/>
                </a:rPr>
                <a:t>Achmea themakleuren</a:t>
              </a:r>
            </a:p>
          </p:txBody>
        </p:sp>
      </p:grpSp>
      <p:grpSp>
        <p:nvGrpSpPr>
          <p:cNvPr id="50" name="OVERIGE KLEUREN">
            <a:extLst>
              <a:ext uri="{FF2B5EF4-FFF2-40B4-BE49-F238E27FC236}">
                <a16:creationId xmlns:a16="http://schemas.microsoft.com/office/drawing/2014/main" id="{139292DB-CA74-4075-BC92-B06602D34DDC}"/>
              </a:ext>
            </a:extLst>
          </p:cNvPr>
          <p:cNvGrpSpPr/>
          <p:nvPr userDrawn="1"/>
        </p:nvGrpSpPr>
        <p:grpSpPr>
          <a:xfrm>
            <a:off x="1716813" y="6925672"/>
            <a:ext cx="1461003" cy="333499"/>
            <a:chOff x="8419153" y="176531"/>
            <a:chExt cx="1461003" cy="333499"/>
          </a:xfrm>
        </p:grpSpPr>
        <p:grpSp>
          <p:nvGrpSpPr>
            <p:cNvPr id="51" name="Groep 50">
              <a:extLst>
                <a:ext uri="{FF2B5EF4-FFF2-40B4-BE49-F238E27FC236}">
                  <a16:creationId xmlns:a16="http://schemas.microsoft.com/office/drawing/2014/main" id="{026BC4A5-3D18-4206-AEC3-1395E2D4F813}"/>
                </a:ext>
              </a:extLst>
            </p:cNvPr>
            <p:cNvGrpSpPr/>
            <p:nvPr userDrawn="1"/>
          </p:nvGrpSpPr>
          <p:grpSpPr>
            <a:xfrm rot="16200000">
              <a:off x="8607423" y="178644"/>
              <a:ext cx="143117" cy="519656"/>
              <a:chOff x="8410390" y="426075"/>
              <a:chExt cx="212649" cy="772125"/>
            </a:xfrm>
          </p:grpSpPr>
          <p:sp>
            <p:nvSpPr>
              <p:cNvPr id="53" name="Rechthoek: afgeronde hoeken 52">
                <a:extLst>
                  <a:ext uri="{FF2B5EF4-FFF2-40B4-BE49-F238E27FC236}">
                    <a16:creationId xmlns:a16="http://schemas.microsoft.com/office/drawing/2014/main" id="{5465870F-5975-4142-8BF0-A929890F5184}"/>
                  </a:ext>
                </a:extLst>
              </p:cNvPr>
              <p:cNvSpPr/>
              <p:nvPr userDrawn="1"/>
            </p:nvSpPr>
            <p:spPr>
              <a:xfrm>
                <a:off x="8410390" y="705813"/>
                <a:ext cx="212649" cy="212649"/>
              </a:xfrm>
              <a:prstGeom prst="roundRect">
                <a:avLst>
                  <a:gd name="adj" fmla="val 26722"/>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54" name="Rechthoek: afgeronde hoeken 53">
                <a:extLst>
                  <a:ext uri="{FF2B5EF4-FFF2-40B4-BE49-F238E27FC236}">
                    <a16:creationId xmlns:a16="http://schemas.microsoft.com/office/drawing/2014/main" id="{63DEE779-FB50-4FA3-93B0-85E181EA893E}"/>
                  </a:ext>
                </a:extLst>
              </p:cNvPr>
              <p:cNvSpPr/>
              <p:nvPr userDrawn="1"/>
            </p:nvSpPr>
            <p:spPr>
              <a:xfrm>
                <a:off x="8410390" y="985551"/>
                <a:ext cx="212649" cy="212649"/>
              </a:xfrm>
              <a:prstGeom prst="roundRect">
                <a:avLst>
                  <a:gd name="adj" fmla="val 26722"/>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1" name="Rechthoek: afgeronde hoeken 60">
                <a:extLst>
                  <a:ext uri="{FF2B5EF4-FFF2-40B4-BE49-F238E27FC236}">
                    <a16:creationId xmlns:a16="http://schemas.microsoft.com/office/drawing/2014/main" id="{21C7E1C1-A97E-47CD-9961-15F5227E277B}"/>
                  </a:ext>
                </a:extLst>
              </p:cNvPr>
              <p:cNvSpPr/>
              <p:nvPr userDrawn="1"/>
            </p:nvSpPr>
            <p:spPr>
              <a:xfrm>
                <a:off x="8410390" y="426075"/>
                <a:ext cx="212649" cy="212649"/>
              </a:xfrm>
              <a:prstGeom prst="roundRect">
                <a:avLst>
                  <a:gd name="adj" fmla="val 26722"/>
                </a:avLst>
              </a:prstGeom>
              <a:solidFill>
                <a:srgbClr val="4A794C"/>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grpSp>
        <p:sp>
          <p:nvSpPr>
            <p:cNvPr id="52" name="Tekstvak 51">
              <a:extLst>
                <a:ext uri="{FF2B5EF4-FFF2-40B4-BE49-F238E27FC236}">
                  <a16:creationId xmlns:a16="http://schemas.microsoft.com/office/drawing/2014/main" id="{C44176F0-EB56-46B2-B92E-619B77378192}"/>
                </a:ext>
              </a:extLst>
            </p:cNvPr>
            <p:cNvSpPr txBox="1"/>
            <p:nvPr userDrawn="1"/>
          </p:nvSpPr>
          <p:spPr>
            <a:xfrm>
              <a:off x="8419153" y="176531"/>
              <a:ext cx="1461003" cy="134653"/>
            </a:xfrm>
            <a:prstGeom prst="rect">
              <a:avLst/>
            </a:prstGeom>
            <a:noFill/>
          </p:spPr>
          <p:txBody>
            <a:bodyPr wrap="square" lIns="0" tIns="0" rIns="0" bIns="0" rtlCol="0">
              <a:noAutofit/>
            </a:bodyPr>
            <a:lstStyle/>
            <a:p>
              <a:pPr algn="l"/>
              <a:r>
                <a:rPr lang="nl-NL" sz="1000" b="1" u="none" noProof="0">
                  <a:latin typeface="+mj-lt"/>
                </a:rPr>
                <a:t>Overige Achmea kleuren</a:t>
              </a:r>
            </a:p>
          </p:txBody>
        </p:sp>
      </p:grpSp>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540000" y="538833"/>
            <a:ext cx="11112000" cy="301139"/>
          </a:xfrm>
          <a:prstGeom prst="rect">
            <a:avLst/>
          </a:prstGeom>
        </p:spPr>
        <p:txBody>
          <a:bodyPr vert="horz" lIns="0" tIns="0" rIns="0" bIns="0" rtlCol="0" anchor="t">
            <a:noAutofit/>
          </a:bodyPr>
          <a:lstStyle/>
          <a:p>
            <a:r>
              <a:rPr lang="nl-NL" noProof="0"/>
              <a:t>Voeg hier een titel in</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539999" y="1459112"/>
            <a:ext cx="11112001" cy="4119774"/>
          </a:xfrm>
          <a:prstGeom prst="rect">
            <a:avLst/>
          </a:prstGeom>
        </p:spPr>
        <p:txBody>
          <a:bodyPr vert="horz" lIns="0" tIns="0" rIns="0" bIns="0" rtlCol="0">
            <a:noAutofit/>
          </a:body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8"/>
            <a:endParaRPr lang="nl-NL" noProof="0"/>
          </a:p>
        </p:txBody>
      </p:sp>
      <p:sp>
        <p:nvSpPr>
          <p:cNvPr id="4" name="Tijdelijke aanduiding voor datum 3">
            <a:extLst>
              <a:ext uri="{FF2B5EF4-FFF2-40B4-BE49-F238E27FC236}">
                <a16:creationId xmlns:a16="http://schemas.microsoft.com/office/drawing/2014/main" id="{2CC0954C-56F0-4481-AEFC-476FD5516A05}"/>
              </a:ext>
            </a:extLst>
          </p:cNvPr>
          <p:cNvSpPr>
            <a:spLocks noGrp="1"/>
          </p:cNvSpPr>
          <p:nvPr>
            <p:ph type="dt" sz="half" idx="2"/>
          </p:nvPr>
        </p:nvSpPr>
        <p:spPr>
          <a:xfrm>
            <a:off x="10917011" y="6940826"/>
            <a:ext cx="1274989" cy="127963"/>
          </a:xfrm>
          <a:prstGeom prst="rect">
            <a:avLst/>
          </a:prstGeom>
        </p:spPr>
        <p:txBody>
          <a:bodyPr vert="horz" lIns="0" tIns="0" rIns="0" bIns="0" rtlCol="0" anchor="ctr">
            <a:noAutofit/>
          </a:bodyPr>
          <a:lstStyle>
            <a:lvl1pPr algn="r">
              <a:defRPr sz="1000">
                <a:solidFill>
                  <a:schemeClr val="tx1"/>
                </a:solidFill>
                <a:latin typeface="+mn-lt"/>
              </a:defRPr>
            </a:lvl1pPr>
          </a:lstStyle>
          <a:p>
            <a:fld id="{5B976527-E0F2-4AB9-8F7A-C80BB568F200}"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293B2B64-2362-45C8-9E78-5ECAAAF3478D}"/>
              </a:ext>
            </a:extLst>
          </p:cNvPr>
          <p:cNvSpPr>
            <a:spLocks noGrp="1"/>
          </p:cNvSpPr>
          <p:nvPr>
            <p:ph type="ftr" sz="quarter" idx="3"/>
          </p:nvPr>
        </p:nvSpPr>
        <p:spPr>
          <a:xfrm>
            <a:off x="8121316" y="7068790"/>
            <a:ext cx="4070683" cy="360000"/>
          </a:xfrm>
          <a:prstGeom prst="rect">
            <a:avLst/>
          </a:prstGeom>
        </p:spPr>
        <p:txBody>
          <a:bodyPr vert="horz" lIns="0" tIns="0" rIns="0" bIns="0" rtlCol="0" anchor="ctr">
            <a:noAutofit/>
          </a:bodyPr>
          <a:lstStyle>
            <a:lvl1pPr algn="r">
              <a:defRPr sz="1100" b="0">
                <a:solidFill>
                  <a:schemeClr val="accent1"/>
                </a:solidFill>
                <a:latin typeface="+mn-lt"/>
              </a:defRPr>
            </a:lvl1p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5549FE6F-67CB-4243-BE03-A9A3C4007850}"/>
              </a:ext>
            </a:extLst>
          </p:cNvPr>
          <p:cNvSpPr>
            <a:spLocks noGrp="1"/>
          </p:cNvSpPr>
          <p:nvPr>
            <p:ph type="sldNum" sz="quarter" idx="4"/>
          </p:nvPr>
        </p:nvSpPr>
        <p:spPr>
          <a:xfrm>
            <a:off x="0" y="6489321"/>
            <a:ext cx="539998" cy="224300"/>
          </a:xfrm>
          <a:prstGeom prst="rect">
            <a:avLst/>
          </a:prstGeom>
        </p:spPr>
        <p:txBody>
          <a:bodyPr vert="horz" lIns="0" tIns="0" rIns="0" bIns="0" rtlCol="0" anchor="ctr">
            <a:noAutofit/>
          </a:bodyPr>
          <a:lstStyle>
            <a:lvl1pPr algn="ctr">
              <a:defRPr sz="1200" b="0">
                <a:solidFill>
                  <a:srgbClr val="828282"/>
                </a:solidFill>
                <a:latin typeface="+mn-lt"/>
              </a:defRPr>
            </a:lvl1pPr>
          </a:lstStyle>
          <a:p>
            <a:fld id="{D7B5DC5B-6873-43DB-ADC7-B15ACCE0DFDB}" type="slidenum">
              <a:rPr lang="nl-NL" smtClean="0"/>
              <a:pPr/>
              <a:t>‹#›</a:t>
            </a:fld>
            <a:endParaRPr lang="nl-NL"/>
          </a:p>
        </p:txBody>
      </p:sp>
      <p:sp>
        <p:nvSpPr>
          <p:cNvPr id="20" name="Tekstvak 19">
            <a:extLst>
              <a:ext uri="{FF2B5EF4-FFF2-40B4-BE49-F238E27FC236}">
                <a16:creationId xmlns:a16="http://schemas.microsoft.com/office/drawing/2014/main" id="{88A106C3-3B5C-4817-A9B9-E1AA65368768}"/>
              </a:ext>
            </a:extLst>
          </p:cNvPr>
          <p:cNvSpPr txBox="1"/>
          <p:nvPr userDrawn="1"/>
        </p:nvSpPr>
        <p:spPr>
          <a:xfrm>
            <a:off x="5031475" y="-696037"/>
            <a:ext cx="2129051" cy="150127"/>
          </a:xfrm>
          <a:prstGeom prst="rect">
            <a:avLst/>
          </a:prstGeom>
          <a:noFill/>
        </p:spPr>
        <p:txBody>
          <a:bodyPr wrap="square" lIns="72000" tIns="0" rIns="72000" bIns="0" rtlCol="0">
            <a:noAutofit/>
          </a:bodyPr>
          <a:lstStyle/>
          <a:p>
            <a:pPr algn="ctr"/>
            <a:r>
              <a:rPr lang="nl-NL" sz="1200" b="0" cap="all" baseline="0" noProof="0">
                <a:latin typeface="+mn-lt"/>
              </a:rPr>
              <a:t>Naam van de indeling</a:t>
            </a:r>
          </a:p>
        </p:txBody>
      </p:sp>
      <p:sp>
        <p:nvSpPr>
          <p:cNvPr id="84" name="LOGO">
            <a:extLst>
              <a:ext uri="{FF2B5EF4-FFF2-40B4-BE49-F238E27FC236}">
                <a16:creationId xmlns:a16="http://schemas.microsoft.com/office/drawing/2014/main" id="{F3950CA2-C0C5-4E51-A069-AB8682DBCAB9}"/>
              </a:ext>
            </a:extLst>
          </p:cNvPr>
          <p:cNvSpPr/>
          <p:nvPr userDrawn="1"/>
        </p:nvSpPr>
        <p:spPr>
          <a:xfrm>
            <a:off x="10670998" y="6462442"/>
            <a:ext cx="1353982" cy="251179"/>
          </a:xfrm>
          <a:custGeom>
            <a:avLst/>
            <a:gdLst>
              <a:gd name="connsiteX0" fmla="*/ 1694783 w 5391150"/>
              <a:gd name="connsiteY0" fmla="*/ 439484 h 1000125"/>
              <a:gd name="connsiteX1" fmla="*/ 1694783 w 5391150"/>
              <a:gd name="connsiteY1" fmla="*/ 744474 h 1000125"/>
              <a:gd name="connsiteX2" fmla="*/ 1525715 w 5391150"/>
              <a:gd name="connsiteY2" fmla="*/ 744474 h 1000125"/>
              <a:gd name="connsiteX3" fmla="*/ 1525715 w 5391150"/>
              <a:gd name="connsiteY3" fmla="*/ 507778 h 1000125"/>
              <a:gd name="connsiteX4" fmla="*/ 1447991 w 5391150"/>
              <a:gd name="connsiteY4" fmla="*/ 385286 h 1000125"/>
              <a:gd name="connsiteX5" fmla="*/ 1343025 w 5391150"/>
              <a:gd name="connsiteY5" fmla="*/ 537972 h 1000125"/>
              <a:gd name="connsiteX6" fmla="*/ 1343025 w 5391150"/>
              <a:gd name="connsiteY6" fmla="*/ 744569 h 1000125"/>
              <a:gd name="connsiteX7" fmla="*/ 1174337 w 5391150"/>
              <a:gd name="connsiteY7" fmla="*/ 744569 h 1000125"/>
              <a:gd name="connsiteX8" fmla="*/ 1174337 w 5391150"/>
              <a:gd name="connsiteY8" fmla="*/ 44291 h 1000125"/>
              <a:gd name="connsiteX9" fmla="*/ 1307306 w 5391150"/>
              <a:gd name="connsiteY9" fmla="*/ 44291 h 1000125"/>
              <a:gd name="connsiteX10" fmla="*/ 1342930 w 5391150"/>
              <a:gd name="connsiteY10" fmla="*/ 81725 h 1000125"/>
              <a:gd name="connsiteX11" fmla="*/ 1342930 w 5391150"/>
              <a:gd name="connsiteY11" fmla="*/ 328041 h 1000125"/>
              <a:gd name="connsiteX12" fmla="*/ 1344740 w 5391150"/>
              <a:gd name="connsiteY12" fmla="*/ 328041 h 1000125"/>
              <a:gd name="connsiteX13" fmla="*/ 1507998 w 5391150"/>
              <a:gd name="connsiteY13" fmla="*/ 244793 h 1000125"/>
              <a:gd name="connsiteX14" fmla="*/ 1694783 w 5391150"/>
              <a:gd name="connsiteY14" fmla="*/ 439484 h 1000125"/>
              <a:gd name="connsiteX15" fmla="*/ 799910 w 5391150"/>
              <a:gd name="connsiteY15" fmla="*/ 504920 h 1000125"/>
              <a:gd name="connsiteX16" fmla="*/ 930402 w 5391150"/>
              <a:gd name="connsiteY16" fmla="*/ 371094 h 1000125"/>
              <a:gd name="connsiteX17" fmla="*/ 1004792 w 5391150"/>
              <a:gd name="connsiteY17" fmla="*/ 383667 h 1000125"/>
              <a:gd name="connsiteX18" fmla="*/ 1017651 w 5391150"/>
              <a:gd name="connsiteY18" fmla="*/ 388144 h 1000125"/>
              <a:gd name="connsiteX19" fmla="*/ 1019270 w 5391150"/>
              <a:gd name="connsiteY19" fmla="*/ 388144 h 1000125"/>
              <a:gd name="connsiteX20" fmla="*/ 1036225 w 5391150"/>
              <a:gd name="connsiteY20" fmla="*/ 371475 h 1000125"/>
              <a:gd name="connsiteX21" fmla="*/ 1036225 w 5391150"/>
              <a:gd name="connsiteY21" fmla="*/ 269843 h 1000125"/>
              <a:gd name="connsiteX22" fmla="*/ 910876 w 5391150"/>
              <a:gd name="connsiteY22" fmla="*/ 246412 h 1000125"/>
              <a:gd name="connsiteX23" fmla="*/ 624649 w 5391150"/>
              <a:gd name="connsiteY23" fmla="*/ 502063 h 1000125"/>
              <a:gd name="connsiteX24" fmla="*/ 910019 w 5391150"/>
              <a:gd name="connsiteY24" fmla="*/ 756952 h 1000125"/>
              <a:gd name="connsiteX25" fmla="*/ 1044988 w 5391150"/>
              <a:gd name="connsiteY25" fmla="*/ 736568 h 1000125"/>
              <a:gd name="connsiteX26" fmla="*/ 1044988 w 5391150"/>
              <a:gd name="connsiteY26" fmla="*/ 609219 h 1000125"/>
              <a:gd name="connsiteX27" fmla="*/ 939070 w 5391150"/>
              <a:gd name="connsiteY27" fmla="*/ 632746 h 1000125"/>
              <a:gd name="connsiteX28" fmla="*/ 799910 w 5391150"/>
              <a:gd name="connsiteY28" fmla="*/ 504920 h 1000125"/>
              <a:gd name="connsiteX29" fmla="*/ 2498884 w 5391150"/>
              <a:gd name="connsiteY29" fmla="*/ 244697 h 1000125"/>
              <a:gd name="connsiteX30" fmla="*/ 2325529 w 5391150"/>
              <a:gd name="connsiteY30" fmla="*/ 338423 h 1000125"/>
              <a:gd name="connsiteX31" fmla="*/ 2172653 w 5391150"/>
              <a:gd name="connsiteY31" fmla="*/ 244697 h 1000125"/>
              <a:gd name="connsiteX32" fmla="*/ 1990154 w 5391150"/>
              <a:gd name="connsiteY32" fmla="*/ 326422 h 1000125"/>
              <a:gd name="connsiteX33" fmla="*/ 1968818 w 5391150"/>
              <a:gd name="connsiteY33" fmla="*/ 338328 h 1000125"/>
              <a:gd name="connsiteX34" fmla="*/ 1951577 w 5391150"/>
              <a:gd name="connsiteY34" fmla="*/ 331565 h 1000125"/>
              <a:gd name="connsiteX35" fmla="*/ 1884426 w 5391150"/>
              <a:gd name="connsiteY35" fmla="*/ 263652 h 1000125"/>
              <a:gd name="connsiteX36" fmla="*/ 1865567 w 5391150"/>
              <a:gd name="connsiteY36" fmla="*/ 255746 h 1000125"/>
              <a:gd name="connsiteX37" fmla="*/ 1838992 w 5391150"/>
              <a:gd name="connsiteY37" fmla="*/ 282416 h 1000125"/>
              <a:gd name="connsiteX38" fmla="*/ 1838992 w 5391150"/>
              <a:gd name="connsiteY38" fmla="*/ 744474 h 1000125"/>
              <a:gd name="connsiteX39" fmla="*/ 2007870 w 5391150"/>
              <a:gd name="connsiteY39" fmla="*/ 744474 h 1000125"/>
              <a:gd name="connsiteX40" fmla="*/ 2007870 w 5391150"/>
              <a:gd name="connsiteY40" fmla="*/ 538258 h 1000125"/>
              <a:gd name="connsiteX41" fmla="*/ 2103787 w 5391150"/>
              <a:gd name="connsiteY41" fmla="*/ 385382 h 1000125"/>
              <a:gd name="connsiteX42" fmla="*/ 2170843 w 5391150"/>
              <a:gd name="connsiteY42" fmla="*/ 481965 h 1000125"/>
              <a:gd name="connsiteX43" fmla="*/ 2170843 w 5391150"/>
              <a:gd name="connsiteY43" fmla="*/ 744474 h 1000125"/>
              <a:gd name="connsiteX44" fmla="*/ 2339721 w 5391150"/>
              <a:gd name="connsiteY44" fmla="*/ 744474 h 1000125"/>
              <a:gd name="connsiteX45" fmla="*/ 2339721 w 5391150"/>
              <a:gd name="connsiteY45" fmla="*/ 538258 h 1000125"/>
              <a:gd name="connsiteX46" fmla="*/ 2435543 w 5391150"/>
              <a:gd name="connsiteY46" fmla="*/ 385382 h 1000125"/>
              <a:gd name="connsiteX47" fmla="*/ 2502884 w 5391150"/>
              <a:gd name="connsiteY47" fmla="*/ 481965 h 1000125"/>
              <a:gd name="connsiteX48" fmla="*/ 2502884 w 5391150"/>
              <a:gd name="connsiteY48" fmla="*/ 744474 h 1000125"/>
              <a:gd name="connsiteX49" fmla="*/ 2671382 w 5391150"/>
              <a:gd name="connsiteY49" fmla="*/ 744474 h 1000125"/>
              <a:gd name="connsiteX50" fmla="*/ 2671382 w 5391150"/>
              <a:gd name="connsiteY50" fmla="*/ 456819 h 1000125"/>
              <a:gd name="connsiteX51" fmla="*/ 2498884 w 5391150"/>
              <a:gd name="connsiteY51" fmla="*/ 244697 h 1000125"/>
              <a:gd name="connsiteX52" fmla="*/ 510635 w 5391150"/>
              <a:gd name="connsiteY52" fmla="*/ 296894 h 1000125"/>
              <a:gd name="connsiteX53" fmla="*/ 510635 w 5391150"/>
              <a:gd name="connsiteY53" fmla="*/ 706374 h 1000125"/>
              <a:gd name="connsiteX54" fmla="*/ 484061 w 5391150"/>
              <a:gd name="connsiteY54" fmla="*/ 732758 h 1000125"/>
              <a:gd name="connsiteX55" fmla="*/ 465487 w 5391150"/>
              <a:gd name="connsiteY55" fmla="*/ 724948 h 1000125"/>
              <a:gd name="connsiteX56" fmla="*/ 440246 w 5391150"/>
              <a:gd name="connsiteY56" fmla="*/ 699516 h 1000125"/>
              <a:gd name="connsiteX57" fmla="*/ 421958 w 5391150"/>
              <a:gd name="connsiteY57" fmla="*/ 691706 h 1000125"/>
              <a:gd name="connsiteX58" fmla="*/ 404527 w 5391150"/>
              <a:gd name="connsiteY58" fmla="*/ 698659 h 1000125"/>
              <a:gd name="connsiteX59" fmla="*/ 255270 w 5391150"/>
              <a:gd name="connsiteY59" fmla="*/ 756761 h 1000125"/>
              <a:gd name="connsiteX60" fmla="*/ 0 w 5391150"/>
              <a:gd name="connsiteY60" fmla="*/ 501491 h 1000125"/>
              <a:gd name="connsiteX61" fmla="*/ 255270 w 5391150"/>
              <a:gd name="connsiteY61" fmla="*/ 246317 h 1000125"/>
              <a:gd name="connsiteX62" fmla="*/ 404527 w 5391150"/>
              <a:gd name="connsiteY62" fmla="*/ 304419 h 1000125"/>
              <a:gd name="connsiteX63" fmla="*/ 421958 w 5391150"/>
              <a:gd name="connsiteY63" fmla="*/ 311468 h 1000125"/>
              <a:gd name="connsiteX64" fmla="*/ 440246 w 5391150"/>
              <a:gd name="connsiteY64" fmla="*/ 303752 h 1000125"/>
              <a:gd name="connsiteX65" fmla="*/ 465487 w 5391150"/>
              <a:gd name="connsiteY65" fmla="*/ 278130 h 1000125"/>
              <a:gd name="connsiteX66" fmla="*/ 484061 w 5391150"/>
              <a:gd name="connsiteY66" fmla="*/ 270415 h 1000125"/>
              <a:gd name="connsiteX67" fmla="*/ 510635 w 5391150"/>
              <a:gd name="connsiteY67" fmla="*/ 296894 h 1000125"/>
              <a:gd name="connsiteX68" fmla="*/ 370904 w 5391150"/>
              <a:gd name="connsiteY68" fmla="*/ 501587 h 1000125"/>
              <a:gd name="connsiteX69" fmla="*/ 262604 w 5391150"/>
              <a:gd name="connsiteY69" fmla="*/ 386810 h 1000125"/>
              <a:gd name="connsiteX70" fmla="*/ 154210 w 5391150"/>
              <a:gd name="connsiteY70" fmla="*/ 501587 h 1000125"/>
              <a:gd name="connsiteX71" fmla="*/ 262604 w 5391150"/>
              <a:gd name="connsiteY71" fmla="*/ 616458 h 1000125"/>
              <a:gd name="connsiteX72" fmla="*/ 370904 w 5391150"/>
              <a:gd name="connsiteY72" fmla="*/ 501587 h 1000125"/>
              <a:gd name="connsiteX73" fmla="*/ 3912965 w 5391150"/>
              <a:gd name="connsiteY73" fmla="*/ 296894 h 1000125"/>
              <a:gd name="connsiteX74" fmla="*/ 3912965 w 5391150"/>
              <a:gd name="connsiteY74" fmla="*/ 706374 h 1000125"/>
              <a:gd name="connsiteX75" fmla="*/ 3886581 w 5391150"/>
              <a:gd name="connsiteY75" fmla="*/ 732758 h 1000125"/>
              <a:gd name="connsiteX76" fmla="*/ 3867531 w 5391150"/>
              <a:gd name="connsiteY76" fmla="*/ 724948 h 1000125"/>
              <a:gd name="connsiteX77" fmla="*/ 3842385 w 5391150"/>
              <a:gd name="connsiteY77" fmla="*/ 699516 h 1000125"/>
              <a:gd name="connsiteX78" fmla="*/ 3824288 w 5391150"/>
              <a:gd name="connsiteY78" fmla="*/ 691706 h 1000125"/>
              <a:gd name="connsiteX79" fmla="*/ 3806762 w 5391150"/>
              <a:gd name="connsiteY79" fmla="*/ 698659 h 1000125"/>
              <a:gd name="connsiteX80" fmla="*/ 3657791 w 5391150"/>
              <a:gd name="connsiteY80" fmla="*/ 756761 h 1000125"/>
              <a:gd name="connsiteX81" fmla="*/ 3402235 w 5391150"/>
              <a:gd name="connsiteY81" fmla="*/ 501491 h 1000125"/>
              <a:gd name="connsiteX82" fmla="*/ 3657791 w 5391150"/>
              <a:gd name="connsiteY82" fmla="*/ 246317 h 1000125"/>
              <a:gd name="connsiteX83" fmla="*/ 3806762 w 5391150"/>
              <a:gd name="connsiteY83" fmla="*/ 304419 h 1000125"/>
              <a:gd name="connsiteX84" fmla="*/ 3824288 w 5391150"/>
              <a:gd name="connsiteY84" fmla="*/ 311468 h 1000125"/>
              <a:gd name="connsiteX85" fmla="*/ 3842385 w 5391150"/>
              <a:gd name="connsiteY85" fmla="*/ 303752 h 1000125"/>
              <a:gd name="connsiteX86" fmla="*/ 3867531 w 5391150"/>
              <a:gd name="connsiteY86" fmla="*/ 278130 h 1000125"/>
              <a:gd name="connsiteX87" fmla="*/ 3886581 w 5391150"/>
              <a:gd name="connsiteY87" fmla="*/ 270415 h 1000125"/>
              <a:gd name="connsiteX88" fmla="*/ 3912965 w 5391150"/>
              <a:gd name="connsiteY88" fmla="*/ 296894 h 1000125"/>
              <a:gd name="connsiteX89" fmla="*/ 3773234 w 5391150"/>
              <a:gd name="connsiteY89" fmla="*/ 501587 h 1000125"/>
              <a:gd name="connsiteX90" fmla="*/ 3665125 w 5391150"/>
              <a:gd name="connsiteY90" fmla="*/ 386810 h 1000125"/>
              <a:gd name="connsiteX91" fmla="*/ 3556635 w 5391150"/>
              <a:gd name="connsiteY91" fmla="*/ 501587 h 1000125"/>
              <a:gd name="connsiteX92" fmla="*/ 3665125 w 5391150"/>
              <a:gd name="connsiteY92" fmla="*/ 616458 h 1000125"/>
              <a:gd name="connsiteX93" fmla="*/ 3773234 w 5391150"/>
              <a:gd name="connsiteY93" fmla="*/ 501587 h 1000125"/>
              <a:gd name="connsiteX94" fmla="*/ 3298222 w 5391150"/>
              <a:gd name="connsiteY94" fmla="*/ 520351 h 1000125"/>
              <a:gd name="connsiteX95" fmla="*/ 3298222 w 5391150"/>
              <a:gd name="connsiteY95" fmla="*/ 551688 h 1000125"/>
              <a:gd name="connsiteX96" fmla="*/ 2963227 w 5391150"/>
              <a:gd name="connsiteY96" fmla="*/ 551688 h 1000125"/>
              <a:gd name="connsiteX97" fmla="*/ 3105817 w 5391150"/>
              <a:gd name="connsiteY97" fmla="*/ 644747 h 1000125"/>
              <a:gd name="connsiteX98" fmla="*/ 3254312 w 5391150"/>
              <a:gd name="connsiteY98" fmla="*/ 607314 h 1000125"/>
              <a:gd name="connsiteX99" fmla="*/ 3254312 w 5391150"/>
              <a:gd name="connsiteY99" fmla="*/ 726091 h 1000125"/>
              <a:gd name="connsiteX100" fmla="*/ 3075908 w 5391150"/>
              <a:gd name="connsiteY100" fmla="*/ 756952 h 1000125"/>
              <a:gd name="connsiteX101" fmla="*/ 2793778 w 5391150"/>
              <a:gd name="connsiteY101" fmla="*/ 501682 h 1000125"/>
              <a:gd name="connsiteX102" fmla="*/ 3053429 w 5391150"/>
              <a:gd name="connsiteY102" fmla="*/ 246507 h 1000125"/>
              <a:gd name="connsiteX103" fmla="*/ 3298222 w 5391150"/>
              <a:gd name="connsiteY103" fmla="*/ 520351 h 1000125"/>
              <a:gd name="connsiteX104" fmla="*/ 3142869 w 5391150"/>
              <a:gd name="connsiteY104" fmla="*/ 435102 h 1000125"/>
              <a:gd name="connsiteX105" fmla="*/ 3050762 w 5391150"/>
              <a:gd name="connsiteY105" fmla="*/ 352997 h 1000125"/>
              <a:gd name="connsiteX106" fmla="*/ 2960084 w 5391150"/>
              <a:gd name="connsiteY106" fmla="*/ 436055 h 1000125"/>
              <a:gd name="connsiteX107" fmla="*/ 2977229 w 5391150"/>
              <a:gd name="connsiteY107" fmla="*/ 456343 h 1000125"/>
              <a:gd name="connsiteX108" fmla="*/ 3125534 w 5391150"/>
              <a:gd name="connsiteY108" fmla="*/ 456343 h 1000125"/>
              <a:gd name="connsiteX109" fmla="*/ 3142869 w 5391150"/>
              <a:gd name="connsiteY109" fmla="*/ 435102 h 1000125"/>
              <a:gd name="connsiteX110" fmla="*/ 4898422 w 5391150"/>
              <a:gd name="connsiteY110" fmla="*/ 0 h 1000125"/>
              <a:gd name="connsiteX111" fmla="*/ 4579620 w 5391150"/>
              <a:gd name="connsiteY111" fmla="*/ 114491 h 1000125"/>
              <a:gd name="connsiteX112" fmla="*/ 4545426 w 5391150"/>
              <a:gd name="connsiteY112" fmla="*/ 127826 h 1000125"/>
              <a:gd name="connsiteX113" fmla="*/ 4510088 w 5391150"/>
              <a:gd name="connsiteY113" fmla="*/ 113157 h 1000125"/>
              <a:gd name="connsiteX114" fmla="*/ 4453890 w 5391150"/>
              <a:gd name="connsiteY114" fmla="*/ 57245 h 1000125"/>
              <a:gd name="connsiteX115" fmla="*/ 4430078 w 5391150"/>
              <a:gd name="connsiteY115" fmla="*/ 47530 h 1000125"/>
              <a:gd name="connsiteX116" fmla="*/ 4396835 w 5391150"/>
              <a:gd name="connsiteY116" fmla="*/ 81248 h 1000125"/>
              <a:gd name="connsiteX117" fmla="*/ 4396835 w 5391150"/>
              <a:gd name="connsiteY117" fmla="*/ 922020 h 1000125"/>
              <a:gd name="connsiteX118" fmla="*/ 4430078 w 5391150"/>
              <a:gd name="connsiteY118" fmla="*/ 955738 h 1000125"/>
              <a:gd name="connsiteX119" fmla="*/ 4453890 w 5391150"/>
              <a:gd name="connsiteY119" fmla="*/ 946023 h 1000125"/>
              <a:gd name="connsiteX120" fmla="*/ 4510088 w 5391150"/>
              <a:gd name="connsiteY120" fmla="*/ 890111 h 1000125"/>
              <a:gd name="connsiteX121" fmla="*/ 4545426 w 5391150"/>
              <a:gd name="connsiteY121" fmla="*/ 875443 h 1000125"/>
              <a:gd name="connsiteX122" fmla="*/ 4579620 w 5391150"/>
              <a:gd name="connsiteY122" fmla="*/ 888778 h 1000125"/>
              <a:gd name="connsiteX123" fmla="*/ 4898422 w 5391150"/>
              <a:gd name="connsiteY123" fmla="*/ 1003268 h 1000125"/>
              <a:gd name="connsiteX124" fmla="*/ 5399913 w 5391150"/>
              <a:gd name="connsiteY124" fmla="*/ 501682 h 1000125"/>
              <a:gd name="connsiteX125" fmla="*/ 4898422 w 5391150"/>
              <a:gd name="connsiteY125" fmla="*/ 0 h 1000125"/>
              <a:gd name="connsiteX126" fmla="*/ 4882706 w 5391150"/>
              <a:gd name="connsiteY126" fmla="*/ 191262 h 1000125"/>
              <a:gd name="connsiteX127" fmla="*/ 5080254 w 5391150"/>
              <a:gd name="connsiteY127" fmla="*/ 261938 h 1000125"/>
              <a:gd name="connsiteX128" fmla="*/ 5101019 w 5391150"/>
              <a:gd name="connsiteY128" fmla="*/ 270224 h 1000125"/>
              <a:gd name="connsiteX129" fmla="*/ 5123021 w 5391150"/>
              <a:gd name="connsiteY129" fmla="*/ 261271 h 1000125"/>
              <a:gd name="connsiteX130" fmla="*/ 5157883 w 5391150"/>
              <a:gd name="connsiteY130" fmla="*/ 226600 h 1000125"/>
              <a:gd name="connsiteX131" fmla="*/ 5172171 w 5391150"/>
              <a:gd name="connsiteY131" fmla="*/ 220599 h 1000125"/>
              <a:gd name="connsiteX132" fmla="*/ 5193221 w 5391150"/>
              <a:gd name="connsiteY132" fmla="*/ 241364 h 1000125"/>
              <a:gd name="connsiteX133" fmla="*/ 5193221 w 5391150"/>
              <a:gd name="connsiteY133" fmla="*/ 761810 h 1000125"/>
              <a:gd name="connsiteX134" fmla="*/ 5172171 w 5391150"/>
              <a:gd name="connsiteY134" fmla="*/ 782574 h 1000125"/>
              <a:gd name="connsiteX135" fmla="*/ 5157883 w 5391150"/>
              <a:gd name="connsiteY135" fmla="*/ 776573 h 1000125"/>
              <a:gd name="connsiteX136" fmla="*/ 5123021 w 5391150"/>
              <a:gd name="connsiteY136" fmla="*/ 741902 h 1000125"/>
              <a:gd name="connsiteX137" fmla="*/ 5101019 w 5391150"/>
              <a:gd name="connsiteY137" fmla="*/ 732949 h 1000125"/>
              <a:gd name="connsiteX138" fmla="*/ 5080254 w 5391150"/>
              <a:gd name="connsiteY138" fmla="*/ 741236 h 1000125"/>
              <a:gd name="connsiteX139" fmla="*/ 4882706 w 5391150"/>
              <a:gd name="connsiteY139" fmla="*/ 811911 h 1000125"/>
              <a:gd name="connsiteX140" fmla="*/ 4572667 w 5391150"/>
              <a:gd name="connsiteY140" fmla="*/ 501587 h 1000125"/>
              <a:gd name="connsiteX141" fmla="*/ 4882706 w 5391150"/>
              <a:gd name="connsiteY141" fmla="*/ 191262 h 1000125"/>
              <a:gd name="connsiteX142" fmla="*/ 4890612 w 5391150"/>
              <a:gd name="connsiteY142" fmla="*/ 635508 h 1000125"/>
              <a:gd name="connsiteX143" fmla="*/ 5016627 w 5391150"/>
              <a:gd name="connsiteY143" fmla="*/ 501682 h 1000125"/>
              <a:gd name="connsiteX144" fmla="*/ 4890612 w 5391150"/>
              <a:gd name="connsiteY144" fmla="*/ 367856 h 1000125"/>
              <a:gd name="connsiteX145" fmla="*/ 4764786 w 5391150"/>
              <a:gd name="connsiteY145" fmla="*/ 501682 h 1000125"/>
              <a:gd name="connsiteX146" fmla="*/ 4890612 w 5391150"/>
              <a:gd name="connsiteY146" fmla="*/ 635508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5391150" h="1000125">
                <a:moveTo>
                  <a:pt x="1694783" y="439484"/>
                </a:moveTo>
                <a:lnTo>
                  <a:pt x="1694783" y="744474"/>
                </a:lnTo>
                <a:lnTo>
                  <a:pt x="1525715" y="744474"/>
                </a:lnTo>
                <a:lnTo>
                  <a:pt x="1525715" y="507778"/>
                </a:lnTo>
                <a:cubicBezTo>
                  <a:pt x="1525715" y="416147"/>
                  <a:pt x="1494092" y="385286"/>
                  <a:pt x="1447991" y="385286"/>
                </a:cubicBezTo>
                <a:cubicBezTo>
                  <a:pt x="1378553" y="385286"/>
                  <a:pt x="1343025" y="433197"/>
                  <a:pt x="1343025" y="537972"/>
                </a:cubicBezTo>
                <a:lnTo>
                  <a:pt x="1343025" y="744569"/>
                </a:lnTo>
                <a:lnTo>
                  <a:pt x="1174337" y="744569"/>
                </a:lnTo>
                <a:lnTo>
                  <a:pt x="1174337" y="44291"/>
                </a:lnTo>
                <a:cubicBezTo>
                  <a:pt x="1174337" y="44291"/>
                  <a:pt x="1299210" y="44291"/>
                  <a:pt x="1307306" y="44291"/>
                </a:cubicBezTo>
                <a:cubicBezTo>
                  <a:pt x="1327499" y="44291"/>
                  <a:pt x="1342930" y="54197"/>
                  <a:pt x="1342930" y="81725"/>
                </a:cubicBezTo>
                <a:cubicBezTo>
                  <a:pt x="1342930" y="91154"/>
                  <a:pt x="1342930" y="328041"/>
                  <a:pt x="1342930" y="328041"/>
                </a:cubicBezTo>
                <a:lnTo>
                  <a:pt x="1344740" y="328041"/>
                </a:lnTo>
                <a:cubicBezTo>
                  <a:pt x="1381411" y="277368"/>
                  <a:pt x="1434751" y="244793"/>
                  <a:pt x="1507998" y="244793"/>
                </a:cubicBezTo>
                <a:cubicBezTo>
                  <a:pt x="1641158" y="244697"/>
                  <a:pt x="1694783" y="338138"/>
                  <a:pt x="1694783" y="439484"/>
                </a:cubicBezTo>
                <a:close/>
                <a:moveTo>
                  <a:pt x="799910" y="504920"/>
                </a:moveTo>
                <a:cubicBezTo>
                  <a:pt x="799910" y="420053"/>
                  <a:pt x="857345" y="371094"/>
                  <a:pt x="930402" y="371094"/>
                </a:cubicBezTo>
                <a:cubicBezTo>
                  <a:pt x="958787" y="371094"/>
                  <a:pt x="982409" y="374999"/>
                  <a:pt x="1004792" y="383667"/>
                </a:cubicBezTo>
                <a:cubicBezTo>
                  <a:pt x="1009936" y="385763"/>
                  <a:pt x="1013270" y="387668"/>
                  <a:pt x="1017651" y="388144"/>
                </a:cubicBezTo>
                <a:cubicBezTo>
                  <a:pt x="1018318" y="388144"/>
                  <a:pt x="1018794" y="388144"/>
                  <a:pt x="1019270" y="388144"/>
                </a:cubicBezTo>
                <a:cubicBezTo>
                  <a:pt x="1028700" y="388144"/>
                  <a:pt x="1036225" y="380619"/>
                  <a:pt x="1036225" y="371475"/>
                </a:cubicBezTo>
                <a:cubicBezTo>
                  <a:pt x="1036225" y="371189"/>
                  <a:pt x="1036225" y="269843"/>
                  <a:pt x="1036225" y="269843"/>
                </a:cubicBezTo>
                <a:cubicBezTo>
                  <a:pt x="999839" y="254032"/>
                  <a:pt x="957644" y="246412"/>
                  <a:pt x="910876" y="246412"/>
                </a:cubicBezTo>
                <a:cubicBezTo>
                  <a:pt x="748856" y="246412"/>
                  <a:pt x="624649" y="339090"/>
                  <a:pt x="624649" y="502063"/>
                </a:cubicBezTo>
                <a:cubicBezTo>
                  <a:pt x="624649" y="664274"/>
                  <a:pt x="748189" y="756952"/>
                  <a:pt x="910019" y="756952"/>
                </a:cubicBezTo>
                <a:cubicBezTo>
                  <a:pt x="953834" y="756952"/>
                  <a:pt x="1003078" y="749808"/>
                  <a:pt x="1044988" y="736568"/>
                </a:cubicBezTo>
                <a:lnTo>
                  <a:pt x="1044988" y="609219"/>
                </a:lnTo>
                <a:cubicBezTo>
                  <a:pt x="1016508" y="623983"/>
                  <a:pt x="977837" y="632746"/>
                  <a:pt x="939070" y="632746"/>
                </a:cubicBezTo>
                <a:cubicBezTo>
                  <a:pt x="865823" y="632841"/>
                  <a:pt x="799910" y="582930"/>
                  <a:pt x="799910" y="504920"/>
                </a:cubicBezTo>
                <a:close/>
                <a:moveTo>
                  <a:pt x="2498884" y="244697"/>
                </a:moveTo>
                <a:cubicBezTo>
                  <a:pt x="2429637" y="244697"/>
                  <a:pt x="2364772" y="272891"/>
                  <a:pt x="2325529" y="338423"/>
                </a:cubicBezTo>
                <a:cubicBezTo>
                  <a:pt x="2299240" y="274892"/>
                  <a:pt x="2242185" y="244697"/>
                  <a:pt x="2172653" y="244697"/>
                </a:cubicBezTo>
                <a:cubicBezTo>
                  <a:pt x="2100929" y="244697"/>
                  <a:pt x="2046923" y="269939"/>
                  <a:pt x="1990154" y="326422"/>
                </a:cubicBezTo>
                <a:cubicBezTo>
                  <a:pt x="1990154" y="326422"/>
                  <a:pt x="1979581" y="338328"/>
                  <a:pt x="1968818" y="338328"/>
                </a:cubicBezTo>
                <a:cubicBezTo>
                  <a:pt x="1962150" y="338328"/>
                  <a:pt x="1956149" y="335756"/>
                  <a:pt x="1951577" y="331565"/>
                </a:cubicBezTo>
                <a:lnTo>
                  <a:pt x="1884426" y="263652"/>
                </a:lnTo>
                <a:cubicBezTo>
                  <a:pt x="1879568" y="258890"/>
                  <a:pt x="1873091" y="255746"/>
                  <a:pt x="1865567" y="255746"/>
                </a:cubicBezTo>
                <a:cubicBezTo>
                  <a:pt x="1850708" y="255746"/>
                  <a:pt x="1838992" y="268224"/>
                  <a:pt x="1838992" y="282416"/>
                </a:cubicBezTo>
                <a:lnTo>
                  <a:pt x="1838992" y="744474"/>
                </a:lnTo>
                <a:lnTo>
                  <a:pt x="2007870" y="744474"/>
                </a:lnTo>
                <a:lnTo>
                  <a:pt x="2007870" y="538258"/>
                </a:lnTo>
                <a:cubicBezTo>
                  <a:pt x="2007870" y="433292"/>
                  <a:pt x="2043684" y="385382"/>
                  <a:pt x="2103787" y="385382"/>
                </a:cubicBezTo>
                <a:cubicBezTo>
                  <a:pt x="2151317" y="385382"/>
                  <a:pt x="2170843" y="426625"/>
                  <a:pt x="2170843" y="481965"/>
                </a:cubicBezTo>
                <a:lnTo>
                  <a:pt x="2170843" y="744474"/>
                </a:lnTo>
                <a:lnTo>
                  <a:pt x="2339721" y="744474"/>
                </a:lnTo>
                <a:lnTo>
                  <a:pt x="2339721" y="538258"/>
                </a:lnTo>
                <a:cubicBezTo>
                  <a:pt x="2339721" y="433292"/>
                  <a:pt x="2375249" y="385382"/>
                  <a:pt x="2435543" y="385382"/>
                </a:cubicBezTo>
                <a:cubicBezTo>
                  <a:pt x="2482787" y="385382"/>
                  <a:pt x="2502884" y="426625"/>
                  <a:pt x="2502884" y="481965"/>
                </a:cubicBezTo>
                <a:lnTo>
                  <a:pt x="2502884" y="744474"/>
                </a:lnTo>
                <a:lnTo>
                  <a:pt x="2671382" y="744474"/>
                </a:lnTo>
                <a:lnTo>
                  <a:pt x="2671382" y="456819"/>
                </a:lnTo>
                <a:cubicBezTo>
                  <a:pt x="2671286" y="324422"/>
                  <a:pt x="2639377" y="244697"/>
                  <a:pt x="2498884" y="244697"/>
                </a:cubicBezTo>
                <a:close/>
                <a:moveTo>
                  <a:pt x="510635" y="296894"/>
                </a:moveTo>
                <a:lnTo>
                  <a:pt x="510635" y="706374"/>
                </a:lnTo>
                <a:cubicBezTo>
                  <a:pt x="510635" y="720471"/>
                  <a:pt x="499015" y="732758"/>
                  <a:pt x="484061" y="732758"/>
                </a:cubicBezTo>
                <a:cubicBezTo>
                  <a:pt x="476441" y="732758"/>
                  <a:pt x="469868" y="729329"/>
                  <a:pt x="465487" y="724948"/>
                </a:cubicBezTo>
                <a:lnTo>
                  <a:pt x="440246" y="699516"/>
                </a:lnTo>
                <a:cubicBezTo>
                  <a:pt x="435578" y="694563"/>
                  <a:pt x="429006" y="691706"/>
                  <a:pt x="421958" y="691706"/>
                </a:cubicBezTo>
                <a:cubicBezTo>
                  <a:pt x="415100" y="691706"/>
                  <a:pt x="409289" y="694468"/>
                  <a:pt x="404527" y="698659"/>
                </a:cubicBezTo>
                <a:cubicBezTo>
                  <a:pt x="362331" y="737330"/>
                  <a:pt x="317087" y="756761"/>
                  <a:pt x="255270" y="756761"/>
                </a:cubicBezTo>
                <a:cubicBezTo>
                  <a:pt x="114014" y="756761"/>
                  <a:pt x="0" y="642461"/>
                  <a:pt x="0" y="501491"/>
                </a:cubicBezTo>
                <a:cubicBezTo>
                  <a:pt x="0" y="360617"/>
                  <a:pt x="114014" y="246317"/>
                  <a:pt x="255270" y="246317"/>
                </a:cubicBezTo>
                <a:cubicBezTo>
                  <a:pt x="317087" y="246317"/>
                  <a:pt x="362331" y="265843"/>
                  <a:pt x="404527" y="304419"/>
                </a:cubicBezTo>
                <a:cubicBezTo>
                  <a:pt x="409289" y="308705"/>
                  <a:pt x="415100" y="311468"/>
                  <a:pt x="421958" y="311468"/>
                </a:cubicBezTo>
                <a:cubicBezTo>
                  <a:pt x="429006" y="311468"/>
                  <a:pt x="435483" y="308229"/>
                  <a:pt x="440246" y="303752"/>
                </a:cubicBezTo>
                <a:lnTo>
                  <a:pt x="465487" y="278130"/>
                </a:lnTo>
                <a:cubicBezTo>
                  <a:pt x="469868" y="273558"/>
                  <a:pt x="476441" y="270415"/>
                  <a:pt x="484061" y="270415"/>
                </a:cubicBezTo>
                <a:cubicBezTo>
                  <a:pt x="499015" y="270510"/>
                  <a:pt x="510635" y="282893"/>
                  <a:pt x="510635" y="296894"/>
                </a:cubicBezTo>
                <a:close/>
                <a:moveTo>
                  <a:pt x="370904" y="501587"/>
                </a:moveTo>
                <a:cubicBezTo>
                  <a:pt x="370904" y="438150"/>
                  <a:pt x="322421" y="386810"/>
                  <a:pt x="262604" y="386810"/>
                </a:cubicBezTo>
                <a:cubicBezTo>
                  <a:pt x="202406" y="386810"/>
                  <a:pt x="154210" y="438150"/>
                  <a:pt x="154210" y="501587"/>
                </a:cubicBezTo>
                <a:cubicBezTo>
                  <a:pt x="154210" y="565118"/>
                  <a:pt x="202406" y="616458"/>
                  <a:pt x="262604" y="616458"/>
                </a:cubicBezTo>
                <a:cubicBezTo>
                  <a:pt x="322517" y="616458"/>
                  <a:pt x="370904" y="565118"/>
                  <a:pt x="370904" y="501587"/>
                </a:cubicBezTo>
                <a:close/>
                <a:moveTo>
                  <a:pt x="3912965" y="296894"/>
                </a:moveTo>
                <a:lnTo>
                  <a:pt x="3912965" y="706374"/>
                </a:lnTo>
                <a:cubicBezTo>
                  <a:pt x="3912965" y="720471"/>
                  <a:pt x="3901535" y="732758"/>
                  <a:pt x="3886581" y="732758"/>
                </a:cubicBezTo>
                <a:cubicBezTo>
                  <a:pt x="3878771" y="732758"/>
                  <a:pt x="3872008" y="729329"/>
                  <a:pt x="3867531" y="724948"/>
                </a:cubicBezTo>
                <a:lnTo>
                  <a:pt x="3842385" y="699516"/>
                </a:lnTo>
                <a:cubicBezTo>
                  <a:pt x="3837813" y="694563"/>
                  <a:pt x="3831146" y="691706"/>
                  <a:pt x="3824288" y="691706"/>
                </a:cubicBezTo>
                <a:cubicBezTo>
                  <a:pt x="3817430" y="691706"/>
                  <a:pt x="3811429" y="694468"/>
                  <a:pt x="3806762" y="698659"/>
                </a:cubicBezTo>
                <a:cubicBezTo>
                  <a:pt x="3764471" y="737330"/>
                  <a:pt x="3719227" y="756761"/>
                  <a:pt x="3657791" y="756761"/>
                </a:cubicBezTo>
                <a:cubicBezTo>
                  <a:pt x="3516154" y="756761"/>
                  <a:pt x="3402235" y="642461"/>
                  <a:pt x="3402235" y="501491"/>
                </a:cubicBezTo>
                <a:cubicBezTo>
                  <a:pt x="3402235" y="360617"/>
                  <a:pt x="3516154" y="246317"/>
                  <a:pt x="3657791" y="246317"/>
                </a:cubicBezTo>
                <a:cubicBezTo>
                  <a:pt x="3719227" y="246317"/>
                  <a:pt x="3764471" y="265843"/>
                  <a:pt x="3806762" y="304419"/>
                </a:cubicBezTo>
                <a:cubicBezTo>
                  <a:pt x="3811429" y="308705"/>
                  <a:pt x="3817430" y="311468"/>
                  <a:pt x="3824288" y="311468"/>
                </a:cubicBezTo>
                <a:cubicBezTo>
                  <a:pt x="3831146" y="311468"/>
                  <a:pt x="3837813" y="308229"/>
                  <a:pt x="3842385" y="303752"/>
                </a:cubicBezTo>
                <a:lnTo>
                  <a:pt x="3867531" y="278130"/>
                </a:lnTo>
                <a:cubicBezTo>
                  <a:pt x="3872008" y="273558"/>
                  <a:pt x="3878771" y="270415"/>
                  <a:pt x="3886581" y="270415"/>
                </a:cubicBezTo>
                <a:cubicBezTo>
                  <a:pt x="3901535" y="270510"/>
                  <a:pt x="3912965" y="282893"/>
                  <a:pt x="3912965" y="296894"/>
                </a:cubicBezTo>
                <a:close/>
                <a:moveTo>
                  <a:pt x="3773234" y="501587"/>
                </a:moveTo>
                <a:cubicBezTo>
                  <a:pt x="3773234" y="438150"/>
                  <a:pt x="3724656" y="386810"/>
                  <a:pt x="3665125" y="386810"/>
                </a:cubicBezTo>
                <a:cubicBezTo>
                  <a:pt x="3604832" y="386810"/>
                  <a:pt x="3556635" y="438150"/>
                  <a:pt x="3556635" y="501587"/>
                </a:cubicBezTo>
                <a:cubicBezTo>
                  <a:pt x="3556635" y="565118"/>
                  <a:pt x="3604927" y="616458"/>
                  <a:pt x="3665125" y="616458"/>
                </a:cubicBezTo>
                <a:cubicBezTo>
                  <a:pt x="3724751" y="616458"/>
                  <a:pt x="3773234" y="565118"/>
                  <a:pt x="3773234" y="501587"/>
                </a:cubicBezTo>
                <a:close/>
                <a:moveTo>
                  <a:pt x="3298222" y="520351"/>
                </a:moveTo>
                <a:lnTo>
                  <a:pt x="3298222" y="551688"/>
                </a:lnTo>
                <a:lnTo>
                  <a:pt x="2963227" y="551688"/>
                </a:lnTo>
                <a:cubicBezTo>
                  <a:pt x="2972657" y="619030"/>
                  <a:pt x="3024092" y="644747"/>
                  <a:pt x="3105817" y="644747"/>
                </a:cubicBezTo>
                <a:cubicBezTo>
                  <a:pt x="3151251" y="644747"/>
                  <a:pt x="3203258" y="634270"/>
                  <a:pt x="3254312" y="607314"/>
                </a:cubicBezTo>
                <a:lnTo>
                  <a:pt x="3254312" y="726091"/>
                </a:lnTo>
                <a:cubicBezTo>
                  <a:pt x="3199352" y="747808"/>
                  <a:pt x="3138297" y="756952"/>
                  <a:pt x="3075908" y="756952"/>
                </a:cubicBezTo>
                <a:cubicBezTo>
                  <a:pt x="2915698" y="756952"/>
                  <a:pt x="2793778" y="663226"/>
                  <a:pt x="2793778" y="501682"/>
                </a:cubicBezTo>
                <a:cubicBezTo>
                  <a:pt x="2793778" y="340328"/>
                  <a:pt x="2902458" y="246507"/>
                  <a:pt x="3053429" y="246507"/>
                </a:cubicBezTo>
                <a:cubicBezTo>
                  <a:pt x="3232976" y="246412"/>
                  <a:pt x="3298222" y="375285"/>
                  <a:pt x="3298222" y="520351"/>
                </a:cubicBezTo>
                <a:close/>
                <a:moveTo>
                  <a:pt x="3142869" y="435102"/>
                </a:moveTo>
                <a:cubicBezTo>
                  <a:pt x="3136868" y="388715"/>
                  <a:pt x="3109151" y="352997"/>
                  <a:pt x="3050762" y="352997"/>
                </a:cubicBezTo>
                <a:cubicBezTo>
                  <a:pt x="2997422" y="352997"/>
                  <a:pt x="2968943" y="389001"/>
                  <a:pt x="2960084" y="436055"/>
                </a:cubicBezTo>
                <a:cubicBezTo>
                  <a:pt x="2958275" y="447580"/>
                  <a:pt x="2964942" y="456343"/>
                  <a:pt x="2977229" y="456343"/>
                </a:cubicBezTo>
                <a:lnTo>
                  <a:pt x="3125534" y="456343"/>
                </a:lnTo>
                <a:cubicBezTo>
                  <a:pt x="3136487" y="456343"/>
                  <a:pt x="3144584" y="449485"/>
                  <a:pt x="3142869" y="435102"/>
                </a:cubicBezTo>
                <a:close/>
                <a:moveTo>
                  <a:pt x="4898422" y="0"/>
                </a:moveTo>
                <a:cubicBezTo>
                  <a:pt x="4777169" y="0"/>
                  <a:pt x="4662011" y="38576"/>
                  <a:pt x="4579620" y="114491"/>
                </a:cubicBezTo>
                <a:cubicBezTo>
                  <a:pt x="4570571" y="122682"/>
                  <a:pt x="4558665" y="127826"/>
                  <a:pt x="4545426" y="127826"/>
                </a:cubicBezTo>
                <a:cubicBezTo>
                  <a:pt x="4531614" y="127826"/>
                  <a:pt x="4519136" y="121920"/>
                  <a:pt x="4510088" y="113157"/>
                </a:cubicBezTo>
                <a:lnTo>
                  <a:pt x="4453890" y="57245"/>
                </a:lnTo>
                <a:cubicBezTo>
                  <a:pt x="4447699" y="51245"/>
                  <a:pt x="4439412" y="47530"/>
                  <a:pt x="4430078" y="47530"/>
                </a:cubicBezTo>
                <a:cubicBezTo>
                  <a:pt x="4411790" y="47530"/>
                  <a:pt x="4396835" y="62484"/>
                  <a:pt x="4396835" y="81248"/>
                </a:cubicBezTo>
                <a:lnTo>
                  <a:pt x="4396835" y="922020"/>
                </a:lnTo>
                <a:cubicBezTo>
                  <a:pt x="4396835" y="940689"/>
                  <a:pt x="4411790" y="955738"/>
                  <a:pt x="4430078" y="955738"/>
                </a:cubicBezTo>
                <a:cubicBezTo>
                  <a:pt x="4439317" y="955738"/>
                  <a:pt x="4447699" y="951929"/>
                  <a:pt x="4453890" y="946023"/>
                </a:cubicBezTo>
                <a:lnTo>
                  <a:pt x="4510088" y="890111"/>
                </a:lnTo>
                <a:cubicBezTo>
                  <a:pt x="4519136" y="881348"/>
                  <a:pt x="4531614" y="875443"/>
                  <a:pt x="4545426" y="875443"/>
                </a:cubicBezTo>
                <a:cubicBezTo>
                  <a:pt x="4558665" y="875443"/>
                  <a:pt x="4570571" y="880586"/>
                  <a:pt x="4579620" y="888778"/>
                </a:cubicBezTo>
                <a:cubicBezTo>
                  <a:pt x="4662107" y="964692"/>
                  <a:pt x="4777169" y="1003268"/>
                  <a:pt x="4898422" y="1003268"/>
                </a:cubicBezTo>
                <a:cubicBezTo>
                  <a:pt x="5175314" y="1003268"/>
                  <a:pt x="5399913" y="778669"/>
                  <a:pt x="5399913" y="501682"/>
                </a:cubicBezTo>
                <a:cubicBezTo>
                  <a:pt x="5399913" y="224600"/>
                  <a:pt x="5175314" y="0"/>
                  <a:pt x="4898422" y="0"/>
                </a:cubicBezTo>
                <a:close/>
                <a:moveTo>
                  <a:pt x="4882706" y="191262"/>
                </a:moveTo>
                <a:cubicBezTo>
                  <a:pt x="4957763" y="191262"/>
                  <a:pt x="5028914" y="214979"/>
                  <a:pt x="5080254" y="261938"/>
                </a:cubicBezTo>
                <a:cubicBezTo>
                  <a:pt x="5085779" y="267081"/>
                  <a:pt x="5092923" y="270224"/>
                  <a:pt x="5101019" y="270224"/>
                </a:cubicBezTo>
                <a:cubicBezTo>
                  <a:pt x="5109781" y="270224"/>
                  <a:pt x="5117497" y="266795"/>
                  <a:pt x="5123021" y="261271"/>
                </a:cubicBezTo>
                <a:lnTo>
                  <a:pt x="5157883" y="226600"/>
                </a:lnTo>
                <a:cubicBezTo>
                  <a:pt x="5161312" y="222980"/>
                  <a:pt x="5166741" y="220599"/>
                  <a:pt x="5172171" y="220599"/>
                </a:cubicBezTo>
                <a:cubicBezTo>
                  <a:pt x="5183791" y="220599"/>
                  <a:pt x="5193221" y="229934"/>
                  <a:pt x="5193221" y="241364"/>
                </a:cubicBezTo>
                <a:lnTo>
                  <a:pt x="5193221" y="761810"/>
                </a:lnTo>
                <a:cubicBezTo>
                  <a:pt x="5193221" y="773240"/>
                  <a:pt x="5183886" y="782574"/>
                  <a:pt x="5172171" y="782574"/>
                </a:cubicBezTo>
                <a:cubicBezTo>
                  <a:pt x="5166741" y="782574"/>
                  <a:pt x="5161312" y="780193"/>
                  <a:pt x="5157883" y="776573"/>
                </a:cubicBezTo>
                <a:lnTo>
                  <a:pt x="5123021" y="741902"/>
                </a:lnTo>
                <a:cubicBezTo>
                  <a:pt x="5117592" y="736378"/>
                  <a:pt x="5109877" y="732949"/>
                  <a:pt x="5101019" y="732949"/>
                </a:cubicBezTo>
                <a:cubicBezTo>
                  <a:pt x="5092923" y="732949"/>
                  <a:pt x="5085779" y="735997"/>
                  <a:pt x="5080254" y="741236"/>
                </a:cubicBezTo>
                <a:cubicBezTo>
                  <a:pt x="5028914" y="788194"/>
                  <a:pt x="4957763" y="811911"/>
                  <a:pt x="4882706" y="811911"/>
                </a:cubicBezTo>
                <a:cubicBezTo>
                  <a:pt x="4711542" y="811911"/>
                  <a:pt x="4572667" y="673132"/>
                  <a:pt x="4572667" y="501587"/>
                </a:cubicBezTo>
                <a:cubicBezTo>
                  <a:pt x="4572667" y="330041"/>
                  <a:pt x="4711542" y="191262"/>
                  <a:pt x="4882706" y="191262"/>
                </a:cubicBezTo>
                <a:close/>
                <a:moveTo>
                  <a:pt x="4890612" y="635508"/>
                </a:moveTo>
                <a:cubicBezTo>
                  <a:pt x="4960239" y="635508"/>
                  <a:pt x="5016627" y="575405"/>
                  <a:pt x="5016627" y="501682"/>
                </a:cubicBezTo>
                <a:cubicBezTo>
                  <a:pt x="5016627" y="427958"/>
                  <a:pt x="4960239" y="367856"/>
                  <a:pt x="4890612" y="367856"/>
                </a:cubicBezTo>
                <a:cubicBezTo>
                  <a:pt x="4820889" y="367856"/>
                  <a:pt x="4764786" y="427958"/>
                  <a:pt x="4764786" y="501682"/>
                </a:cubicBezTo>
                <a:cubicBezTo>
                  <a:pt x="4764786" y="575405"/>
                  <a:pt x="4820889" y="635508"/>
                  <a:pt x="4890612" y="635508"/>
                </a:cubicBezTo>
                <a:close/>
              </a:path>
            </a:pathLst>
          </a:custGeom>
          <a:solidFill>
            <a:srgbClr val="CC0000"/>
          </a:solidFill>
          <a:ln w="9525" cap="flat">
            <a:noFill/>
            <a:prstDash val="solid"/>
            <a:miter/>
          </a:ln>
        </p:spPr>
        <p:txBody>
          <a:bodyPr rtlCol="0" anchor="ctr"/>
          <a:lstStyle/>
          <a:p>
            <a:endParaRPr lang="nl-NL" noProof="0">
              <a:latin typeface="+mn-lt"/>
            </a:endParaRPr>
          </a:p>
        </p:txBody>
      </p:sp>
      <p:sp>
        <p:nvSpPr>
          <p:cNvPr id="7" name="Rechthoek 6">
            <a:extLst>
              <a:ext uri="{FF2B5EF4-FFF2-40B4-BE49-F238E27FC236}">
                <a16:creationId xmlns:a16="http://schemas.microsoft.com/office/drawing/2014/main" id="{A195EC66-DC64-44B6-BB19-DC4F493EF84D}"/>
              </a:ext>
            </a:extLst>
          </p:cNvPr>
          <p:cNvSpPr/>
          <p:nvPr userDrawn="1"/>
        </p:nvSpPr>
        <p:spPr>
          <a:xfrm>
            <a:off x="0" y="6265769"/>
            <a:ext cx="12192000" cy="36000"/>
          </a:xfrm>
          <a:prstGeom prst="rect">
            <a:avLst/>
          </a:prstGeom>
          <a:solidFill>
            <a:srgbClr val="417FA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noProof="0"/>
          </a:p>
        </p:txBody>
      </p:sp>
      <p:grpSp>
        <p:nvGrpSpPr>
          <p:cNvPr id="96" name="GRID" hidden="1">
            <a:extLst>
              <a:ext uri="{FF2B5EF4-FFF2-40B4-BE49-F238E27FC236}">
                <a16:creationId xmlns:a16="http://schemas.microsoft.com/office/drawing/2014/main" id="{75B097B3-7A68-4D5C-B43B-DF33941C7F97}"/>
              </a:ext>
            </a:extLst>
          </p:cNvPr>
          <p:cNvGrpSpPr/>
          <p:nvPr userDrawn="1"/>
        </p:nvGrpSpPr>
        <p:grpSpPr>
          <a:xfrm>
            <a:off x="0" y="0"/>
            <a:ext cx="12192000" cy="6858000"/>
            <a:chOff x="0" y="0"/>
            <a:chExt cx="12192000" cy="6858000"/>
          </a:xfrm>
          <a:solidFill>
            <a:schemeClr val="tx1">
              <a:alpha val="30000"/>
            </a:schemeClr>
          </a:solidFill>
        </p:grpSpPr>
        <p:sp>
          <p:nvSpPr>
            <p:cNvPr id="97" name="Rechthoek 96">
              <a:extLst>
                <a:ext uri="{FF2B5EF4-FFF2-40B4-BE49-F238E27FC236}">
                  <a16:creationId xmlns:a16="http://schemas.microsoft.com/office/drawing/2014/main" id="{EE3D9B21-E975-43D7-8C81-95C8CDD290B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8" name="Rechthoek 97">
              <a:extLst>
                <a:ext uri="{FF2B5EF4-FFF2-40B4-BE49-F238E27FC236}">
                  <a16:creationId xmlns:a16="http://schemas.microsoft.com/office/drawing/2014/main" id="{105DD2F5-A6F6-4D19-B89E-2F7BCA325C6F}"/>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9" name="Rechthoek 98">
              <a:extLst>
                <a:ext uri="{FF2B5EF4-FFF2-40B4-BE49-F238E27FC236}">
                  <a16:creationId xmlns:a16="http://schemas.microsoft.com/office/drawing/2014/main" id="{2AEA8E2A-9314-4431-84B8-815D27F55574}"/>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0" name="Rechthoek 99">
              <a:extLst>
                <a:ext uri="{FF2B5EF4-FFF2-40B4-BE49-F238E27FC236}">
                  <a16:creationId xmlns:a16="http://schemas.microsoft.com/office/drawing/2014/main" id="{CDFCBDD9-389E-4547-9AAC-86E6DEAA46E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1" name="Rechthoek 100">
              <a:extLst>
                <a:ext uri="{FF2B5EF4-FFF2-40B4-BE49-F238E27FC236}">
                  <a16:creationId xmlns:a16="http://schemas.microsoft.com/office/drawing/2014/main" id="{96AE3856-6B74-49F5-9845-EF4D8D887E33}"/>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2" name="Rechthoek 101">
              <a:extLst>
                <a:ext uri="{FF2B5EF4-FFF2-40B4-BE49-F238E27FC236}">
                  <a16:creationId xmlns:a16="http://schemas.microsoft.com/office/drawing/2014/main" id="{19E8D85C-6B8B-4402-BE42-283B5165F5DD}"/>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3" name="Rechthoek 102">
              <a:extLst>
                <a:ext uri="{FF2B5EF4-FFF2-40B4-BE49-F238E27FC236}">
                  <a16:creationId xmlns:a16="http://schemas.microsoft.com/office/drawing/2014/main" id="{6B31C5D1-7B62-4E2A-BDD3-C2CA5E9E2002}"/>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4" name="Rechthoek 103">
              <a:extLst>
                <a:ext uri="{FF2B5EF4-FFF2-40B4-BE49-F238E27FC236}">
                  <a16:creationId xmlns:a16="http://schemas.microsoft.com/office/drawing/2014/main" id="{5BFF5FB1-4524-485C-AC08-837EBEAA9764}"/>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5BAE6A63-4FB0-4411-AFFC-63A8A8EF4DAE}"/>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6" name="Rechthoek 45">
              <a:extLst>
                <a:ext uri="{FF2B5EF4-FFF2-40B4-BE49-F238E27FC236}">
                  <a16:creationId xmlns:a16="http://schemas.microsoft.com/office/drawing/2014/main" id="{32F9B240-ED3F-49CA-B562-C067CCB5C19D}"/>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9" name="Tekstvak 38">
            <a:extLst>
              <a:ext uri="{FF2B5EF4-FFF2-40B4-BE49-F238E27FC236}">
                <a16:creationId xmlns:a16="http://schemas.microsoft.com/office/drawing/2014/main" id="{EEDD9676-507B-47AF-9FD9-E37F113BD9E8}"/>
              </a:ext>
            </a:extLst>
          </p:cNvPr>
          <p:cNvSpPr txBox="1"/>
          <p:nvPr userDrawn="1"/>
        </p:nvSpPr>
        <p:spPr>
          <a:xfrm>
            <a:off x="539749" y="6464074"/>
            <a:ext cx="2158390" cy="244103"/>
          </a:xfrm>
          <a:prstGeom prst="rect">
            <a:avLst/>
          </a:prstGeom>
          <a:noFill/>
        </p:spPr>
        <p:txBody>
          <a:bodyPr wrap="square" lIns="0" tIns="0" rIns="0" bIns="0" rtlCol="0" anchor="ctr">
            <a:noAutofit/>
          </a:bodyPr>
          <a:lstStyle/>
          <a:p>
            <a:pPr algn="l"/>
            <a:r>
              <a:rPr lang="nl-NL" sz="1500">
                <a:solidFill>
                  <a:schemeClr val="accent1"/>
                </a:solidFill>
              </a:rPr>
              <a:t>Schade en Inkomen   |   </a:t>
            </a:r>
          </a:p>
        </p:txBody>
      </p:sp>
      <p:grpSp>
        <p:nvGrpSpPr>
          <p:cNvPr id="56" name="OVERIGE KLEUREN">
            <a:extLst>
              <a:ext uri="{FF2B5EF4-FFF2-40B4-BE49-F238E27FC236}">
                <a16:creationId xmlns:a16="http://schemas.microsoft.com/office/drawing/2014/main" id="{C96DD12D-E32B-E746-A0A2-06877D8A22F8}"/>
              </a:ext>
            </a:extLst>
          </p:cNvPr>
          <p:cNvGrpSpPr/>
          <p:nvPr userDrawn="1"/>
        </p:nvGrpSpPr>
        <p:grpSpPr>
          <a:xfrm>
            <a:off x="3241700" y="6925672"/>
            <a:ext cx="1028611" cy="333473"/>
            <a:chOff x="8419153" y="176531"/>
            <a:chExt cx="1028611" cy="333473"/>
          </a:xfrm>
        </p:grpSpPr>
        <p:grpSp>
          <p:nvGrpSpPr>
            <p:cNvPr id="57" name="Groep 56">
              <a:extLst>
                <a:ext uri="{FF2B5EF4-FFF2-40B4-BE49-F238E27FC236}">
                  <a16:creationId xmlns:a16="http://schemas.microsoft.com/office/drawing/2014/main" id="{83DC1345-C378-064B-B36A-B0BEEC4583BF}"/>
                </a:ext>
              </a:extLst>
            </p:cNvPr>
            <p:cNvGrpSpPr/>
            <p:nvPr userDrawn="1"/>
          </p:nvGrpSpPr>
          <p:grpSpPr>
            <a:xfrm rot="16200000">
              <a:off x="8707994" y="78045"/>
              <a:ext cx="143119" cy="720800"/>
              <a:chOff x="8410390" y="426075"/>
              <a:chExt cx="212651" cy="1070988"/>
            </a:xfrm>
          </p:grpSpPr>
          <p:sp>
            <p:nvSpPr>
              <p:cNvPr id="59" name="Rechthoek: afgeronde hoeken 71">
                <a:extLst>
                  <a:ext uri="{FF2B5EF4-FFF2-40B4-BE49-F238E27FC236}">
                    <a16:creationId xmlns:a16="http://schemas.microsoft.com/office/drawing/2014/main" id="{12E03DD5-8025-994D-8874-83A241B234E7}"/>
                  </a:ext>
                </a:extLst>
              </p:cNvPr>
              <p:cNvSpPr/>
              <p:nvPr userDrawn="1"/>
            </p:nvSpPr>
            <p:spPr>
              <a:xfrm>
                <a:off x="8410390" y="705813"/>
                <a:ext cx="212649" cy="212649"/>
              </a:xfrm>
              <a:prstGeom prst="roundRect">
                <a:avLst>
                  <a:gd name="adj" fmla="val 26722"/>
                </a:avLst>
              </a:prstGeom>
              <a:solidFill>
                <a:srgbClr val="00B33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0" name="Rechthoek: afgeronde hoeken 73">
                <a:extLst>
                  <a:ext uri="{FF2B5EF4-FFF2-40B4-BE49-F238E27FC236}">
                    <a16:creationId xmlns:a16="http://schemas.microsoft.com/office/drawing/2014/main" id="{6AF41A4F-1DD2-B543-930B-78B218994E15}"/>
                  </a:ext>
                </a:extLst>
              </p:cNvPr>
              <p:cNvSpPr/>
              <p:nvPr userDrawn="1"/>
            </p:nvSpPr>
            <p:spPr>
              <a:xfrm>
                <a:off x="8410390" y="426075"/>
                <a:ext cx="212649" cy="212649"/>
              </a:xfrm>
              <a:prstGeom prst="roundRect">
                <a:avLst>
                  <a:gd name="adj" fmla="val 26722"/>
                </a:avLst>
              </a:prstGeom>
              <a:solidFill>
                <a:srgbClr val="0BA29C"/>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2" name="Rechthoek: afgeronde hoeken 74">
                <a:extLst>
                  <a:ext uri="{FF2B5EF4-FFF2-40B4-BE49-F238E27FC236}">
                    <a16:creationId xmlns:a16="http://schemas.microsoft.com/office/drawing/2014/main" id="{5DBF99B8-945F-5948-9418-DC63FABF2BA9}"/>
                  </a:ext>
                </a:extLst>
              </p:cNvPr>
              <p:cNvSpPr/>
              <p:nvPr userDrawn="1"/>
            </p:nvSpPr>
            <p:spPr>
              <a:xfrm>
                <a:off x="8410391" y="1014997"/>
                <a:ext cx="212650" cy="212648"/>
              </a:xfrm>
              <a:prstGeom prst="roundRect">
                <a:avLst>
                  <a:gd name="adj" fmla="val 26722"/>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3" name="Rechthoek: afgeronde hoeken 76">
                <a:extLst>
                  <a:ext uri="{FF2B5EF4-FFF2-40B4-BE49-F238E27FC236}">
                    <a16:creationId xmlns:a16="http://schemas.microsoft.com/office/drawing/2014/main" id="{608B4901-44AB-BB40-90FC-94CB346F0721}"/>
                  </a:ext>
                </a:extLst>
              </p:cNvPr>
              <p:cNvSpPr/>
              <p:nvPr userDrawn="1"/>
            </p:nvSpPr>
            <p:spPr>
              <a:xfrm>
                <a:off x="8410391" y="1284415"/>
                <a:ext cx="212650" cy="212648"/>
              </a:xfrm>
              <a:prstGeom prst="roundRect">
                <a:avLst>
                  <a:gd name="adj" fmla="val 26722"/>
                </a:avLst>
              </a:prstGeom>
              <a:solidFill>
                <a:srgbClr val="E1321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grpSp>
        <p:sp>
          <p:nvSpPr>
            <p:cNvPr id="58" name="Tekstvak 57">
              <a:extLst>
                <a:ext uri="{FF2B5EF4-FFF2-40B4-BE49-F238E27FC236}">
                  <a16:creationId xmlns:a16="http://schemas.microsoft.com/office/drawing/2014/main" id="{3160A0A3-DCBA-AA47-8A22-A749B3CDFDE5}"/>
                </a:ext>
              </a:extLst>
            </p:cNvPr>
            <p:cNvSpPr txBox="1"/>
            <p:nvPr userDrawn="1"/>
          </p:nvSpPr>
          <p:spPr>
            <a:xfrm>
              <a:off x="8419153" y="176531"/>
              <a:ext cx="1028611" cy="143117"/>
            </a:xfrm>
            <a:prstGeom prst="rect">
              <a:avLst/>
            </a:prstGeom>
            <a:noFill/>
          </p:spPr>
          <p:txBody>
            <a:bodyPr wrap="square" lIns="0" tIns="0" rIns="0" bIns="0" rtlCol="0">
              <a:noAutofit/>
            </a:bodyPr>
            <a:lstStyle/>
            <a:p>
              <a:pPr algn="l"/>
              <a:r>
                <a:rPr lang="nl-NL" sz="1000" b="1" u="none" noProof="0">
                  <a:latin typeface="+mj-lt"/>
                </a:rPr>
                <a:t>Merk kleuren</a:t>
              </a:r>
            </a:p>
          </p:txBody>
        </p:sp>
      </p:grpSp>
      <p:pic>
        <p:nvPicPr>
          <p:cNvPr id="64" name="Afbeelding 63">
            <a:extLst>
              <a:ext uri="{FF2B5EF4-FFF2-40B4-BE49-F238E27FC236}">
                <a16:creationId xmlns:a16="http://schemas.microsoft.com/office/drawing/2014/main" id="{564633FC-92C1-4842-9E18-AFE0F5576ACF}"/>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2301269" y="6288849"/>
            <a:ext cx="3179346" cy="562716"/>
          </a:xfrm>
          <a:prstGeom prst="rect">
            <a:avLst/>
          </a:prstGeom>
        </p:spPr>
      </p:pic>
    </p:spTree>
    <p:extLst>
      <p:ext uri="{BB962C8B-B14F-4D97-AF65-F5344CB8AC3E}">
        <p14:creationId xmlns:p14="http://schemas.microsoft.com/office/powerpoint/2010/main" val="48447688"/>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Lst>
  <p:hf hdr="0" dt="0"/>
  <p:txStyles>
    <p:titleStyle>
      <a:lvl1pPr algn="l" defTabSz="914400" rtl="0" eaLnBrk="1" latinLnBrk="0" hangingPunct="1">
        <a:lnSpc>
          <a:spcPct val="80000"/>
        </a:lnSpc>
        <a:spcBef>
          <a:spcPct val="0"/>
        </a:spcBef>
        <a:buNone/>
        <a:defRPr sz="2600" b="0" kern="1200">
          <a:solidFill>
            <a:schemeClr val="tx1"/>
          </a:solidFill>
          <a:latin typeface="+mn-lt"/>
          <a:ea typeface="+mj-ea"/>
          <a:cs typeface="+mj-cs"/>
        </a:defRPr>
      </a:lvl1pPr>
    </p:titleStyle>
    <p:bodyStyle>
      <a:lvl1pPr marL="177800" indent="-177800" algn="l" defTabSz="914400" rtl="0" eaLnBrk="1" latinLnBrk="0" hangingPunct="1">
        <a:lnSpc>
          <a:spcPct val="100000"/>
        </a:lnSpc>
        <a:spcBef>
          <a:spcPts val="300"/>
        </a:spcBef>
        <a:spcAft>
          <a:spcPts val="300"/>
        </a:spcAft>
        <a:buClr>
          <a:schemeClr val="accent1"/>
        </a:buClr>
        <a:buFont typeface="Wingdings" panose="05000000000000000000" pitchFamily="2" charset="2"/>
        <a:buChar char="§"/>
        <a:defRPr sz="1500" kern="1200">
          <a:solidFill>
            <a:schemeClr val="tx1"/>
          </a:solidFill>
          <a:latin typeface="+mn-lt"/>
          <a:ea typeface="+mn-ea"/>
          <a:cs typeface="+mn-cs"/>
        </a:defRPr>
      </a:lvl1pPr>
      <a:lvl2pPr marL="355600" indent="-177800" algn="l" defTabSz="914400" rtl="0" eaLnBrk="1" latinLnBrk="0" hangingPunct="1">
        <a:lnSpc>
          <a:spcPct val="100000"/>
        </a:lnSpc>
        <a:spcBef>
          <a:spcPts val="300"/>
        </a:spcBef>
        <a:spcAft>
          <a:spcPts val="300"/>
        </a:spcAft>
        <a:buClr>
          <a:schemeClr val="accent1"/>
        </a:buClr>
        <a:buFont typeface="Wingdings" panose="05000000000000000000" pitchFamily="2" charset="2"/>
        <a:buChar char="§"/>
        <a:tabLst/>
        <a:defRPr sz="1500" kern="1200">
          <a:solidFill>
            <a:schemeClr val="tx1"/>
          </a:solidFill>
          <a:latin typeface="+mn-lt"/>
          <a:ea typeface="+mn-ea"/>
          <a:cs typeface="+mn-cs"/>
        </a:defRPr>
      </a:lvl2pPr>
      <a:lvl3pPr marL="531813" indent="-176213" algn="l" defTabSz="914400" rtl="0" eaLnBrk="1" latinLnBrk="0" hangingPunct="1">
        <a:lnSpc>
          <a:spcPct val="100000"/>
        </a:lnSpc>
        <a:spcBef>
          <a:spcPts val="300"/>
        </a:spcBef>
        <a:spcAft>
          <a:spcPts val="300"/>
        </a:spcAft>
        <a:buClr>
          <a:schemeClr val="tx1"/>
        </a:buClr>
        <a:buFont typeface="Corbel" panose="020B0503020204020204" pitchFamily="34" charset="0"/>
        <a:buChar char="–"/>
        <a:defRPr sz="15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None/>
        <a:defRPr sz="1500" kern="1200">
          <a:solidFill>
            <a:schemeClr val="tx1"/>
          </a:solidFill>
          <a:latin typeface="+mn-lt"/>
          <a:ea typeface="+mn-ea"/>
          <a:cs typeface="+mn-cs"/>
        </a:defRPr>
      </a:lvl4pPr>
      <a:lvl5pPr marL="0" indent="0" algn="l" defTabSz="914400" rtl="0" eaLnBrk="1" latinLnBrk="0" hangingPunct="1">
        <a:lnSpc>
          <a:spcPct val="100000"/>
        </a:lnSpc>
        <a:spcBef>
          <a:spcPts val="600"/>
        </a:spcBef>
        <a:spcAft>
          <a:spcPts val="300"/>
        </a:spcAft>
        <a:buFont typeface="Arial" panose="020B0604020202020204" pitchFamily="34" charset="0"/>
        <a:buNone/>
        <a:defRPr sz="1600" b="1" kern="1200" cap="none" baseline="0">
          <a:solidFill>
            <a:schemeClr val="accent1"/>
          </a:solidFill>
          <a:latin typeface="+mj-lt"/>
          <a:ea typeface="+mn-ea"/>
          <a:cs typeface="+mn-cs"/>
        </a:defRPr>
      </a:lvl5pPr>
      <a:lvl6pPr marL="265113" indent="-265113" algn="l" defTabSz="914400" rtl="0" eaLnBrk="1" latinLnBrk="0" hangingPunct="1">
        <a:lnSpc>
          <a:spcPct val="100000"/>
        </a:lnSpc>
        <a:spcBef>
          <a:spcPts val="300"/>
        </a:spcBef>
        <a:spcAft>
          <a:spcPts val="300"/>
        </a:spcAft>
        <a:buClr>
          <a:schemeClr val="tx1"/>
        </a:buClr>
        <a:buSzPct val="85000"/>
        <a:buFont typeface="+mj-lt"/>
        <a:buAutoNum type="arabicPeriod"/>
        <a:defRPr sz="1500" kern="1200">
          <a:solidFill>
            <a:schemeClr val="tx1"/>
          </a:solidFill>
          <a:latin typeface="+mn-lt"/>
          <a:ea typeface="+mn-ea"/>
          <a:cs typeface="+mn-cs"/>
        </a:defRPr>
      </a:lvl6pPr>
      <a:lvl7pPr marL="265113" indent="-265113" algn="l" defTabSz="914400" rtl="0" eaLnBrk="1" latinLnBrk="0" hangingPunct="1">
        <a:lnSpc>
          <a:spcPct val="100000"/>
        </a:lnSpc>
        <a:spcBef>
          <a:spcPts val="300"/>
        </a:spcBef>
        <a:spcAft>
          <a:spcPts val="300"/>
        </a:spcAft>
        <a:buClr>
          <a:schemeClr val="tx1"/>
        </a:buClr>
        <a:buSzPct val="85000"/>
        <a:buFont typeface="+mj-lt"/>
        <a:buAutoNum type="alphaLcPeriod"/>
        <a:tabLst/>
        <a:defRPr sz="1500" kern="1200">
          <a:solidFill>
            <a:schemeClr val="tx1"/>
          </a:solidFill>
          <a:latin typeface="+mn-lt"/>
          <a:ea typeface="+mn-ea"/>
          <a:cs typeface="+mn-cs"/>
        </a:defRPr>
      </a:lvl7pPr>
      <a:lvl8pPr marL="0" indent="0" algn="l" defTabSz="914400" rtl="0" eaLnBrk="1" latinLnBrk="0" hangingPunct="1">
        <a:lnSpc>
          <a:spcPct val="100000"/>
        </a:lnSpc>
        <a:spcBef>
          <a:spcPts val="300"/>
        </a:spcBef>
        <a:spcAft>
          <a:spcPts val="300"/>
        </a:spcAft>
        <a:buClr>
          <a:schemeClr val="accent3"/>
        </a:buClr>
        <a:buFont typeface="Arial" panose="020B0604020202020204" pitchFamily="34" charset="0"/>
        <a:buNone/>
        <a:defRPr sz="1000" i="1" kern="1200">
          <a:solidFill>
            <a:schemeClr val="tx1"/>
          </a:solidFill>
          <a:latin typeface="+mn-lt"/>
          <a:ea typeface="+mn-ea"/>
          <a:cs typeface="+mn-cs"/>
        </a:defRPr>
      </a:lvl8pPr>
      <a:lvl9pPr marL="0" indent="0" algn="l" defTabSz="914400" rtl="0" eaLnBrk="1" latinLnBrk="0" hangingPunct="1">
        <a:lnSpc>
          <a:spcPct val="100000"/>
        </a:lnSpc>
        <a:spcBef>
          <a:spcPts val="600"/>
        </a:spcBef>
        <a:spcAft>
          <a:spcPts val="300"/>
        </a:spcAft>
        <a:buFont typeface="Arial" panose="020B0604020202020204" pitchFamily="34" charset="0"/>
        <a:buNone/>
        <a:defRPr sz="20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3" name="THEMAKLEUREN">
            <a:extLst>
              <a:ext uri="{FF2B5EF4-FFF2-40B4-BE49-F238E27FC236}">
                <a16:creationId xmlns:a16="http://schemas.microsoft.com/office/drawing/2014/main" id="{9D3C318D-7D68-4056-B093-32B4543686BA}"/>
              </a:ext>
            </a:extLst>
          </p:cNvPr>
          <p:cNvGrpSpPr/>
          <p:nvPr userDrawn="1"/>
        </p:nvGrpSpPr>
        <p:grpSpPr>
          <a:xfrm>
            <a:off x="0" y="6925673"/>
            <a:ext cx="1461003" cy="333499"/>
            <a:chOff x="8419153" y="176532"/>
            <a:chExt cx="1461003" cy="333499"/>
          </a:xfrm>
        </p:grpSpPr>
        <p:grpSp>
          <p:nvGrpSpPr>
            <p:cNvPr id="12" name="Groep 11">
              <a:extLst>
                <a:ext uri="{FF2B5EF4-FFF2-40B4-BE49-F238E27FC236}">
                  <a16:creationId xmlns:a16="http://schemas.microsoft.com/office/drawing/2014/main" id="{6C8B8488-5D61-436D-BCDE-494BA44E52B3}"/>
                </a:ext>
              </a:extLst>
            </p:cNvPr>
            <p:cNvGrpSpPr/>
            <p:nvPr userDrawn="1"/>
          </p:nvGrpSpPr>
          <p:grpSpPr>
            <a:xfrm rot="16200000">
              <a:off x="9078096" y="-292029"/>
              <a:ext cx="143117" cy="1461003"/>
              <a:chOff x="8410390" y="426075"/>
              <a:chExt cx="212649" cy="2170815"/>
            </a:xfrm>
          </p:grpSpPr>
          <p:sp>
            <p:nvSpPr>
              <p:cNvPr id="10" name="Rechthoek: afgeronde hoeken 9">
                <a:extLst>
                  <a:ext uri="{FF2B5EF4-FFF2-40B4-BE49-F238E27FC236}">
                    <a16:creationId xmlns:a16="http://schemas.microsoft.com/office/drawing/2014/main" id="{72C35D7D-AAB4-4264-96AA-812D82EE03AB}"/>
                  </a:ext>
                </a:extLst>
              </p:cNvPr>
              <p:cNvSpPr/>
              <p:nvPr userDrawn="1"/>
            </p:nvSpPr>
            <p:spPr>
              <a:xfrm>
                <a:off x="8410390" y="705813"/>
                <a:ext cx="212649" cy="212649"/>
              </a:xfrm>
              <a:prstGeom prst="roundRect">
                <a:avLst>
                  <a:gd name="adj" fmla="val 2672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26" name="Rechthoek: afgeronde hoeken 25">
                <a:extLst>
                  <a:ext uri="{FF2B5EF4-FFF2-40B4-BE49-F238E27FC236}">
                    <a16:creationId xmlns:a16="http://schemas.microsoft.com/office/drawing/2014/main" id="{21B9CFFD-C4AF-4A24-8B0F-80433A49DA58}"/>
                  </a:ext>
                </a:extLst>
              </p:cNvPr>
              <p:cNvSpPr/>
              <p:nvPr userDrawn="1"/>
            </p:nvSpPr>
            <p:spPr>
              <a:xfrm>
                <a:off x="8410390" y="985551"/>
                <a:ext cx="212649" cy="212649"/>
              </a:xfrm>
              <a:prstGeom prst="roundRect">
                <a:avLst>
                  <a:gd name="adj" fmla="val 267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29" name="Rechthoek: afgeronde hoeken 28">
                <a:extLst>
                  <a:ext uri="{FF2B5EF4-FFF2-40B4-BE49-F238E27FC236}">
                    <a16:creationId xmlns:a16="http://schemas.microsoft.com/office/drawing/2014/main" id="{71112316-63C8-419B-93FA-B3BB8F8EFB81}"/>
                  </a:ext>
                </a:extLst>
              </p:cNvPr>
              <p:cNvSpPr/>
              <p:nvPr userDrawn="1"/>
            </p:nvSpPr>
            <p:spPr>
              <a:xfrm>
                <a:off x="8410390" y="1265289"/>
                <a:ext cx="212649" cy="212649"/>
              </a:xfrm>
              <a:prstGeom prst="roundRect">
                <a:avLst>
                  <a:gd name="adj" fmla="val 267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2" name="Rechthoek: afgeronde hoeken 31">
                <a:extLst>
                  <a:ext uri="{FF2B5EF4-FFF2-40B4-BE49-F238E27FC236}">
                    <a16:creationId xmlns:a16="http://schemas.microsoft.com/office/drawing/2014/main" id="{D7E9BEBB-D0DC-4557-835D-FC149C7585FD}"/>
                  </a:ext>
                </a:extLst>
              </p:cNvPr>
              <p:cNvSpPr/>
              <p:nvPr userDrawn="1"/>
            </p:nvSpPr>
            <p:spPr>
              <a:xfrm>
                <a:off x="8410390" y="1545027"/>
                <a:ext cx="212649" cy="212649"/>
              </a:xfrm>
              <a:prstGeom prst="roundRect">
                <a:avLst>
                  <a:gd name="adj" fmla="val 2672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5" name="Rechthoek: afgeronde hoeken 34">
                <a:extLst>
                  <a:ext uri="{FF2B5EF4-FFF2-40B4-BE49-F238E27FC236}">
                    <a16:creationId xmlns:a16="http://schemas.microsoft.com/office/drawing/2014/main" id="{2196EB4D-914A-41CD-9D75-6F89501EF0B8}"/>
                  </a:ext>
                </a:extLst>
              </p:cNvPr>
              <p:cNvSpPr/>
              <p:nvPr userDrawn="1"/>
            </p:nvSpPr>
            <p:spPr>
              <a:xfrm>
                <a:off x="8410390" y="1824765"/>
                <a:ext cx="212649" cy="212649"/>
              </a:xfrm>
              <a:prstGeom prst="roundRect">
                <a:avLst>
                  <a:gd name="adj" fmla="val 2672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8" name="Rechthoek: afgeronde hoeken 37">
                <a:extLst>
                  <a:ext uri="{FF2B5EF4-FFF2-40B4-BE49-F238E27FC236}">
                    <a16:creationId xmlns:a16="http://schemas.microsoft.com/office/drawing/2014/main" id="{F1454947-644A-4FBF-A032-C689B5740B2A}"/>
                  </a:ext>
                </a:extLst>
              </p:cNvPr>
              <p:cNvSpPr/>
              <p:nvPr userDrawn="1"/>
            </p:nvSpPr>
            <p:spPr>
              <a:xfrm>
                <a:off x="8410390" y="2104503"/>
                <a:ext cx="212649" cy="212649"/>
              </a:xfrm>
              <a:prstGeom prst="roundRect">
                <a:avLst>
                  <a:gd name="adj" fmla="val 267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41" name="Rechthoek: afgeronde hoeken 40">
                <a:extLst>
                  <a:ext uri="{FF2B5EF4-FFF2-40B4-BE49-F238E27FC236}">
                    <a16:creationId xmlns:a16="http://schemas.microsoft.com/office/drawing/2014/main" id="{78DD8BE2-8EB7-4C12-B1C2-AEA6DD7D8C23}"/>
                  </a:ext>
                </a:extLst>
              </p:cNvPr>
              <p:cNvSpPr/>
              <p:nvPr userDrawn="1"/>
            </p:nvSpPr>
            <p:spPr>
              <a:xfrm>
                <a:off x="8410390" y="2384241"/>
                <a:ext cx="212649" cy="212649"/>
              </a:xfrm>
              <a:prstGeom prst="roundRect">
                <a:avLst>
                  <a:gd name="adj" fmla="val 2672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47" name="Rechthoek: afgeronde hoeken 46">
                <a:extLst>
                  <a:ext uri="{FF2B5EF4-FFF2-40B4-BE49-F238E27FC236}">
                    <a16:creationId xmlns:a16="http://schemas.microsoft.com/office/drawing/2014/main" id="{1D7DDBC7-4460-4F2C-927A-7AE13B24D8F4}"/>
                  </a:ext>
                </a:extLst>
              </p:cNvPr>
              <p:cNvSpPr/>
              <p:nvPr userDrawn="1"/>
            </p:nvSpPr>
            <p:spPr>
              <a:xfrm>
                <a:off x="8410390" y="426075"/>
                <a:ext cx="212649" cy="212649"/>
              </a:xfrm>
              <a:prstGeom prst="roundRect">
                <a:avLst>
                  <a:gd name="adj" fmla="val 2672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grpSp>
        <p:sp>
          <p:nvSpPr>
            <p:cNvPr id="49" name="Tekstvak 48">
              <a:extLst>
                <a:ext uri="{FF2B5EF4-FFF2-40B4-BE49-F238E27FC236}">
                  <a16:creationId xmlns:a16="http://schemas.microsoft.com/office/drawing/2014/main" id="{00A66507-1AE0-46EB-92B8-915DBFB60F41}"/>
                </a:ext>
              </a:extLst>
            </p:cNvPr>
            <p:cNvSpPr txBox="1"/>
            <p:nvPr userDrawn="1"/>
          </p:nvSpPr>
          <p:spPr>
            <a:xfrm>
              <a:off x="8419153" y="176532"/>
              <a:ext cx="1461003" cy="134653"/>
            </a:xfrm>
            <a:prstGeom prst="rect">
              <a:avLst/>
            </a:prstGeom>
            <a:noFill/>
          </p:spPr>
          <p:txBody>
            <a:bodyPr wrap="square" lIns="0" tIns="0" rIns="0" bIns="0" rtlCol="0">
              <a:noAutofit/>
            </a:bodyPr>
            <a:lstStyle/>
            <a:p>
              <a:pPr algn="l"/>
              <a:r>
                <a:rPr lang="nl-NL" sz="1000" b="1" u="none" noProof="0">
                  <a:latin typeface="+mj-lt"/>
                </a:rPr>
                <a:t>Achmea themakleuren</a:t>
              </a:r>
            </a:p>
          </p:txBody>
        </p:sp>
      </p:grpSp>
      <p:grpSp>
        <p:nvGrpSpPr>
          <p:cNvPr id="50" name="OVERIGE KLEUREN">
            <a:extLst>
              <a:ext uri="{FF2B5EF4-FFF2-40B4-BE49-F238E27FC236}">
                <a16:creationId xmlns:a16="http://schemas.microsoft.com/office/drawing/2014/main" id="{139292DB-CA74-4075-BC92-B06602D34DDC}"/>
              </a:ext>
            </a:extLst>
          </p:cNvPr>
          <p:cNvGrpSpPr/>
          <p:nvPr userDrawn="1"/>
        </p:nvGrpSpPr>
        <p:grpSpPr>
          <a:xfrm>
            <a:off x="1716813" y="6925672"/>
            <a:ext cx="1461003" cy="333499"/>
            <a:chOff x="8419153" y="176531"/>
            <a:chExt cx="1461003" cy="333499"/>
          </a:xfrm>
        </p:grpSpPr>
        <p:grpSp>
          <p:nvGrpSpPr>
            <p:cNvPr id="51" name="Groep 50">
              <a:extLst>
                <a:ext uri="{FF2B5EF4-FFF2-40B4-BE49-F238E27FC236}">
                  <a16:creationId xmlns:a16="http://schemas.microsoft.com/office/drawing/2014/main" id="{026BC4A5-3D18-4206-AEC3-1395E2D4F813}"/>
                </a:ext>
              </a:extLst>
            </p:cNvPr>
            <p:cNvGrpSpPr/>
            <p:nvPr userDrawn="1"/>
          </p:nvGrpSpPr>
          <p:grpSpPr>
            <a:xfrm rot="16200000">
              <a:off x="8607423" y="178644"/>
              <a:ext cx="143117" cy="519656"/>
              <a:chOff x="8410390" y="426075"/>
              <a:chExt cx="212649" cy="772125"/>
            </a:xfrm>
          </p:grpSpPr>
          <p:sp>
            <p:nvSpPr>
              <p:cNvPr id="53" name="Rechthoek: afgeronde hoeken 52">
                <a:extLst>
                  <a:ext uri="{FF2B5EF4-FFF2-40B4-BE49-F238E27FC236}">
                    <a16:creationId xmlns:a16="http://schemas.microsoft.com/office/drawing/2014/main" id="{5465870F-5975-4142-8BF0-A929890F5184}"/>
                  </a:ext>
                </a:extLst>
              </p:cNvPr>
              <p:cNvSpPr/>
              <p:nvPr userDrawn="1"/>
            </p:nvSpPr>
            <p:spPr>
              <a:xfrm>
                <a:off x="8410390" y="705813"/>
                <a:ext cx="212649" cy="212649"/>
              </a:xfrm>
              <a:prstGeom prst="roundRect">
                <a:avLst>
                  <a:gd name="adj" fmla="val 26722"/>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54" name="Rechthoek: afgeronde hoeken 53">
                <a:extLst>
                  <a:ext uri="{FF2B5EF4-FFF2-40B4-BE49-F238E27FC236}">
                    <a16:creationId xmlns:a16="http://schemas.microsoft.com/office/drawing/2014/main" id="{63DEE779-FB50-4FA3-93B0-85E181EA893E}"/>
                  </a:ext>
                </a:extLst>
              </p:cNvPr>
              <p:cNvSpPr/>
              <p:nvPr userDrawn="1"/>
            </p:nvSpPr>
            <p:spPr>
              <a:xfrm>
                <a:off x="8410390" y="985551"/>
                <a:ext cx="212649" cy="212649"/>
              </a:xfrm>
              <a:prstGeom prst="roundRect">
                <a:avLst>
                  <a:gd name="adj" fmla="val 26722"/>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1" name="Rechthoek: afgeronde hoeken 60">
                <a:extLst>
                  <a:ext uri="{FF2B5EF4-FFF2-40B4-BE49-F238E27FC236}">
                    <a16:creationId xmlns:a16="http://schemas.microsoft.com/office/drawing/2014/main" id="{21C7E1C1-A97E-47CD-9961-15F5227E277B}"/>
                  </a:ext>
                </a:extLst>
              </p:cNvPr>
              <p:cNvSpPr/>
              <p:nvPr userDrawn="1"/>
            </p:nvSpPr>
            <p:spPr>
              <a:xfrm>
                <a:off x="8410390" y="426075"/>
                <a:ext cx="212649" cy="212649"/>
              </a:xfrm>
              <a:prstGeom prst="roundRect">
                <a:avLst>
                  <a:gd name="adj" fmla="val 26722"/>
                </a:avLst>
              </a:prstGeom>
              <a:solidFill>
                <a:srgbClr val="4A794C"/>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grpSp>
        <p:sp>
          <p:nvSpPr>
            <p:cNvPr id="52" name="Tekstvak 51">
              <a:extLst>
                <a:ext uri="{FF2B5EF4-FFF2-40B4-BE49-F238E27FC236}">
                  <a16:creationId xmlns:a16="http://schemas.microsoft.com/office/drawing/2014/main" id="{C44176F0-EB56-46B2-B92E-619B77378192}"/>
                </a:ext>
              </a:extLst>
            </p:cNvPr>
            <p:cNvSpPr txBox="1"/>
            <p:nvPr userDrawn="1"/>
          </p:nvSpPr>
          <p:spPr>
            <a:xfrm>
              <a:off x="8419153" y="176531"/>
              <a:ext cx="1461003" cy="134653"/>
            </a:xfrm>
            <a:prstGeom prst="rect">
              <a:avLst/>
            </a:prstGeom>
            <a:noFill/>
          </p:spPr>
          <p:txBody>
            <a:bodyPr wrap="square" lIns="0" tIns="0" rIns="0" bIns="0" rtlCol="0">
              <a:noAutofit/>
            </a:bodyPr>
            <a:lstStyle/>
            <a:p>
              <a:pPr algn="l"/>
              <a:r>
                <a:rPr lang="nl-NL" sz="1000" b="1" u="none" noProof="0">
                  <a:latin typeface="+mj-lt"/>
                </a:rPr>
                <a:t>Overige Achmea kleuren</a:t>
              </a:r>
            </a:p>
          </p:txBody>
        </p:sp>
      </p:grpSp>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540000" y="538833"/>
            <a:ext cx="11112000" cy="301139"/>
          </a:xfrm>
          <a:prstGeom prst="rect">
            <a:avLst/>
          </a:prstGeom>
        </p:spPr>
        <p:txBody>
          <a:bodyPr vert="horz" lIns="0" tIns="0" rIns="0" bIns="0" rtlCol="0" anchor="t">
            <a:noAutofit/>
          </a:bodyPr>
          <a:lstStyle/>
          <a:p>
            <a:r>
              <a:rPr lang="nl-NL" noProof="0"/>
              <a:t>Voeg hier een titel in</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539999" y="1459112"/>
            <a:ext cx="11112001" cy="4119774"/>
          </a:xfrm>
          <a:prstGeom prst="rect">
            <a:avLst/>
          </a:prstGeom>
        </p:spPr>
        <p:txBody>
          <a:bodyPr vert="horz" lIns="0" tIns="0" rIns="0" bIns="0" rtlCol="0">
            <a:noAutofit/>
          </a:body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8"/>
            <a:endParaRPr lang="nl-NL" noProof="0"/>
          </a:p>
        </p:txBody>
      </p:sp>
      <p:sp>
        <p:nvSpPr>
          <p:cNvPr id="4" name="Tijdelijke aanduiding voor datum 3">
            <a:extLst>
              <a:ext uri="{FF2B5EF4-FFF2-40B4-BE49-F238E27FC236}">
                <a16:creationId xmlns:a16="http://schemas.microsoft.com/office/drawing/2014/main" id="{2CC0954C-56F0-4481-AEFC-476FD5516A05}"/>
              </a:ext>
            </a:extLst>
          </p:cNvPr>
          <p:cNvSpPr>
            <a:spLocks noGrp="1"/>
          </p:cNvSpPr>
          <p:nvPr>
            <p:ph type="dt" sz="half" idx="2"/>
          </p:nvPr>
        </p:nvSpPr>
        <p:spPr>
          <a:xfrm>
            <a:off x="10917011" y="6940826"/>
            <a:ext cx="1274989" cy="127963"/>
          </a:xfrm>
          <a:prstGeom prst="rect">
            <a:avLst/>
          </a:prstGeom>
        </p:spPr>
        <p:txBody>
          <a:bodyPr vert="horz" lIns="0" tIns="0" rIns="0" bIns="0" rtlCol="0" anchor="ctr">
            <a:noAutofit/>
          </a:bodyPr>
          <a:lstStyle>
            <a:lvl1pPr algn="r">
              <a:defRPr sz="1000">
                <a:solidFill>
                  <a:schemeClr val="tx1"/>
                </a:solidFill>
                <a:latin typeface="+mn-lt"/>
              </a:defRPr>
            </a:lvl1pPr>
          </a:lstStyle>
          <a:p>
            <a:fld id="{5B976527-E0F2-4AB9-8F7A-C80BB568F200}"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293B2B64-2362-45C8-9E78-5ECAAAF3478D}"/>
              </a:ext>
            </a:extLst>
          </p:cNvPr>
          <p:cNvSpPr>
            <a:spLocks noGrp="1"/>
          </p:cNvSpPr>
          <p:nvPr>
            <p:ph type="ftr" sz="quarter" idx="3"/>
          </p:nvPr>
        </p:nvSpPr>
        <p:spPr>
          <a:xfrm>
            <a:off x="8121316" y="7068790"/>
            <a:ext cx="4070683" cy="360000"/>
          </a:xfrm>
          <a:prstGeom prst="rect">
            <a:avLst/>
          </a:prstGeom>
        </p:spPr>
        <p:txBody>
          <a:bodyPr vert="horz" lIns="0" tIns="0" rIns="0" bIns="0" rtlCol="0" anchor="ctr">
            <a:noAutofit/>
          </a:bodyPr>
          <a:lstStyle>
            <a:lvl1pPr algn="r">
              <a:defRPr sz="1100" b="0">
                <a:solidFill>
                  <a:schemeClr val="accent1"/>
                </a:solidFill>
                <a:latin typeface="+mn-lt"/>
              </a:defRPr>
            </a:lvl1pPr>
          </a:lstStyle>
          <a:p>
            <a:r>
              <a:rPr lang="nl-NL"/>
              <a:t>Ga naar de tab ‘Invoegen’ &gt; Koptekst en voettekst &gt; Voettekst invullen met bedrijfsonderdeelnaam &gt; Overal Toepassen</a:t>
            </a:r>
          </a:p>
        </p:txBody>
      </p:sp>
      <p:sp>
        <p:nvSpPr>
          <p:cNvPr id="6" name="Tijdelijke aanduiding voor dianummer 5">
            <a:extLst>
              <a:ext uri="{FF2B5EF4-FFF2-40B4-BE49-F238E27FC236}">
                <a16:creationId xmlns:a16="http://schemas.microsoft.com/office/drawing/2014/main" id="{5549FE6F-67CB-4243-BE03-A9A3C4007850}"/>
              </a:ext>
            </a:extLst>
          </p:cNvPr>
          <p:cNvSpPr>
            <a:spLocks noGrp="1"/>
          </p:cNvSpPr>
          <p:nvPr>
            <p:ph type="sldNum" sz="quarter" idx="4"/>
          </p:nvPr>
        </p:nvSpPr>
        <p:spPr>
          <a:xfrm>
            <a:off x="0" y="6489321"/>
            <a:ext cx="539998" cy="224300"/>
          </a:xfrm>
          <a:prstGeom prst="rect">
            <a:avLst/>
          </a:prstGeom>
        </p:spPr>
        <p:txBody>
          <a:bodyPr vert="horz" lIns="0" tIns="0" rIns="0" bIns="0" rtlCol="0" anchor="ctr">
            <a:noAutofit/>
          </a:bodyPr>
          <a:lstStyle>
            <a:lvl1pPr algn="ctr">
              <a:defRPr sz="1200" b="0">
                <a:solidFill>
                  <a:srgbClr val="828282"/>
                </a:solidFill>
                <a:latin typeface="+mn-lt"/>
              </a:defRPr>
            </a:lvl1pPr>
          </a:lstStyle>
          <a:p>
            <a:fld id="{D7B5DC5B-6873-43DB-ADC7-B15ACCE0DFDB}" type="slidenum">
              <a:rPr lang="nl-NL" smtClean="0"/>
              <a:pPr/>
              <a:t>‹#›</a:t>
            </a:fld>
            <a:endParaRPr lang="nl-NL"/>
          </a:p>
        </p:txBody>
      </p:sp>
      <p:sp>
        <p:nvSpPr>
          <p:cNvPr id="20" name="Tekstvak 19">
            <a:extLst>
              <a:ext uri="{FF2B5EF4-FFF2-40B4-BE49-F238E27FC236}">
                <a16:creationId xmlns:a16="http://schemas.microsoft.com/office/drawing/2014/main" id="{88A106C3-3B5C-4817-A9B9-E1AA65368768}"/>
              </a:ext>
            </a:extLst>
          </p:cNvPr>
          <p:cNvSpPr txBox="1"/>
          <p:nvPr userDrawn="1"/>
        </p:nvSpPr>
        <p:spPr>
          <a:xfrm>
            <a:off x="5031475" y="-696037"/>
            <a:ext cx="2129051" cy="150127"/>
          </a:xfrm>
          <a:prstGeom prst="rect">
            <a:avLst/>
          </a:prstGeom>
          <a:noFill/>
        </p:spPr>
        <p:txBody>
          <a:bodyPr wrap="square" lIns="72000" tIns="0" rIns="72000" bIns="0" rtlCol="0">
            <a:noAutofit/>
          </a:bodyPr>
          <a:lstStyle/>
          <a:p>
            <a:pPr algn="ctr"/>
            <a:r>
              <a:rPr lang="nl-NL" sz="1200" b="0" cap="all" baseline="0" noProof="0">
                <a:latin typeface="+mn-lt"/>
              </a:rPr>
              <a:t>Naam van de indeling</a:t>
            </a:r>
          </a:p>
        </p:txBody>
      </p:sp>
      <p:sp>
        <p:nvSpPr>
          <p:cNvPr id="84" name="LOGO">
            <a:extLst>
              <a:ext uri="{FF2B5EF4-FFF2-40B4-BE49-F238E27FC236}">
                <a16:creationId xmlns:a16="http://schemas.microsoft.com/office/drawing/2014/main" id="{F3950CA2-C0C5-4E51-A069-AB8682DBCAB9}"/>
              </a:ext>
            </a:extLst>
          </p:cNvPr>
          <p:cNvSpPr/>
          <p:nvPr userDrawn="1"/>
        </p:nvSpPr>
        <p:spPr>
          <a:xfrm>
            <a:off x="10670998" y="6462442"/>
            <a:ext cx="1353982" cy="251179"/>
          </a:xfrm>
          <a:custGeom>
            <a:avLst/>
            <a:gdLst>
              <a:gd name="connsiteX0" fmla="*/ 1694783 w 5391150"/>
              <a:gd name="connsiteY0" fmla="*/ 439484 h 1000125"/>
              <a:gd name="connsiteX1" fmla="*/ 1694783 w 5391150"/>
              <a:gd name="connsiteY1" fmla="*/ 744474 h 1000125"/>
              <a:gd name="connsiteX2" fmla="*/ 1525715 w 5391150"/>
              <a:gd name="connsiteY2" fmla="*/ 744474 h 1000125"/>
              <a:gd name="connsiteX3" fmla="*/ 1525715 w 5391150"/>
              <a:gd name="connsiteY3" fmla="*/ 507778 h 1000125"/>
              <a:gd name="connsiteX4" fmla="*/ 1447991 w 5391150"/>
              <a:gd name="connsiteY4" fmla="*/ 385286 h 1000125"/>
              <a:gd name="connsiteX5" fmla="*/ 1343025 w 5391150"/>
              <a:gd name="connsiteY5" fmla="*/ 537972 h 1000125"/>
              <a:gd name="connsiteX6" fmla="*/ 1343025 w 5391150"/>
              <a:gd name="connsiteY6" fmla="*/ 744569 h 1000125"/>
              <a:gd name="connsiteX7" fmla="*/ 1174337 w 5391150"/>
              <a:gd name="connsiteY7" fmla="*/ 744569 h 1000125"/>
              <a:gd name="connsiteX8" fmla="*/ 1174337 w 5391150"/>
              <a:gd name="connsiteY8" fmla="*/ 44291 h 1000125"/>
              <a:gd name="connsiteX9" fmla="*/ 1307306 w 5391150"/>
              <a:gd name="connsiteY9" fmla="*/ 44291 h 1000125"/>
              <a:gd name="connsiteX10" fmla="*/ 1342930 w 5391150"/>
              <a:gd name="connsiteY10" fmla="*/ 81725 h 1000125"/>
              <a:gd name="connsiteX11" fmla="*/ 1342930 w 5391150"/>
              <a:gd name="connsiteY11" fmla="*/ 328041 h 1000125"/>
              <a:gd name="connsiteX12" fmla="*/ 1344740 w 5391150"/>
              <a:gd name="connsiteY12" fmla="*/ 328041 h 1000125"/>
              <a:gd name="connsiteX13" fmla="*/ 1507998 w 5391150"/>
              <a:gd name="connsiteY13" fmla="*/ 244793 h 1000125"/>
              <a:gd name="connsiteX14" fmla="*/ 1694783 w 5391150"/>
              <a:gd name="connsiteY14" fmla="*/ 439484 h 1000125"/>
              <a:gd name="connsiteX15" fmla="*/ 799910 w 5391150"/>
              <a:gd name="connsiteY15" fmla="*/ 504920 h 1000125"/>
              <a:gd name="connsiteX16" fmla="*/ 930402 w 5391150"/>
              <a:gd name="connsiteY16" fmla="*/ 371094 h 1000125"/>
              <a:gd name="connsiteX17" fmla="*/ 1004792 w 5391150"/>
              <a:gd name="connsiteY17" fmla="*/ 383667 h 1000125"/>
              <a:gd name="connsiteX18" fmla="*/ 1017651 w 5391150"/>
              <a:gd name="connsiteY18" fmla="*/ 388144 h 1000125"/>
              <a:gd name="connsiteX19" fmla="*/ 1019270 w 5391150"/>
              <a:gd name="connsiteY19" fmla="*/ 388144 h 1000125"/>
              <a:gd name="connsiteX20" fmla="*/ 1036225 w 5391150"/>
              <a:gd name="connsiteY20" fmla="*/ 371475 h 1000125"/>
              <a:gd name="connsiteX21" fmla="*/ 1036225 w 5391150"/>
              <a:gd name="connsiteY21" fmla="*/ 269843 h 1000125"/>
              <a:gd name="connsiteX22" fmla="*/ 910876 w 5391150"/>
              <a:gd name="connsiteY22" fmla="*/ 246412 h 1000125"/>
              <a:gd name="connsiteX23" fmla="*/ 624649 w 5391150"/>
              <a:gd name="connsiteY23" fmla="*/ 502063 h 1000125"/>
              <a:gd name="connsiteX24" fmla="*/ 910019 w 5391150"/>
              <a:gd name="connsiteY24" fmla="*/ 756952 h 1000125"/>
              <a:gd name="connsiteX25" fmla="*/ 1044988 w 5391150"/>
              <a:gd name="connsiteY25" fmla="*/ 736568 h 1000125"/>
              <a:gd name="connsiteX26" fmla="*/ 1044988 w 5391150"/>
              <a:gd name="connsiteY26" fmla="*/ 609219 h 1000125"/>
              <a:gd name="connsiteX27" fmla="*/ 939070 w 5391150"/>
              <a:gd name="connsiteY27" fmla="*/ 632746 h 1000125"/>
              <a:gd name="connsiteX28" fmla="*/ 799910 w 5391150"/>
              <a:gd name="connsiteY28" fmla="*/ 504920 h 1000125"/>
              <a:gd name="connsiteX29" fmla="*/ 2498884 w 5391150"/>
              <a:gd name="connsiteY29" fmla="*/ 244697 h 1000125"/>
              <a:gd name="connsiteX30" fmla="*/ 2325529 w 5391150"/>
              <a:gd name="connsiteY30" fmla="*/ 338423 h 1000125"/>
              <a:gd name="connsiteX31" fmla="*/ 2172653 w 5391150"/>
              <a:gd name="connsiteY31" fmla="*/ 244697 h 1000125"/>
              <a:gd name="connsiteX32" fmla="*/ 1990154 w 5391150"/>
              <a:gd name="connsiteY32" fmla="*/ 326422 h 1000125"/>
              <a:gd name="connsiteX33" fmla="*/ 1968818 w 5391150"/>
              <a:gd name="connsiteY33" fmla="*/ 338328 h 1000125"/>
              <a:gd name="connsiteX34" fmla="*/ 1951577 w 5391150"/>
              <a:gd name="connsiteY34" fmla="*/ 331565 h 1000125"/>
              <a:gd name="connsiteX35" fmla="*/ 1884426 w 5391150"/>
              <a:gd name="connsiteY35" fmla="*/ 263652 h 1000125"/>
              <a:gd name="connsiteX36" fmla="*/ 1865567 w 5391150"/>
              <a:gd name="connsiteY36" fmla="*/ 255746 h 1000125"/>
              <a:gd name="connsiteX37" fmla="*/ 1838992 w 5391150"/>
              <a:gd name="connsiteY37" fmla="*/ 282416 h 1000125"/>
              <a:gd name="connsiteX38" fmla="*/ 1838992 w 5391150"/>
              <a:gd name="connsiteY38" fmla="*/ 744474 h 1000125"/>
              <a:gd name="connsiteX39" fmla="*/ 2007870 w 5391150"/>
              <a:gd name="connsiteY39" fmla="*/ 744474 h 1000125"/>
              <a:gd name="connsiteX40" fmla="*/ 2007870 w 5391150"/>
              <a:gd name="connsiteY40" fmla="*/ 538258 h 1000125"/>
              <a:gd name="connsiteX41" fmla="*/ 2103787 w 5391150"/>
              <a:gd name="connsiteY41" fmla="*/ 385382 h 1000125"/>
              <a:gd name="connsiteX42" fmla="*/ 2170843 w 5391150"/>
              <a:gd name="connsiteY42" fmla="*/ 481965 h 1000125"/>
              <a:gd name="connsiteX43" fmla="*/ 2170843 w 5391150"/>
              <a:gd name="connsiteY43" fmla="*/ 744474 h 1000125"/>
              <a:gd name="connsiteX44" fmla="*/ 2339721 w 5391150"/>
              <a:gd name="connsiteY44" fmla="*/ 744474 h 1000125"/>
              <a:gd name="connsiteX45" fmla="*/ 2339721 w 5391150"/>
              <a:gd name="connsiteY45" fmla="*/ 538258 h 1000125"/>
              <a:gd name="connsiteX46" fmla="*/ 2435543 w 5391150"/>
              <a:gd name="connsiteY46" fmla="*/ 385382 h 1000125"/>
              <a:gd name="connsiteX47" fmla="*/ 2502884 w 5391150"/>
              <a:gd name="connsiteY47" fmla="*/ 481965 h 1000125"/>
              <a:gd name="connsiteX48" fmla="*/ 2502884 w 5391150"/>
              <a:gd name="connsiteY48" fmla="*/ 744474 h 1000125"/>
              <a:gd name="connsiteX49" fmla="*/ 2671382 w 5391150"/>
              <a:gd name="connsiteY49" fmla="*/ 744474 h 1000125"/>
              <a:gd name="connsiteX50" fmla="*/ 2671382 w 5391150"/>
              <a:gd name="connsiteY50" fmla="*/ 456819 h 1000125"/>
              <a:gd name="connsiteX51" fmla="*/ 2498884 w 5391150"/>
              <a:gd name="connsiteY51" fmla="*/ 244697 h 1000125"/>
              <a:gd name="connsiteX52" fmla="*/ 510635 w 5391150"/>
              <a:gd name="connsiteY52" fmla="*/ 296894 h 1000125"/>
              <a:gd name="connsiteX53" fmla="*/ 510635 w 5391150"/>
              <a:gd name="connsiteY53" fmla="*/ 706374 h 1000125"/>
              <a:gd name="connsiteX54" fmla="*/ 484061 w 5391150"/>
              <a:gd name="connsiteY54" fmla="*/ 732758 h 1000125"/>
              <a:gd name="connsiteX55" fmla="*/ 465487 w 5391150"/>
              <a:gd name="connsiteY55" fmla="*/ 724948 h 1000125"/>
              <a:gd name="connsiteX56" fmla="*/ 440246 w 5391150"/>
              <a:gd name="connsiteY56" fmla="*/ 699516 h 1000125"/>
              <a:gd name="connsiteX57" fmla="*/ 421958 w 5391150"/>
              <a:gd name="connsiteY57" fmla="*/ 691706 h 1000125"/>
              <a:gd name="connsiteX58" fmla="*/ 404527 w 5391150"/>
              <a:gd name="connsiteY58" fmla="*/ 698659 h 1000125"/>
              <a:gd name="connsiteX59" fmla="*/ 255270 w 5391150"/>
              <a:gd name="connsiteY59" fmla="*/ 756761 h 1000125"/>
              <a:gd name="connsiteX60" fmla="*/ 0 w 5391150"/>
              <a:gd name="connsiteY60" fmla="*/ 501491 h 1000125"/>
              <a:gd name="connsiteX61" fmla="*/ 255270 w 5391150"/>
              <a:gd name="connsiteY61" fmla="*/ 246317 h 1000125"/>
              <a:gd name="connsiteX62" fmla="*/ 404527 w 5391150"/>
              <a:gd name="connsiteY62" fmla="*/ 304419 h 1000125"/>
              <a:gd name="connsiteX63" fmla="*/ 421958 w 5391150"/>
              <a:gd name="connsiteY63" fmla="*/ 311468 h 1000125"/>
              <a:gd name="connsiteX64" fmla="*/ 440246 w 5391150"/>
              <a:gd name="connsiteY64" fmla="*/ 303752 h 1000125"/>
              <a:gd name="connsiteX65" fmla="*/ 465487 w 5391150"/>
              <a:gd name="connsiteY65" fmla="*/ 278130 h 1000125"/>
              <a:gd name="connsiteX66" fmla="*/ 484061 w 5391150"/>
              <a:gd name="connsiteY66" fmla="*/ 270415 h 1000125"/>
              <a:gd name="connsiteX67" fmla="*/ 510635 w 5391150"/>
              <a:gd name="connsiteY67" fmla="*/ 296894 h 1000125"/>
              <a:gd name="connsiteX68" fmla="*/ 370904 w 5391150"/>
              <a:gd name="connsiteY68" fmla="*/ 501587 h 1000125"/>
              <a:gd name="connsiteX69" fmla="*/ 262604 w 5391150"/>
              <a:gd name="connsiteY69" fmla="*/ 386810 h 1000125"/>
              <a:gd name="connsiteX70" fmla="*/ 154210 w 5391150"/>
              <a:gd name="connsiteY70" fmla="*/ 501587 h 1000125"/>
              <a:gd name="connsiteX71" fmla="*/ 262604 w 5391150"/>
              <a:gd name="connsiteY71" fmla="*/ 616458 h 1000125"/>
              <a:gd name="connsiteX72" fmla="*/ 370904 w 5391150"/>
              <a:gd name="connsiteY72" fmla="*/ 501587 h 1000125"/>
              <a:gd name="connsiteX73" fmla="*/ 3912965 w 5391150"/>
              <a:gd name="connsiteY73" fmla="*/ 296894 h 1000125"/>
              <a:gd name="connsiteX74" fmla="*/ 3912965 w 5391150"/>
              <a:gd name="connsiteY74" fmla="*/ 706374 h 1000125"/>
              <a:gd name="connsiteX75" fmla="*/ 3886581 w 5391150"/>
              <a:gd name="connsiteY75" fmla="*/ 732758 h 1000125"/>
              <a:gd name="connsiteX76" fmla="*/ 3867531 w 5391150"/>
              <a:gd name="connsiteY76" fmla="*/ 724948 h 1000125"/>
              <a:gd name="connsiteX77" fmla="*/ 3842385 w 5391150"/>
              <a:gd name="connsiteY77" fmla="*/ 699516 h 1000125"/>
              <a:gd name="connsiteX78" fmla="*/ 3824288 w 5391150"/>
              <a:gd name="connsiteY78" fmla="*/ 691706 h 1000125"/>
              <a:gd name="connsiteX79" fmla="*/ 3806762 w 5391150"/>
              <a:gd name="connsiteY79" fmla="*/ 698659 h 1000125"/>
              <a:gd name="connsiteX80" fmla="*/ 3657791 w 5391150"/>
              <a:gd name="connsiteY80" fmla="*/ 756761 h 1000125"/>
              <a:gd name="connsiteX81" fmla="*/ 3402235 w 5391150"/>
              <a:gd name="connsiteY81" fmla="*/ 501491 h 1000125"/>
              <a:gd name="connsiteX82" fmla="*/ 3657791 w 5391150"/>
              <a:gd name="connsiteY82" fmla="*/ 246317 h 1000125"/>
              <a:gd name="connsiteX83" fmla="*/ 3806762 w 5391150"/>
              <a:gd name="connsiteY83" fmla="*/ 304419 h 1000125"/>
              <a:gd name="connsiteX84" fmla="*/ 3824288 w 5391150"/>
              <a:gd name="connsiteY84" fmla="*/ 311468 h 1000125"/>
              <a:gd name="connsiteX85" fmla="*/ 3842385 w 5391150"/>
              <a:gd name="connsiteY85" fmla="*/ 303752 h 1000125"/>
              <a:gd name="connsiteX86" fmla="*/ 3867531 w 5391150"/>
              <a:gd name="connsiteY86" fmla="*/ 278130 h 1000125"/>
              <a:gd name="connsiteX87" fmla="*/ 3886581 w 5391150"/>
              <a:gd name="connsiteY87" fmla="*/ 270415 h 1000125"/>
              <a:gd name="connsiteX88" fmla="*/ 3912965 w 5391150"/>
              <a:gd name="connsiteY88" fmla="*/ 296894 h 1000125"/>
              <a:gd name="connsiteX89" fmla="*/ 3773234 w 5391150"/>
              <a:gd name="connsiteY89" fmla="*/ 501587 h 1000125"/>
              <a:gd name="connsiteX90" fmla="*/ 3665125 w 5391150"/>
              <a:gd name="connsiteY90" fmla="*/ 386810 h 1000125"/>
              <a:gd name="connsiteX91" fmla="*/ 3556635 w 5391150"/>
              <a:gd name="connsiteY91" fmla="*/ 501587 h 1000125"/>
              <a:gd name="connsiteX92" fmla="*/ 3665125 w 5391150"/>
              <a:gd name="connsiteY92" fmla="*/ 616458 h 1000125"/>
              <a:gd name="connsiteX93" fmla="*/ 3773234 w 5391150"/>
              <a:gd name="connsiteY93" fmla="*/ 501587 h 1000125"/>
              <a:gd name="connsiteX94" fmla="*/ 3298222 w 5391150"/>
              <a:gd name="connsiteY94" fmla="*/ 520351 h 1000125"/>
              <a:gd name="connsiteX95" fmla="*/ 3298222 w 5391150"/>
              <a:gd name="connsiteY95" fmla="*/ 551688 h 1000125"/>
              <a:gd name="connsiteX96" fmla="*/ 2963227 w 5391150"/>
              <a:gd name="connsiteY96" fmla="*/ 551688 h 1000125"/>
              <a:gd name="connsiteX97" fmla="*/ 3105817 w 5391150"/>
              <a:gd name="connsiteY97" fmla="*/ 644747 h 1000125"/>
              <a:gd name="connsiteX98" fmla="*/ 3254312 w 5391150"/>
              <a:gd name="connsiteY98" fmla="*/ 607314 h 1000125"/>
              <a:gd name="connsiteX99" fmla="*/ 3254312 w 5391150"/>
              <a:gd name="connsiteY99" fmla="*/ 726091 h 1000125"/>
              <a:gd name="connsiteX100" fmla="*/ 3075908 w 5391150"/>
              <a:gd name="connsiteY100" fmla="*/ 756952 h 1000125"/>
              <a:gd name="connsiteX101" fmla="*/ 2793778 w 5391150"/>
              <a:gd name="connsiteY101" fmla="*/ 501682 h 1000125"/>
              <a:gd name="connsiteX102" fmla="*/ 3053429 w 5391150"/>
              <a:gd name="connsiteY102" fmla="*/ 246507 h 1000125"/>
              <a:gd name="connsiteX103" fmla="*/ 3298222 w 5391150"/>
              <a:gd name="connsiteY103" fmla="*/ 520351 h 1000125"/>
              <a:gd name="connsiteX104" fmla="*/ 3142869 w 5391150"/>
              <a:gd name="connsiteY104" fmla="*/ 435102 h 1000125"/>
              <a:gd name="connsiteX105" fmla="*/ 3050762 w 5391150"/>
              <a:gd name="connsiteY105" fmla="*/ 352997 h 1000125"/>
              <a:gd name="connsiteX106" fmla="*/ 2960084 w 5391150"/>
              <a:gd name="connsiteY106" fmla="*/ 436055 h 1000125"/>
              <a:gd name="connsiteX107" fmla="*/ 2977229 w 5391150"/>
              <a:gd name="connsiteY107" fmla="*/ 456343 h 1000125"/>
              <a:gd name="connsiteX108" fmla="*/ 3125534 w 5391150"/>
              <a:gd name="connsiteY108" fmla="*/ 456343 h 1000125"/>
              <a:gd name="connsiteX109" fmla="*/ 3142869 w 5391150"/>
              <a:gd name="connsiteY109" fmla="*/ 435102 h 1000125"/>
              <a:gd name="connsiteX110" fmla="*/ 4898422 w 5391150"/>
              <a:gd name="connsiteY110" fmla="*/ 0 h 1000125"/>
              <a:gd name="connsiteX111" fmla="*/ 4579620 w 5391150"/>
              <a:gd name="connsiteY111" fmla="*/ 114491 h 1000125"/>
              <a:gd name="connsiteX112" fmla="*/ 4545426 w 5391150"/>
              <a:gd name="connsiteY112" fmla="*/ 127826 h 1000125"/>
              <a:gd name="connsiteX113" fmla="*/ 4510088 w 5391150"/>
              <a:gd name="connsiteY113" fmla="*/ 113157 h 1000125"/>
              <a:gd name="connsiteX114" fmla="*/ 4453890 w 5391150"/>
              <a:gd name="connsiteY114" fmla="*/ 57245 h 1000125"/>
              <a:gd name="connsiteX115" fmla="*/ 4430078 w 5391150"/>
              <a:gd name="connsiteY115" fmla="*/ 47530 h 1000125"/>
              <a:gd name="connsiteX116" fmla="*/ 4396835 w 5391150"/>
              <a:gd name="connsiteY116" fmla="*/ 81248 h 1000125"/>
              <a:gd name="connsiteX117" fmla="*/ 4396835 w 5391150"/>
              <a:gd name="connsiteY117" fmla="*/ 922020 h 1000125"/>
              <a:gd name="connsiteX118" fmla="*/ 4430078 w 5391150"/>
              <a:gd name="connsiteY118" fmla="*/ 955738 h 1000125"/>
              <a:gd name="connsiteX119" fmla="*/ 4453890 w 5391150"/>
              <a:gd name="connsiteY119" fmla="*/ 946023 h 1000125"/>
              <a:gd name="connsiteX120" fmla="*/ 4510088 w 5391150"/>
              <a:gd name="connsiteY120" fmla="*/ 890111 h 1000125"/>
              <a:gd name="connsiteX121" fmla="*/ 4545426 w 5391150"/>
              <a:gd name="connsiteY121" fmla="*/ 875443 h 1000125"/>
              <a:gd name="connsiteX122" fmla="*/ 4579620 w 5391150"/>
              <a:gd name="connsiteY122" fmla="*/ 888778 h 1000125"/>
              <a:gd name="connsiteX123" fmla="*/ 4898422 w 5391150"/>
              <a:gd name="connsiteY123" fmla="*/ 1003268 h 1000125"/>
              <a:gd name="connsiteX124" fmla="*/ 5399913 w 5391150"/>
              <a:gd name="connsiteY124" fmla="*/ 501682 h 1000125"/>
              <a:gd name="connsiteX125" fmla="*/ 4898422 w 5391150"/>
              <a:gd name="connsiteY125" fmla="*/ 0 h 1000125"/>
              <a:gd name="connsiteX126" fmla="*/ 4882706 w 5391150"/>
              <a:gd name="connsiteY126" fmla="*/ 191262 h 1000125"/>
              <a:gd name="connsiteX127" fmla="*/ 5080254 w 5391150"/>
              <a:gd name="connsiteY127" fmla="*/ 261938 h 1000125"/>
              <a:gd name="connsiteX128" fmla="*/ 5101019 w 5391150"/>
              <a:gd name="connsiteY128" fmla="*/ 270224 h 1000125"/>
              <a:gd name="connsiteX129" fmla="*/ 5123021 w 5391150"/>
              <a:gd name="connsiteY129" fmla="*/ 261271 h 1000125"/>
              <a:gd name="connsiteX130" fmla="*/ 5157883 w 5391150"/>
              <a:gd name="connsiteY130" fmla="*/ 226600 h 1000125"/>
              <a:gd name="connsiteX131" fmla="*/ 5172171 w 5391150"/>
              <a:gd name="connsiteY131" fmla="*/ 220599 h 1000125"/>
              <a:gd name="connsiteX132" fmla="*/ 5193221 w 5391150"/>
              <a:gd name="connsiteY132" fmla="*/ 241364 h 1000125"/>
              <a:gd name="connsiteX133" fmla="*/ 5193221 w 5391150"/>
              <a:gd name="connsiteY133" fmla="*/ 761810 h 1000125"/>
              <a:gd name="connsiteX134" fmla="*/ 5172171 w 5391150"/>
              <a:gd name="connsiteY134" fmla="*/ 782574 h 1000125"/>
              <a:gd name="connsiteX135" fmla="*/ 5157883 w 5391150"/>
              <a:gd name="connsiteY135" fmla="*/ 776573 h 1000125"/>
              <a:gd name="connsiteX136" fmla="*/ 5123021 w 5391150"/>
              <a:gd name="connsiteY136" fmla="*/ 741902 h 1000125"/>
              <a:gd name="connsiteX137" fmla="*/ 5101019 w 5391150"/>
              <a:gd name="connsiteY137" fmla="*/ 732949 h 1000125"/>
              <a:gd name="connsiteX138" fmla="*/ 5080254 w 5391150"/>
              <a:gd name="connsiteY138" fmla="*/ 741236 h 1000125"/>
              <a:gd name="connsiteX139" fmla="*/ 4882706 w 5391150"/>
              <a:gd name="connsiteY139" fmla="*/ 811911 h 1000125"/>
              <a:gd name="connsiteX140" fmla="*/ 4572667 w 5391150"/>
              <a:gd name="connsiteY140" fmla="*/ 501587 h 1000125"/>
              <a:gd name="connsiteX141" fmla="*/ 4882706 w 5391150"/>
              <a:gd name="connsiteY141" fmla="*/ 191262 h 1000125"/>
              <a:gd name="connsiteX142" fmla="*/ 4890612 w 5391150"/>
              <a:gd name="connsiteY142" fmla="*/ 635508 h 1000125"/>
              <a:gd name="connsiteX143" fmla="*/ 5016627 w 5391150"/>
              <a:gd name="connsiteY143" fmla="*/ 501682 h 1000125"/>
              <a:gd name="connsiteX144" fmla="*/ 4890612 w 5391150"/>
              <a:gd name="connsiteY144" fmla="*/ 367856 h 1000125"/>
              <a:gd name="connsiteX145" fmla="*/ 4764786 w 5391150"/>
              <a:gd name="connsiteY145" fmla="*/ 501682 h 1000125"/>
              <a:gd name="connsiteX146" fmla="*/ 4890612 w 5391150"/>
              <a:gd name="connsiteY146" fmla="*/ 635508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5391150" h="1000125">
                <a:moveTo>
                  <a:pt x="1694783" y="439484"/>
                </a:moveTo>
                <a:lnTo>
                  <a:pt x="1694783" y="744474"/>
                </a:lnTo>
                <a:lnTo>
                  <a:pt x="1525715" y="744474"/>
                </a:lnTo>
                <a:lnTo>
                  <a:pt x="1525715" y="507778"/>
                </a:lnTo>
                <a:cubicBezTo>
                  <a:pt x="1525715" y="416147"/>
                  <a:pt x="1494092" y="385286"/>
                  <a:pt x="1447991" y="385286"/>
                </a:cubicBezTo>
                <a:cubicBezTo>
                  <a:pt x="1378553" y="385286"/>
                  <a:pt x="1343025" y="433197"/>
                  <a:pt x="1343025" y="537972"/>
                </a:cubicBezTo>
                <a:lnTo>
                  <a:pt x="1343025" y="744569"/>
                </a:lnTo>
                <a:lnTo>
                  <a:pt x="1174337" y="744569"/>
                </a:lnTo>
                <a:lnTo>
                  <a:pt x="1174337" y="44291"/>
                </a:lnTo>
                <a:cubicBezTo>
                  <a:pt x="1174337" y="44291"/>
                  <a:pt x="1299210" y="44291"/>
                  <a:pt x="1307306" y="44291"/>
                </a:cubicBezTo>
                <a:cubicBezTo>
                  <a:pt x="1327499" y="44291"/>
                  <a:pt x="1342930" y="54197"/>
                  <a:pt x="1342930" y="81725"/>
                </a:cubicBezTo>
                <a:cubicBezTo>
                  <a:pt x="1342930" y="91154"/>
                  <a:pt x="1342930" y="328041"/>
                  <a:pt x="1342930" y="328041"/>
                </a:cubicBezTo>
                <a:lnTo>
                  <a:pt x="1344740" y="328041"/>
                </a:lnTo>
                <a:cubicBezTo>
                  <a:pt x="1381411" y="277368"/>
                  <a:pt x="1434751" y="244793"/>
                  <a:pt x="1507998" y="244793"/>
                </a:cubicBezTo>
                <a:cubicBezTo>
                  <a:pt x="1641158" y="244697"/>
                  <a:pt x="1694783" y="338138"/>
                  <a:pt x="1694783" y="439484"/>
                </a:cubicBezTo>
                <a:close/>
                <a:moveTo>
                  <a:pt x="799910" y="504920"/>
                </a:moveTo>
                <a:cubicBezTo>
                  <a:pt x="799910" y="420053"/>
                  <a:pt x="857345" y="371094"/>
                  <a:pt x="930402" y="371094"/>
                </a:cubicBezTo>
                <a:cubicBezTo>
                  <a:pt x="958787" y="371094"/>
                  <a:pt x="982409" y="374999"/>
                  <a:pt x="1004792" y="383667"/>
                </a:cubicBezTo>
                <a:cubicBezTo>
                  <a:pt x="1009936" y="385763"/>
                  <a:pt x="1013270" y="387668"/>
                  <a:pt x="1017651" y="388144"/>
                </a:cubicBezTo>
                <a:cubicBezTo>
                  <a:pt x="1018318" y="388144"/>
                  <a:pt x="1018794" y="388144"/>
                  <a:pt x="1019270" y="388144"/>
                </a:cubicBezTo>
                <a:cubicBezTo>
                  <a:pt x="1028700" y="388144"/>
                  <a:pt x="1036225" y="380619"/>
                  <a:pt x="1036225" y="371475"/>
                </a:cubicBezTo>
                <a:cubicBezTo>
                  <a:pt x="1036225" y="371189"/>
                  <a:pt x="1036225" y="269843"/>
                  <a:pt x="1036225" y="269843"/>
                </a:cubicBezTo>
                <a:cubicBezTo>
                  <a:pt x="999839" y="254032"/>
                  <a:pt x="957644" y="246412"/>
                  <a:pt x="910876" y="246412"/>
                </a:cubicBezTo>
                <a:cubicBezTo>
                  <a:pt x="748856" y="246412"/>
                  <a:pt x="624649" y="339090"/>
                  <a:pt x="624649" y="502063"/>
                </a:cubicBezTo>
                <a:cubicBezTo>
                  <a:pt x="624649" y="664274"/>
                  <a:pt x="748189" y="756952"/>
                  <a:pt x="910019" y="756952"/>
                </a:cubicBezTo>
                <a:cubicBezTo>
                  <a:pt x="953834" y="756952"/>
                  <a:pt x="1003078" y="749808"/>
                  <a:pt x="1044988" y="736568"/>
                </a:cubicBezTo>
                <a:lnTo>
                  <a:pt x="1044988" y="609219"/>
                </a:lnTo>
                <a:cubicBezTo>
                  <a:pt x="1016508" y="623983"/>
                  <a:pt x="977837" y="632746"/>
                  <a:pt x="939070" y="632746"/>
                </a:cubicBezTo>
                <a:cubicBezTo>
                  <a:pt x="865823" y="632841"/>
                  <a:pt x="799910" y="582930"/>
                  <a:pt x="799910" y="504920"/>
                </a:cubicBezTo>
                <a:close/>
                <a:moveTo>
                  <a:pt x="2498884" y="244697"/>
                </a:moveTo>
                <a:cubicBezTo>
                  <a:pt x="2429637" y="244697"/>
                  <a:pt x="2364772" y="272891"/>
                  <a:pt x="2325529" y="338423"/>
                </a:cubicBezTo>
                <a:cubicBezTo>
                  <a:pt x="2299240" y="274892"/>
                  <a:pt x="2242185" y="244697"/>
                  <a:pt x="2172653" y="244697"/>
                </a:cubicBezTo>
                <a:cubicBezTo>
                  <a:pt x="2100929" y="244697"/>
                  <a:pt x="2046923" y="269939"/>
                  <a:pt x="1990154" y="326422"/>
                </a:cubicBezTo>
                <a:cubicBezTo>
                  <a:pt x="1990154" y="326422"/>
                  <a:pt x="1979581" y="338328"/>
                  <a:pt x="1968818" y="338328"/>
                </a:cubicBezTo>
                <a:cubicBezTo>
                  <a:pt x="1962150" y="338328"/>
                  <a:pt x="1956149" y="335756"/>
                  <a:pt x="1951577" y="331565"/>
                </a:cubicBezTo>
                <a:lnTo>
                  <a:pt x="1884426" y="263652"/>
                </a:lnTo>
                <a:cubicBezTo>
                  <a:pt x="1879568" y="258890"/>
                  <a:pt x="1873091" y="255746"/>
                  <a:pt x="1865567" y="255746"/>
                </a:cubicBezTo>
                <a:cubicBezTo>
                  <a:pt x="1850708" y="255746"/>
                  <a:pt x="1838992" y="268224"/>
                  <a:pt x="1838992" y="282416"/>
                </a:cubicBezTo>
                <a:lnTo>
                  <a:pt x="1838992" y="744474"/>
                </a:lnTo>
                <a:lnTo>
                  <a:pt x="2007870" y="744474"/>
                </a:lnTo>
                <a:lnTo>
                  <a:pt x="2007870" y="538258"/>
                </a:lnTo>
                <a:cubicBezTo>
                  <a:pt x="2007870" y="433292"/>
                  <a:pt x="2043684" y="385382"/>
                  <a:pt x="2103787" y="385382"/>
                </a:cubicBezTo>
                <a:cubicBezTo>
                  <a:pt x="2151317" y="385382"/>
                  <a:pt x="2170843" y="426625"/>
                  <a:pt x="2170843" y="481965"/>
                </a:cubicBezTo>
                <a:lnTo>
                  <a:pt x="2170843" y="744474"/>
                </a:lnTo>
                <a:lnTo>
                  <a:pt x="2339721" y="744474"/>
                </a:lnTo>
                <a:lnTo>
                  <a:pt x="2339721" y="538258"/>
                </a:lnTo>
                <a:cubicBezTo>
                  <a:pt x="2339721" y="433292"/>
                  <a:pt x="2375249" y="385382"/>
                  <a:pt x="2435543" y="385382"/>
                </a:cubicBezTo>
                <a:cubicBezTo>
                  <a:pt x="2482787" y="385382"/>
                  <a:pt x="2502884" y="426625"/>
                  <a:pt x="2502884" y="481965"/>
                </a:cubicBezTo>
                <a:lnTo>
                  <a:pt x="2502884" y="744474"/>
                </a:lnTo>
                <a:lnTo>
                  <a:pt x="2671382" y="744474"/>
                </a:lnTo>
                <a:lnTo>
                  <a:pt x="2671382" y="456819"/>
                </a:lnTo>
                <a:cubicBezTo>
                  <a:pt x="2671286" y="324422"/>
                  <a:pt x="2639377" y="244697"/>
                  <a:pt x="2498884" y="244697"/>
                </a:cubicBezTo>
                <a:close/>
                <a:moveTo>
                  <a:pt x="510635" y="296894"/>
                </a:moveTo>
                <a:lnTo>
                  <a:pt x="510635" y="706374"/>
                </a:lnTo>
                <a:cubicBezTo>
                  <a:pt x="510635" y="720471"/>
                  <a:pt x="499015" y="732758"/>
                  <a:pt x="484061" y="732758"/>
                </a:cubicBezTo>
                <a:cubicBezTo>
                  <a:pt x="476441" y="732758"/>
                  <a:pt x="469868" y="729329"/>
                  <a:pt x="465487" y="724948"/>
                </a:cubicBezTo>
                <a:lnTo>
                  <a:pt x="440246" y="699516"/>
                </a:lnTo>
                <a:cubicBezTo>
                  <a:pt x="435578" y="694563"/>
                  <a:pt x="429006" y="691706"/>
                  <a:pt x="421958" y="691706"/>
                </a:cubicBezTo>
                <a:cubicBezTo>
                  <a:pt x="415100" y="691706"/>
                  <a:pt x="409289" y="694468"/>
                  <a:pt x="404527" y="698659"/>
                </a:cubicBezTo>
                <a:cubicBezTo>
                  <a:pt x="362331" y="737330"/>
                  <a:pt x="317087" y="756761"/>
                  <a:pt x="255270" y="756761"/>
                </a:cubicBezTo>
                <a:cubicBezTo>
                  <a:pt x="114014" y="756761"/>
                  <a:pt x="0" y="642461"/>
                  <a:pt x="0" y="501491"/>
                </a:cubicBezTo>
                <a:cubicBezTo>
                  <a:pt x="0" y="360617"/>
                  <a:pt x="114014" y="246317"/>
                  <a:pt x="255270" y="246317"/>
                </a:cubicBezTo>
                <a:cubicBezTo>
                  <a:pt x="317087" y="246317"/>
                  <a:pt x="362331" y="265843"/>
                  <a:pt x="404527" y="304419"/>
                </a:cubicBezTo>
                <a:cubicBezTo>
                  <a:pt x="409289" y="308705"/>
                  <a:pt x="415100" y="311468"/>
                  <a:pt x="421958" y="311468"/>
                </a:cubicBezTo>
                <a:cubicBezTo>
                  <a:pt x="429006" y="311468"/>
                  <a:pt x="435483" y="308229"/>
                  <a:pt x="440246" y="303752"/>
                </a:cubicBezTo>
                <a:lnTo>
                  <a:pt x="465487" y="278130"/>
                </a:lnTo>
                <a:cubicBezTo>
                  <a:pt x="469868" y="273558"/>
                  <a:pt x="476441" y="270415"/>
                  <a:pt x="484061" y="270415"/>
                </a:cubicBezTo>
                <a:cubicBezTo>
                  <a:pt x="499015" y="270510"/>
                  <a:pt x="510635" y="282893"/>
                  <a:pt x="510635" y="296894"/>
                </a:cubicBezTo>
                <a:close/>
                <a:moveTo>
                  <a:pt x="370904" y="501587"/>
                </a:moveTo>
                <a:cubicBezTo>
                  <a:pt x="370904" y="438150"/>
                  <a:pt x="322421" y="386810"/>
                  <a:pt x="262604" y="386810"/>
                </a:cubicBezTo>
                <a:cubicBezTo>
                  <a:pt x="202406" y="386810"/>
                  <a:pt x="154210" y="438150"/>
                  <a:pt x="154210" y="501587"/>
                </a:cubicBezTo>
                <a:cubicBezTo>
                  <a:pt x="154210" y="565118"/>
                  <a:pt x="202406" y="616458"/>
                  <a:pt x="262604" y="616458"/>
                </a:cubicBezTo>
                <a:cubicBezTo>
                  <a:pt x="322517" y="616458"/>
                  <a:pt x="370904" y="565118"/>
                  <a:pt x="370904" y="501587"/>
                </a:cubicBezTo>
                <a:close/>
                <a:moveTo>
                  <a:pt x="3912965" y="296894"/>
                </a:moveTo>
                <a:lnTo>
                  <a:pt x="3912965" y="706374"/>
                </a:lnTo>
                <a:cubicBezTo>
                  <a:pt x="3912965" y="720471"/>
                  <a:pt x="3901535" y="732758"/>
                  <a:pt x="3886581" y="732758"/>
                </a:cubicBezTo>
                <a:cubicBezTo>
                  <a:pt x="3878771" y="732758"/>
                  <a:pt x="3872008" y="729329"/>
                  <a:pt x="3867531" y="724948"/>
                </a:cubicBezTo>
                <a:lnTo>
                  <a:pt x="3842385" y="699516"/>
                </a:lnTo>
                <a:cubicBezTo>
                  <a:pt x="3837813" y="694563"/>
                  <a:pt x="3831146" y="691706"/>
                  <a:pt x="3824288" y="691706"/>
                </a:cubicBezTo>
                <a:cubicBezTo>
                  <a:pt x="3817430" y="691706"/>
                  <a:pt x="3811429" y="694468"/>
                  <a:pt x="3806762" y="698659"/>
                </a:cubicBezTo>
                <a:cubicBezTo>
                  <a:pt x="3764471" y="737330"/>
                  <a:pt x="3719227" y="756761"/>
                  <a:pt x="3657791" y="756761"/>
                </a:cubicBezTo>
                <a:cubicBezTo>
                  <a:pt x="3516154" y="756761"/>
                  <a:pt x="3402235" y="642461"/>
                  <a:pt x="3402235" y="501491"/>
                </a:cubicBezTo>
                <a:cubicBezTo>
                  <a:pt x="3402235" y="360617"/>
                  <a:pt x="3516154" y="246317"/>
                  <a:pt x="3657791" y="246317"/>
                </a:cubicBezTo>
                <a:cubicBezTo>
                  <a:pt x="3719227" y="246317"/>
                  <a:pt x="3764471" y="265843"/>
                  <a:pt x="3806762" y="304419"/>
                </a:cubicBezTo>
                <a:cubicBezTo>
                  <a:pt x="3811429" y="308705"/>
                  <a:pt x="3817430" y="311468"/>
                  <a:pt x="3824288" y="311468"/>
                </a:cubicBezTo>
                <a:cubicBezTo>
                  <a:pt x="3831146" y="311468"/>
                  <a:pt x="3837813" y="308229"/>
                  <a:pt x="3842385" y="303752"/>
                </a:cubicBezTo>
                <a:lnTo>
                  <a:pt x="3867531" y="278130"/>
                </a:lnTo>
                <a:cubicBezTo>
                  <a:pt x="3872008" y="273558"/>
                  <a:pt x="3878771" y="270415"/>
                  <a:pt x="3886581" y="270415"/>
                </a:cubicBezTo>
                <a:cubicBezTo>
                  <a:pt x="3901535" y="270510"/>
                  <a:pt x="3912965" y="282893"/>
                  <a:pt x="3912965" y="296894"/>
                </a:cubicBezTo>
                <a:close/>
                <a:moveTo>
                  <a:pt x="3773234" y="501587"/>
                </a:moveTo>
                <a:cubicBezTo>
                  <a:pt x="3773234" y="438150"/>
                  <a:pt x="3724656" y="386810"/>
                  <a:pt x="3665125" y="386810"/>
                </a:cubicBezTo>
                <a:cubicBezTo>
                  <a:pt x="3604832" y="386810"/>
                  <a:pt x="3556635" y="438150"/>
                  <a:pt x="3556635" y="501587"/>
                </a:cubicBezTo>
                <a:cubicBezTo>
                  <a:pt x="3556635" y="565118"/>
                  <a:pt x="3604927" y="616458"/>
                  <a:pt x="3665125" y="616458"/>
                </a:cubicBezTo>
                <a:cubicBezTo>
                  <a:pt x="3724751" y="616458"/>
                  <a:pt x="3773234" y="565118"/>
                  <a:pt x="3773234" y="501587"/>
                </a:cubicBezTo>
                <a:close/>
                <a:moveTo>
                  <a:pt x="3298222" y="520351"/>
                </a:moveTo>
                <a:lnTo>
                  <a:pt x="3298222" y="551688"/>
                </a:lnTo>
                <a:lnTo>
                  <a:pt x="2963227" y="551688"/>
                </a:lnTo>
                <a:cubicBezTo>
                  <a:pt x="2972657" y="619030"/>
                  <a:pt x="3024092" y="644747"/>
                  <a:pt x="3105817" y="644747"/>
                </a:cubicBezTo>
                <a:cubicBezTo>
                  <a:pt x="3151251" y="644747"/>
                  <a:pt x="3203258" y="634270"/>
                  <a:pt x="3254312" y="607314"/>
                </a:cubicBezTo>
                <a:lnTo>
                  <a:pt x="3254312" y="726091"/>
                </a:lnTo>
                <a:cubicBezTo>
                  <a:pt x="3199352" y="747808"/>
                  <a:pt x="3138297" y="756952"/>
                  <a:pt x="3075908" y="756952"/>
                </a:cubicBezTo>
                <a:cubicBezTo>
                  <a:pt x="2915698" y="756952"/>
                  <a:pt x="2793778" y="663226"/>
                  <a:pt x="2793778" y="501682"/>
                </a:cubicBezTo>
                <a:cubicBezTo>
                  <a:pt x="2793778" y="340328"/>
                  <a:pt x="2902458" y="246507"/>
                  <a:pt x="3053429" y="246507"/>
                </a:cubicBezTo>
                <a:cubicBezTo>
                  <a:pt x="3232976" y="246412"/>
                  <a:pt x="3298222" y="375285"/>
                  <a:pt x="3298222" y="520351"/>
                </a:cubicBezTo>
                <a:close/>
                <a:moveTo>
                  <a:pt x="3142869" y="435102"/>
                </a:moveTo>
                <a:cubicBezTo>
                  <a:pt x="3136868" y="388715"/>
                  <a:pt x="3109151" y="352997"/>
                  <a:pt x="3050762" y="352997"/>
                </a:cubicBezTo>
                <a:cubicBezTo>
                  <a:pt x="2997422" y="352997"/>
                  <a:pt x="2968943" y="389001"/>
                  <a:pt x="2960084" y="436055"/>
                </a:cubicBezTo>
                <a:cubicBezTo>
                  <a:pt x="2958275" y="447580"/>
                  <a:pt x="2964942" y="456343"/>
                  <a:pt x="2977229" y="456343"/>
                </a:cubicBezTo>
                <a:lnTo>
                  <a:pt x="3125534" y="456343"/>
                </a:lnTo>
                <a:cubicBezTo>
                  <a:pt x="3136487" y="456343"/>
                  <a:pt x="3144584" y="449485"/>
                  <a:pt x="3142869" y="435102"/>
                </a:cubicBezTo>
                <a:close/>
                <a:moveTo>
                  <a:pt x="4898422" y="0"/>
                </a:moveTo>
                <a:cubicBezTo>
                  <a:pt x="4777169" y="0"/>
                  <a:pt x="4662011" y="38576"/>
                  <a:pt x="4579620" y="114491"/>
                </a:cubicBezTo>
                <a:cubicBezTo>
                  <a:pt x="4570571" y="122682"/>
                  <a:pt x="4558665" y="127826"/>
                  <a:pt x="4545426" y="127826"/>
                </a:cubicBezTo>
                <a:cubicBezTo>
                  <a:pt x="4531614" y="127826"/>
                  <a:pt x="4519136" y="121920"/>
                  <a:pt x="4510088" y="113157"/>
                </a:cubicBezTo>
                <a:lnTo>
                  <a:pt x="4453890" y="57245"/>
                </a:lnTo>
                <a:cubicBezTo>
                  <a:pt x="4447699" y="51245"/>
                  <a:pt x="4439412" y="47530"/>
                  <a:pt x="4430078" y="47530"/>
                </a:cubicBezTo>
                <a:cubicBezTo>
                  <a:pt x="4411790" y="47530"/>
                  <a:pt x="4396835" y="62484"/>
                  <a:pt x="4396835" y="81248"/>
                </a:cubicBezTo>
                <a:lnTo>
                  <a:pt x="4396835" y="922020"/>
                </a:lnTo>
                <a:cubicBezTo>
                  <a:pt x="4396835" y="940689"/>
                  <a:pt x="4411790" y="955738"/>
                  <a:pt x="4430078" y="955738"/>
                </a:cubicBezTo>
                <a:cubicBezTo>
                  <a:pt x="4439317" y="955738"/>
                  <a:pt x="4447699" y="951929"/>
                  <a:pt x="4453890" y="946023"/>
                </a:cubicBezTo>
                <a:lnTo>
                  <a:pt x="4510088" y="890111"/>
                </a:lnTo>
                <a:cubicBezTo>
                  <a:pt x="4519136" y="881348"/>
                  <a:pt x="4531614" y="875443"/>
                  <a:pt x="4545426" y="875443"/>
                </a:cubicBezTo>
                <a:cubicBezTo>
                  <a:pt x="4558665" y="875443"/>
                  <a:pt x="4570571" y="880586"/>
                  <a:pt x="4579620" y="888778"/>
                </a:cubicBezTo>
                <a:cubicBezTo>
                  <a:pt x="4662107" y="964692"/>
                  <a:pt x="4777169" y="1003268"/>
                  <a:pt x="4898422" y="1003268"/>
                </a:cubicBezTo>
                <a:cubicBezTo>
                  <a:pt x="5175314" y="1003268"/>
                  <a:pt x="5399913" y="778669"/>
                  <a:pt x="5399913" y="501682"/>
                </a:cubicBezTo>
                <a:cubicBezTo>
                  <a:pt x="5399913" y="224600"/>
                  <a:pt x="5175314" y="0"/>
                  <a:pt x="4898422" y="0"/>
                </a:cubicBezTo>
                <a:close/>
                <a:moveTo>
                  <a:pt x="4882706" y="191262"/>
                </a:moveTo>
                <a:cubicBezTo>
                  <a:pt x="4957763" y="191262"/>
                  <a:pt x="5028914" y="214979"/>
                  <a:pt x="5080254" y="261938"/>
                </a:cubicBezTo>
                <a:cubicBezTo>
                  <a:pt x="5085779" y="267081"/>
                  <a:pt x="5092923" y="270224"/>
                  <a:pt x="5101019" y="270224"/>
                </a:cubicBezTo>
                <a:cubicBezTo>
                  <a:pt x="5109781" y="270224"/>
                  <a:pt x="5117497" y="266795"/>
                  <a:pt x="5123021" y="261271"/>
                </a:cubicBezTo>
                <a:lnTo>
                  <a:pt x="5157883" y="226600"/>
                </a:lnTo>
                <a:cubicBezTo>
                  <a:pt x="5161312" y="222980"/>
                  <a:pt x="5166741" y="220599"/>
                  <a:pt x="5172171" y="220599"/>
                </a:cubicBezTo>
                <a:cubicBezTo>
                  <a:pt x="5183791" y="220599"/>
                  <a:pt x="5193221" y="229934"/>
                  <a:pt x="5193221" y="241364"/>
                </a:cubicBezTo>
                <a:lnTo>
                  <a:pt x="5193221" y="761810"/>
                </a:lnTo>
                <a:cubicBezTo>
                  <a:pt x="5193221" y="773240"/>
                  <a:pt x="5183886" y="782574"/>
                  <a:pt x="5172171" y="782574"/>
                </a:cubicBezTo>
                <a:cubicBezTo>
                  <a:pt x="5166741" y="782574"/>
                  <a:pt x="5161312" y="780193"/>
                  <a:pt x="5157883" y="776573"/>
                </a:cubicBezTo>
                <a:lnTo>
                  <a:pt x="5123021" y="741902"/>
                </a:lnTo>
                <a:cubicBezTo>
                  <a:pt x="5117592" y="736378"/>
                  <a:pt x="5109877" y="732949"/>
                  <a:pt x="5101019" y="732949"/>
                </a:cubicBezTo>
                <a:cubicBezTo>
                  <a:pt x="5092923" y="732949"/>
                  <a:pt x="5085779" y="735997"/>
                  <a:pt x="5080254" y="741236"/>
                </a:cubicBezTo>
                <a:cubicBezTo>
                  <a:pt x="5028914" y="788194"/>
                  <a:pt x="4957763" y="811911"/>
                  <a:pt x="4882706" y="811911"/>
                </a:cubicBezTo>
                <a:cubicBezTo>
                  <a:pt x="4711542" y="811911"/>
                  <a:pt x="4572667" y="673132"/>
                  <a:pt x="4572667" y="501587"/>
                </a:cubicBezTo>
                <a:cubicBezTo>
                  <a:pt x="4572667" y="330041"/>
                  <a:pt x="4711542" y="191262"/>
                  <a:pt x="4882706" y="191262"/>
                </a:cubicBezTo>
                <a:close/>
                <a:moveTo>
                  <a:pt x="4890612" y="635508"/>
                </a:moveTo>
                <a:cubicBezTo>
                  <a:pt x="4960239" y="635508"/>
                  <a:pt x="5016627" y="575405"/>
                  <a:pt x="5016627" y="501682"/>
                </a:cubicBezTo>
                <a:cubicBezTo>
                  <a:pt x="5016627" y="427958"/>
                  <a:pt x="4960239" y="367856"/>
                  <a:pt x="4890612" y="367856"/>
                </a:cubicBezTo>
                <a:cubicBezTo>
                  <a:pt x="4820889" y="367856"/>
                  <a:pt x="4764786" y="427958"/>
                  <a:pt x="4764786" y="501682"/>
                </a:cubicBezTo>
                <a:cubicBezTo>
                  <a:pt x="4764786" y="575405"/>
                  <a:pt x="4820889" y="635508"/>
                  <a:pt x="4890612" y="635508"/>
                </a:cubicBezTo>
                <a:close/>
              </a:path>
            </a:pathLst>
          </a:custGeom>
          <a:solidFill>
            <a:srgbClr val="CC0000"/>
          </a:solidFill>
          <a:ln w="9525" cap="flat">
            <a:noFill/>
            <a:prstDash val="solid"/>
            <a:miter/>
          </a:ln>
        </p:spPr>
        <p:txBody>
          <a:bodyPr rtlCol="0" anchor="ctr"/>
          <a:lstStyle/>
          <a:p>
            <a:endParaRPr lang="nl-NL" noProof="0">
              <a:latin typeface="+mn-lt"/>
            </a:endParaRPr>
          </a:p>
        </p:txBody>
      </p:sp>
      <p:sp>
        <p:nvSpPr>
          <p:cNvPr id="7" name="Rechthoek 6">
            <a:extLst>
              <a:ext uri="{FF2B5EF4-FFF2-40B4-BE49-F238E27FC236}">
                <a16:creationId xmlns:a16="http://schemas.microsoft.com/office/drawing/2014/main" id="{A195EC66-DC64-44B6-BB19-DC4F493EF84D}"/>
              </a:ext>
            </a:extLst>
          </p:cNvPr>
          <p:cNvSpPr/>
          <p:nvPr userDrawn="1"/>
        </p:nvSpPr>
        <p:spPr>
          <a:xfrm>
            <a:off x="0" y="6265769"/>
            <a:ext cx="12192000" cy="36000"/>
          </a:xfrm>
          <a:prstGeom prst="rect">
            <a:avLst/>
          </a:prstGeom>
          <a:solidFill>
            <a:srgbClr val="417FA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noProof="0"/>
          </a:p>
        </p:txBody>
      </p:sp>
      <p:grpSp>
        <p:nvGrpSpPr>
          <p:cNvPr id="96" name="GRID" hidden="1">
            <a:extLst>
              <a:ext uri="{FF2B5EF4-FFF2-40B4-BE49-F238E27FC236}">
                <a16:creationId xmlns:a16="http://schemas.microsoft.com/office/drawing/2014/main" id="{75B097B3-7A68-4D5C-B43B-DF33941C7F97}"/>
              </a:ext>
            </a:extLst>
          </p:cNvPr>
          <p:cNvGrpSpPr/>
          <p:nvPr userDrawn="1"/>
        </p:nvGrpSpPr>
        <p:grpSpPr>
          <a:xfrm>
            <a:off x="0" y="0"/>
            <a:ext cx="12192000" cy="6858000"/>
            <a:chOff x="0" y="0"/>
            <a:chExt cx="12192000" cy="6858000"/>
          </a:xfrm>
          <a:solidFill>
            <a:schemeClr val="tx1">
              <a:alpha val="30000"/>
            </a:schemeClr>
          </a:solidFill>
        </p:grpSpPr>
        <p:sp>
          <p:nvSpPr>
            <p:cNvPr id="97" name="Rechthoek 96">
              <a:extLst>
                <a:ext uri="{FF2B5EF4-FFF2-40B4-BE49-F238E27FC236}">
                  <a16:creationId xmlns:a16="http://schemas.microsoft.com/office/drawing/2014/main" id="{EE3D9B21-E975-43D7-8C81-95C8CDD290B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8" name="Rechthoek 97">
              <a:extLst>
                <a:ext uri="{FF2B5EF4-FFF2-40B4-BE49-F238E27FC236}">
                  <a16:creationId xmlns:a16="http://schemas.microsoft.com/office/drawing/2014/main" id="{105DD2F5-A6F6-4D19-B89E-2F7BCA325C6F}"/>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9" name="Rechthoek 98">
              <a:extLst>
                <a:ext uri="{FF2B5EF4-FFF2-40B4-BE49-F238E27FC236}">
                  <a16:creationId xmlns:a16="http://schemas.microsoft.com/office/drawing/2014/main" id="{2AEA8E2A-9314-4431-84B8-815D27F55574}"/>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0" name="Rechthoek 99">
              <a:extLst>
                <a:ext uri="{FF2B5EF4-FFF2-40B4-BE49-F238E27FC236}">
                  <a16:creationId xmlns:a16="http://schemas.microsoft.com/office/drawing/2014/main" id="{CDFCBDD9-389E-4547-9AAC-86E6DEAA46E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1" name="Rechthoek 100">
              <a:extLst>
                <a:ext uri="{FF2B5EF4-FFF2-40B4-BE49-F238E27FC236}">
                  <a16:creationId xmlns:a16="http://schemas.microsoft.com/office/drawing/2014/main" id="{96AE3856-6B74-49F5-9845-EF4D8D887E33}"/>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2" name="Rechthoek 101">
              <a:extLst>
                <a:ext uri="{FF2B5EF4-FFF2-40B4-BE49-F238E27FC236}">
                  <a16:creationId xmlns:a16="http://schemas.microsoft.com/office/drawing/2014/main" id="{19E8D85C-6B8B-4402-BE42-283B5165F5DD}"/>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3" name="Rechthoek 102">
              <a:extLst>
                <a:ext uri="{FF2B5EF4-FFF2-40B4-BE49-F238E27FC236}">
                  <a16:creationId xmlns:a16="http://schemas.microsoft.com/office/drawing/2014/main" id="{6B31C5D1-7B62-4E2A-BDD3-C2CA5E9E2002}"/>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4" name="Rechthoek 103">
              <a:extLst>
                <a:ext uri="{FF2B5EF4-FFF2-40B4-BE49-F238E27FC236}">
                  <a16:creationId xmlns:a16="http://schemas.microsoft.com/office/drawing/2014/main" id="{5BFF5FB1-4524-485C-AC08-837EBEAA9764}"/>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5BAE6A63-4FB0-4411-AFFC-63A8A8EF4DAE}"/>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6" name="Rechthoek 45">
              <a:extLst>
                <a:ext uri="{FF2B5EF4-FFF2-40B4-BE49-F238E27FC236}">
                  <a16:creationId xmlns:a16="http://schemas.microsoft.com/office/drawing/2014/main" id="{32F9B240-ED3F-49CA-B562-C067CCB5C19D}"/>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39" name="Tekstvak 38">
            <a:extLst>
              <a:ext uri="{FF2B5EF4-FFF2-40B4-BE49-F238E27FC236}">
                <a16:creationId xmlns:a16="http://schemas.microsoft.com/office/drawing/2014/main" id="{EEDD9676-507B-47AF-9FD9-E37F113BD9E8}"/>
              </a:ext>
            </a:extLst>
          </p:cNvPr>
          <p:cNvSpPr txBox="1"/>
          <p:nvPr userDrawn="1"/>
        </p:nvSpPr>
        <p:spPr>
          <a:xfrm>
            <a:off x="539749" y="6464074"/>
            <a:ext cx="2158390" cy="244103"/>
          </a:xfrm>
          <a:prstGeom prst="rect">
            <a:avLst/>
          </a:prstGeom>
          <a:noFill/>
        </p:spPr>
        <p:txBody>
          <a:bodyPr wrap="square" lIns="0" tIns="0" rIns="0" bIns="0" rtlCol="0" anchor="ctr">
            <a:noAutofit/>
          </a:bodyPr>
          <a:lstStyle/>
          <a:p>
            <a:pPr algn="l"/>
            <a:r>
              <a:rPr lang="nl-NL" sz="1500">
                <a:solidFill>
                  <a:schemeClr val="accent1"/>
                </a:solidFill>
              </a:rPr>
              <a:t>IT-keten S&amp;I   |   </a:t>
            </a:r>
          </a:p>
        </p:txBody>
      </p:sp>
      <p:grpSp>
        <p:nvGrpSpPr>
          <p:cNvPr id="56" name="OVERIGE KLEUREN">
            <a:extLst>
              <a:ext uri="{FF2B5EF4-FFF2-40B4-BE49-F238E27FC236}">
                <a16:creationId xmlns:a16="http://schemas.microsoft.com/office/drawing/2014/main" id="{C96DD12D-E32B-E746-A0A2-06877D8A22F8}"/>
              </a:ext>
            </a:extLst>
          </p:cNvPr>
          <p:cNvGrpSpPr/>
          <p:nvPr userDrawn="1"/>
        </p:nvGrpSpPr>
        <p:grpSpPr>
          <a:xfrm>
            <a:off x="3241700" y="6925672"/>
            <a:ext cx="1028611" cy="333473"/>
            <a:chOff x="8419153" y="176531"/>
            <a:chExt cx="1028611" cy="333473"/>
          </a:xfrm>
        </p:grpSpPr>
        <p:grpSp>
          <p:nvGrpSpPr>
            <p:cNvPr id="57" name="Groep 56">
              <a:extLst>
                <a:ext uri="{FF2B5EF4-FFF2-40B4-BE49-F238E27FC236}">
                  <a16:creationId xmlns:a16="http://schemas.microsoft.com/office/drawing/2014/main" id="{83DC1345-C378-064B-B36A-B0BEEC4583BF}"/>
                </a:ext>
              </a:extLst>
            </p:cNvPr>
            <p:cNvGrpSpPr/>
            <p:nvPr userDrawn="1"/>
          </p:nvGrpSpPr>
          <p:grpSpPr>
            <a:xfrm rot="16200000">
              <a:off x="8707994" y="78045"/>
              <a:ext cx="143119" cy="720800"/>
              <a:chOff x="8410390" y="426075"/>
              <a:chExt cx="212651" cy="1070988"/>
            </a:xfrm>
          </p:grpSpPr>
          <p:sp>
            <p:nvSpPr>
              <p:cNvPr id="59" name="Rechthoek: afgeronde hoeken 71">
                <a:extLst>
                  <a:ext uri="{FF2B5EF4-FFF2-40B4-BE49-F238E27FC236}">
                    <a16:creationId xmlns:a16="http://schemas.microsoft.com/office/drawing/2014/main" id="{12E03DD5-8025-994D-8874-83A241B234E7}"/>
                  </a:ext>
                </a:extLst>
              </p:cNvPr>
              <p:cNvSpPr/>
              <p:nvPr userDrawn="1"/>
            </p:nvSpPr>
            <p:spPr>
              <a:xfrm>
                <a:off x="8410390" y="705813"/>
                <a:ext cx="212649" cy="212649"/>
              </a:xfrm>
              <a:prstGeom prst="roundRect">
                <a:avLst>
                  <a:gd name="adj" fmla="val 26722"/>
                </a:avLst>
              </a:prstGeom>
              <a:solidFill>
                <a:srgbClr val="00B33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0" name="Rechthoek: afgeronde hoeken 73">
                <a:extLst>
                  <a:ext uri="{FF2B5EF4-FFF2-40B4-BE49-F238E27FC236}">
                    <a16:creationId xmlns:a16="http://schemas.microsoft.com/office/drawing/2014/main" id="{6AF41A4F-1DD2-B543-930B-78B218994E15}"/>
                  </a:ext>
                </a:extLst>
              </p:cNvPr>
              <p:cNvSpPr/>
              <p:nvPr userDrawn="1"/>
            </p:nvSpPr>
            <p:spPr>
              <a:xfrm>
                <a:off x="8410390" y="426075"/>
                <a:ext cx="212649" cy="212649"/>
              </a:xfrm>
              <a:prstGeom prst="roundRect">
                <a:avLst>
                  <a:gd name="adj" fmla="val 26722"/>
                </a:avLst>
              </a:prstGeom>
              <a:solidFill>
                <a:srgbClr val="0BA29C"/>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2" name="Rechthoek: afgeronde hoeken 74">
                <a:extLst>
                  <a:ext uri="{FF2B5EF4-FFF2-40B4-BE49-F238E27FC236}">
                    <a16:creationId xmlns:a16="http://schemas.microsoft.com/office/drawing/2014/main" id="{5DBF99B8-945F-5948-9418-DC63FABF2BA9}"/>
                  </a:ext>
                </a:extLst>
              </p:cNvPr>
              <p:cNvSpPr/>
              <p:nvPr userDrawn="1"/>
            </p:nvSpPr>
            <p:spPr>
              <a:xfrm>
                <a:off x="8410391" y="1014997"/>
                <a:ext cx="212650" cy="212648"/>
              </a:xfrm>
              <a:prstGeom prst="roundRect">
                <a:avLst>
                  <a:gd name="adj" fmla="val 26722"/>
                </a:avLst>
              </a:prstGeom>
              <a:solidFill>
                <a:srgbClr val="005EAA"/>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3" name="Rechthoek: afgeronde hoeken 76">
                <a:extLst>
                  <a:ext uri="{FF2B5EF4-FFF2-40B4-BE49-F238E27FC236}">
                    <a16:creationId xmlns:a16="http://schemas.microsoft.com/office/drawing/2014/main" id="{608B4901-44AB-BB40-90FC-94CB346F0721}"/>
                  </a:ext>
                </a:extLst>
              </p:cNvPr>
              <p:cNvSpPr/>
              <p:nvPr userDrawn="1"/>
            </p:nvSpPr>
            <p:spPr>
              <a:xfrm>
                <a:off x="8410391" y="1284415"/>
                <a:ext cx="212650" cy="212648"/>
              </a:xfrm>
              <a:prstGeom prst="roundRect">
                <a:avLst>
                  <a:gd name="adj" fmla="val 26722"/>
                </a:avLst>
              </a:prstGeom>
              <a:solidFill>
                <a:srgbClr val="E1321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grpSp>
        <p:sp>
          <p:nvSpPr>
            <p:cNvPr id="58" name="Tekstvak 57">
              <a:extLst>
                <a:ext uri="{FF2B5EF4-FFF2-40B4-BE49-F238E27FC236}">
                  <a16:creationId xmlns:a16="http://schemas.microsoft.com/office/drawing/2014/main" id="{3160A0A3-DCBA-AA47-8A22-A749B3CDFDE5}"/>
                </a:ext>
              </a:extLst>
            </p:cNvPr>
            <p:cNvSpPr txBox="1"/>
            <p:nvPr userDrawn="1"/>
          </p:nvSpPr>
          <p:spPr>
            <a:xfrm>
              <a:off x="8419153" y="176531"/>
              <a:ext cx="1028611" cy="143117"/>
            </a:xfrm>
            <a:prstGeom prst="rect">
              <a:avLst/>
            </a:prstGeom>
            <a:noFill/>
          </p:spPr>
          <p:txBody>
            <a:bodyPr wrap="square" lIns="0" tIns="0" rIns="0" bIns="0" rtlCol="0">
              <a:noAutofit/>
            </a:bodyPr>
            <a:lstStyle/>
            <a:p>
              <a:pPr algn="l"/>
              <a:r>
                <a:rPr lang="nl-NL" sz="1000" b="1" u="none" noProof="0">
                  <a:latin typeface="+mj-lt"/>
                </a:rPr>
                <a:t>Merk kleuren</a:t>
              </a:r>
            </a:p>
          </p:txBody>
        </p:sp>
      </p:grpSp>
      <p:pic>
        <p:nvPicPr>
          <p:cNvPr id="48" name="Afbeelding 47">
            <a:extLst>
              <a:ext uri="{FF2B5EF4-FFF2-40B4-BE49-F238E27FC236}">
                <a16:creationId xmlns:a16="http://schemas.microsoft.com/office/drawing/2014/main" id="{3A20A89F-3ADE-9B43-A791-ACE85C002912}"/>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766034" y="6295724"/>
            <a:ext cx="3179346" cy="562716"/>
          </a:xfrm>
          <a:prstGeom prst="rect">
            <a:avLst/>
          </a:prstGeom>
        </p:spPr>
      </p:pic>
    </p:spTree>
    <p:extLst>
      <p:ext uri="{BB962C8B-B14F-4D97-AF65-F5344CB8AC3E}">
        <p14:creationId xmlns:p14="http://schemas.microsoft.com/office/powerpoint/2010/main" val="1898063571"/>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Lst>
  <p:hf hdr="0" dt="0"/>
  <p:txStyles>
    <p:titleStyle>
      <a:lvl1pPr algn="l" defTabSz="914400" rtl="0" eaLnBrk="1" latinLnBrk="0" hangingPunct="1">
        <a:lnSpc>
          <a:spcPct val="80000"/>
        </a:lnSpc>
        <a:spcBef>
          <a:spcPct val="0"/>
        </a:spcBef>
        <a:buNone/>
        <a:defRPr sz="2600" b="0" kern="1200">
          <a:solidFill>
            <a:schemeClr val="tx1"/>
          </a:solidFill>
          <a:latin typeface="+mn-lt"/>
          <a:ea typeface="+mj-ea"/>
          <a:cs typeface="+mj-cs"/>
        </a:defRPr>
      </a:lvl1pPr>
    </p:titleStyle>
    <p:bodyStyle>
      <a:lvl1pPr marL="177800" indent="-177800" algn="l" defTabSz="914400" rtl="0" eaLnBrk="1" latinLnBrk="0" hangingPunct="1">
        <a:lnSpc>
          <a:spcPct val="100000"/>
        </a:lnSpc>
        <a:spcBef>
          <a:spcPts val="300"/>
        </a:spcBef>
        <a:spcAft>
          <a:spcPts val="300"/>
        </a:spcAft>
        <a:buClr>
          <a:schemeClr val="accent1"/>
        </a:buClr>
        <a:buFont typeface="Wingdings" panose="05000000000000000000" pitchFamily="2" charset="2"/>
        <a:buChar char="§"/>
        <a:defRPr sz="1500" kern="1200">
          <a:solidFill>
            <a:schemeClr val="tx1"/>
          </a:solidFill>
          <a:latin typeface="+mn-lt"/>
          <a:ea typeface="+mn-ea"/>
          <a:cs typeface="+mn-cs"/>
        </a:defRPr>
      </a:lvl1pPr>
      <a:lvl2pPr marL="355600" indent="-177800" algn="l" defTabSz="914400" rtl="0" eaLnBrk="1" latinLnBrk="0" hangingPunct="1">
        <a:lnSpc>
          <a:spcPct val="100000"/>
        </a:lnSpc>
        <a:spcBef>
          <a:spcPts val="300"/>
        </a:spcBef>
        <a:spcAft>
          <a:spcPts val="300"/>
        </a:spcAft>
        <a:buClr>
          <a:schemeClr val="accent1"/>
        </a:buClr>
        <a:buFont typeface="Wingdings" panose="05000000000000000000" pitchFamily="2" charset="2"/>
        <a:buChar char="§"/>
        <a:tabLst/>
        <a:defRPr sz="1500" kern="1200">
          <a:solidFill>
            <a:schemeClr val="tx1"/>
          </a:solidFill>
          <a:latin typeface="+mn-lt"/>
          <a:ea typeface="+mn-ea"/>
          <a:cs typeface="+mn-cs"/>
        </a:defRPr>
      </a:lvl2pPr>
      <a:lvl3pPr marL="531813" indent="-176213" algn="l" defTabSz="914400" rtl="0" eaLnBrk="1" latinLnBrk="0" hangingPunct="1">
        <a:lnSpc>
          <a:spcPct val="100000"/>
        </a:lnSpc>
        <a:spcBef>
          <a:spcPts val="300"/>
        </a:spcBef>
        <a:spcAft>
          <a:spcPts val="300"/>
        </a:spcAft>
        <a:buClr>
          <a:schemeClr val="tx1"/>
        </a:buClr>
        <a:buFont typeface="Corbel" panose="020B0503020204020204" pitchFamily="34" charset="0"/>
        <a:buChar char="–"/>
        <a:defRPr sz="15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None/>
        <a:defRPr sz="1500" kern="1200">
          <a:solidFill>
            <a:schemeClr val="tx1"/>
          </a:solidFill>
          <a:latin typeface="+mn-lt"/>
          <a:ea typeface="+mn-ea"/>
          <a:cs typeface="+mn-cs"/>
        </a:defRPr>
      </a:lvl4pPr>
      <a:lvl5pPr marL="0" indent="0" algn="l" defTabSz="914400" rtl="0" eaLnBrk="1" latinLnBrk="0" hangingPunct="1">
        <a:lnSpc>
          <a:spcPct val="100000"/>
        </a:lnSpc>
        <a:spcBef>
          <a:spcPts val="600"/>
        </a:spcBef>
        <a:spcAft>
          <a:spcPts val="300"/>
        </a:spcAft>
        <a:buFont typeface="Arial" panose="020B0604020202020204" pitchFamily="34" charset="0"/>
        <a:buNone/>
        <a:defRPr sz="1600" b="1" kern="1200" cap="none" baseline="0">
          <a:solidFill>
            <a:schemeClr val="accent1"/>
          </a:solidFill>
          <a:latin typeface="+mj-lt"/>
          <a:ea typeface="+mn-ea"/>
          <a:cs typeface="+mn-cs"/>
        </a:defRPr>
      </a:lvl5pPr>
      <a:lvl6pPr marL="265113" indent="-265113" algn="l" defTabSz="914400" rtl="0" eaLnBrk="1" latinLnBrk="0" hangingPunct="1">
        <a:lnSpc>
          <a:spcPct val="100000"/>
        </a:lnSpc>
        <a:spcBef>
          <a:spcPts val="300"/>
        </a:spcBef>
        <a:spcAft>
          <a:spcPts val="300"/>
        </a:spcAft>
        <a:buClr>
          <a:schemeClr val="tx1"/>
        </a:buClr>
        <a:buSzPct val="85000"/>
        <a:buFont typeface="+mj-lt"/>
        <a:buAutoNum type="arabicPeriod"/>
        <a:defRPr sz="1500" kern="1200">
          <a:solidFill>
            <a:schemeClr val="tx1"/>
          </a:solidFill>
          <a:latin typeface="+mn-lt"/>
          <a:ea typeface="+mn-ea"/>
          <a:cs typeface="+mn-cs"/>
        </a:defRPr>
      </a:lvl6pPr>
      <a:lvl7pPr marL="265113" indent="-265113" algn="l" defTabSz="914400" rtl="0" eaLnBrk="1" latinLnBrk="0" hangingPunct="1">
        <a:lnSpc>
          <a:spcPct val="100000"/>
        </a:lnSpc>
        <a:spcBef>
          <a:spcPts val="300"/>
        </a:spcBef>
        <a:spcAft>
          <a:spcPts val="300"/>
        </a:spcAft>
        <a:buClr>
          <a:schemeClr val="tx1"/>
        </a:buClr>
        <a:buSzPct val="85000"/>
        <a:buFont typeface="+mj-lt"/>
        <a:buAutoNum type="alphaLcPeriod"/>
        <a:tabLst/>
        <a:defRPr sz="1500" kern="1200">
          <a:solidFill>
            <a:schemeClr val="tx1"/>
          </a:solidFill>
          <a:latin typeface="+mn-lt"/>
          <a:ea typeface="+mn-ea"/>
          <a:cs typeface="+mn-cs"/>
        </a:defRPr>
      </a:lvl7pPr>
      <a:lvl8pPr marL="0" indent="0" algn="l" defTabSz="914400" rtl="0" eaLnBrk="1" latinLnBrk="0" hangingPunct="1">
        <a:lnSpc>
          <a:spcPct val="100000"/>
        </a:lnSpc>
        <a:spcBef>
          <a:spcPts val="300"/>
        </a:spcBef>
        <a:spcAft>
          <a:spcPts val="300"/>
        </a:spcAft>
        <a:buClr>
          <a:schemeClr val="accent3"/>
        </a:buClr>
        <a:buFont typeface="Arial" panose="020B0604020202020204" pitchFamily="34" charset="0"/>
        <a:buNone/>
        <a:defRPr sz="1000" i="1" kern="1200">
          <a:solidFill>
            <a:schemeClr val="tx1"/>
          </a:solidFill>
          <a:latin typeface="+mn-lt"/>
          <a:ea typeface="+mn-ea"/>
          <a:cs typeface="+mn-cs"/>
        </a:defRPr>
      </a:lvl8pPr>
      <a:lvl9pPr marL="0" indent="0" algn="l" defTabSz="914400" rtl="0" eaLnBrk="1" latinLnBrk="0" hangingPunct="1">
        <a:lnSpc>
          <a:spcPct val="100000"/>
        </a:lnSpc>
        <a:spcBef>
          <a:spcPts val="600"/>
        </a:spcBef>
        <a:spcAft>
          <a:spcPts val="300"/>
        </a:spcAft>
        <a:buFont typeface="Arial" panose="020B0604020202020204" pitchFamily="34" charset="0"/>
        <a:buNone/>
        <a:defRPr sz="20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3" name="THEMAKLEUREN">
            <a:extLst>
              <a:ext uri="{FF2B5EF4-FFF2-40B4-BE49-F238E27FC236}">
                <a16:creationId xmlns:a16="http://schemas.microsoft.com/office/drawing/2014/main" id="{9D3C318D-7D68-4056-B093-32B4543686BA}"/>
              </a:ext>
            </a:extLst>
          </p:cNvPr>
          <p:cNvGrpSpPr/>
          <p:nvPr userDrawn="1"/>
        </p:nvGrpSpPr>
        <p:grpSpPr>
          <a:xfrm>
            <a:off x="1" y="6925673"/>
            <a:ext cx="1461003" cy="333499"/>
            <a:chOff x="8419153" y="176532"/>
            <a:chExt cx="1461003" cy="333499"/>
          </a:xfrm>
        </p:grpSpPr>
        <p:grpSp>
          <p:nvGrpSpPr>
            <p:cNvPr id="12" name="Groep 11">
              <a:extLst>
                <a:ext uri="{FF2B5EF4-FFF2-40B4-BE49-F238E27FC236}">
                  <a16:creationId xmlns:a16="http://schemas.microsoft.com/office/drawing/2014/main" id="{6C8B8488-5D61-436D-BCDE-494BA44E52B3}"/>
                </a:ext>
              </a:extLst>
            </p:cNvPr>
            <p:cNvGrpSpPr/>
            <p:nvPr userDrawn="1"/>
          </p:nvGrpSpPr>
          <p:grpSpPr>
            <a:xfrm rot="16200000">
              <a:off x="9078096" y="-292029"/>
              <a:ext cx="143117" cy="1461003"/>
              <a:chOff x="8410390" y="426075"/>
              <a:chExt cx="212649" cy="2170815"/>
            </a:xfrm>
          </p:grpSpPr>
          <p:sp>
            <p:nvSpPr>
              <p:cNvPr id="10" name="Rechthoek: afgeronde hoeken 9">
                <a:extLst>
                  <a:ext uri="{FF2B5EF4-FFF2-40B4-BE49-F238E27FC236}">
                    <a16:creationId xmlns:a16="http://schemas.microsoft.com/office/drawing/2014/main" id="{72C35D7D-AAB4-4264-96AA-812D82EE03AB}"/>
                  </a:ext>
                </a:extLst>
              </p:cNvPr>
              <p:cNvSpPr/>
              <p:nvPr userDrawn="1"/>
            </p:nvSpPr>
            <p:spPr>
              <a:xfrm>
                <a:off x="8410390" y="705813"/>
                <a:ext cx="212649" cy="212649"/>
              </a:xfrm>
              <a:prstGeom prst="roundRect">
                <a:avLst>
                  <a:gd name="adj" fmla="val 2672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26" name="Rechthoek: afgeronde hoeken 25">
                <a:extLst>
                  <a:ext uri="{FF2B5EF4-FFF2-40B4-BE49-F238E27FC236}">
                    <a16:creationId xmlns:a16="http://schemas.microsoft.com/office/drawing/2014/main" id="{21B9CFFD-C4AF-4A24-8B0F-80433A49DA58}"/>
                  </a:ext>
                </a:extLst>
              </p:cNvPr>
              <p:cNvSpPr/>
              <p:nvPr userDrawn="1"/>
            </p:nvSpPr>
            <p:spPr>
              <a:xfrm>
                <a:off x="8410390" y="985551"/>
                <a:ext cx="212649" cy="212649"/>
              </a:xfrm>
              <a:prstGeom prst="roundRect">
                <a:avLst>
                  <a:gd name="adj" fmla="val 267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29" name="Rechthoek: afgeronde hoeken 28">
                <a:extLst>
                  <a:ext uri="{FF2B5EF4-FFF2-40B4-BE49-F238E27FC236}">
                    <a16:creationId xmlns:a16="http://schemas.microsoft.com/office/drawing/2014/main" id="{71112316-63C8-419B-93FA-B3BB8F8EFB81}"/>
                  </a:ext>
                </a:extLst>
              </p:cNvPr>
              <p:cNvSpPr/>
              <p:nvPr userDrawn="1"/>
            </p:nvSpPr>
            <p:spPr>
              <a:xfrm>
                <a:off x="8410390" y="1265289"/>
                <a:ext cx="212649" cy="212649"/>
              </a:xfrm>
              <a:prstGeom prst="roundRect">
                <a:avLst>
                  <a:gd name="adj" fmla="val 267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2" name="Rechthoek: afgeronde hoeken 31">
                <a:extLst>
                  <a:ext uri="{FF2B5EF4-FFF2-40B4-BE49-F238E27FC236}">
                    <a16:creationId xmlns:a16="http://schemas.microsoft.com/office/drawing/2014/main" id="{D7E9BEBB-D0DC-4557-835D-FC149C7585FD}"/>
                  </a:ext>
                </a:extLst>
              </p:cNvPr>
              <p:cNvSpPr/>
              <p:nvPr userDrawn="1"/>
            </p:nvSpPr>
            <p:spPr>
              <a:xfrm>
                <a:off x="8410390" y="1545027"/>
                <a:ext cx="212649" cy="212649"/>
              </a:xfrm>
              <a:prstGeom prst="roundRect">
                <a:avLst>
                  <a:gd name="adj" fmla="val 2672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5" name="Rechthoek: afgeronde hoeken 34">
                <a:extLst>
                  <a:ext uri="{FF2B5EF4-FFF2-40B4-BE49-F238E27FC236}">
                    <a16:creationId xmlns:a16="http://schemas.microsoft.com/office/drawing/2014/main" id="{2196EB4D-914A-41CD-9D75-6F89501EF0B8}"/>
                  </a:ext>
                </a:extLst>
              </p:cNvPr>
              <p:cNvSpPr/>
              <p:nvPr userDrawn="1"/>
            </p:nvSpPr>
            <p:spPr>
              <a:xfrm>
                <a:off x="8410390" y="1824765"/>
                <a:ext cx="212649" cy="212649"/>
              </a:xfrm>
              <a:prstGeom prst="roundRect">
                <a:avLst>
                  <a:gd name="adj" fmla="val 2672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38" name="Rechthoek: afgeronde hoeken 37">
                <a:extLst>
                  <a:ext uri="{FF2B5EF4-FFF2-40B4-BE49-F238E27FC236}">
                    <a16:creationId xmlns:a16="http://schemas.microsoft.com/office/drawing/2014/main" id="{F1454947-644A-4FBF-A032-C689B5740B2A}"/>
                  </a:ext>
                </a:extLst>
              </p:cNvPr>
              <p:cNvSpPr/>
              <p:nvPr userDrawn="1"/>
            </p:nvSpPr>
            <p:spPr>
              <a:xfrm>
                <a:off x="8410390" y="2104503"/>
                <a:ext cx="212649" cy="212649"/>
              </a:xfrm>
              <a:prstGeom prst="roundRect">
                <a:avLst>
                  <a:gd name="adj" fmla="val 267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41" name="Rechthoek: afgeronde hoeken 40">
                <a:extLst>
                  <a:ext uri="{FF2B5EF4-FFF2-40B4-BE49-F238E27FC236}">
                    <a16:creationId xmlns:a16="http://schemas.microsoft.com/office/drawing/2014/main" id="{78DD8BE2-8EB7-4C12-B1C2-AEA6DD7D8C23}"/>
                  </a:ext>
                </a:extLst>
              </p:cNvPr>
              <p:cNvSpPr/>
              <p:nvPr userDrawn="1"/>
            </p:nvSpPr>
            <p:spPr>
              <a:xfrm>
                <a:off x="8410390" y="2384241"/>
                <a:ext cx="212649" cy="212649"/>
              </a:xfrm>
              <a:prstGeom prst="roundRect">
                <a:avLst>
                  <a:gd name="adj" fmla="val 2672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sp>
            <p:nvSpPr>
              <p:cNvPr id="47" name="Rechthoek: afgeronde hoeken 46">
                <a:extLst>
                  <a:ext uri="{FF2B5EF4-FFF2-40B4-BE49-F238E27FC236}">
                    <a16:creationId xmlns:a16="http://schemas.microsoft.com/office/drawing/2014/main" id="{1D7DDBC7-4460-4F2C-927A-7AE13B24D8F4}"/>
                  </a:ext>
                </a:extLst>
              </p:cNvPr>
              <p:cNvSpPr/>
              <p:nvPr userDrawn="1"/>
            </p:nvSpPr>
            <p:spPr>
              <a:xfrm>
                <a:off x="8410390" y="426075"/>
                <a:ext cx="212649" cy="212649"/>
              </a:xfrm>
              <a:prstGeom prst="roundRect">
                <a:avLst>
                  <a:gd name="adj" fmla="val 2672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b="1" u="none" noProof="0">
                  <a:latin typeface="+mj-lt"/>
                </a:endParaRPr>
              </a:p>
            </p:txBody>
          </p:sp>
        </p:grpSp>
        <p:sp>
          <p:nvSpPr>
            <p:cNvPr id="49" name="Tekstvak 48">
              <a:extLst>
                <a:ext uri="{FF2B5EF4-FFF2-40B4-BE49-F238E27FC236}">
                  <a16:creationId xmlns:a16="http://schemas.microsoft.com/office/drawing/2014/main" id="{00A66507-1AE0-46EB-92B8-915DBFB60F41}"/>
                </a:ext>
              </a:extLst>
            </p:cNvPr>
            <p:cNvSpPr txBox="1"/>
            <p:nvPr userDrawn="1"/>
          </p:nvSpPr>
          <p:spPr>
            <a:xfrm>
              <a:off x="8419153" y="176532"/>
              <a:ext cx="1461003" cy="134653"/>
            </a:xfrm>
            <a:prstGeom prst="rect">
              <a:avLst/>
            </a:prstGeom>
            <a:noFill/>
          </p:spPr>
          <p:txBody>
            <a:bodyPr wrap="square" lIns="0" tIns="0" rIns="0" bIns="0" rtlCol="0">
              <a:noAutofit/>
            </a:bodyPr>
            <a:lstStyle/>
            <a:p>
              <a:pPr algn="l"/>
              <a:r>
                <a:rPr lang="nl-NL" sz="1000" b="1" u="none" noProof="0">
                  <a:latin typeface="+mj-lt"/>
                </a:rPr>
                <a:t>Achmea themakleuren</a:t>
              </a:r>
            </a:p>
          </p:txBody>
        </p:sp>
      </p:grpSp>
      <p:grpSp>
        <p:nvGrpSpPr>
          <p:cNvPr id="50" name="OVERIGE KLEUREN">
            <a:extLst>
              <a:ext uri="{FF2B5EF4-FFF2-40B4-BE49-F238E27FC236}">
                <a16:creationId xmlns:a16="http://schemas.microsoft.com/office/drawing/2014/main" id="{139292DB-CA74-4075-BC92-B06602D34DDC}"/>
              </a:ext>
            </a:extLst>
          </p:cNvPr>
          <p:cNvGrpSpPr/>
          <p:nvPr userDrawn="1"/>
        </p:nvGrpSpPr>
        <p:grpSpPr>
          <a:xfrm>
            <a:off x="1716814" y="6925672"/>
            <a:ext cx="1461003" cy="333499"/>
            <a:chOff x="8419153" y="176531"/>
            <a:chExt cx="1461003" cy="333499"/>
          </a:xfrm>
        </p:grpSpPr>
        <p:grpSp>
          <p:nvGrpSpPr>
            <p:cNvPr id="51" name="Groep 50">
              <a:extLst>
                <a:ext uri="{FF2B5EF4-FFF2-40B4-BE49-F238E27FC236}">
                  <a16:creationId xmlns:a16="http://schemas.microsoft.com/office/drawing/2014/main" id="{026BC4A5-3D18-4206-AEC3-1395E2D4F813}"/>
                </a:ext>
              </a:extLst>
            </p:cNvPr>
            <p:cNvGrpSpPr/>
            <p:nvPr userDrawn="1"/>
          </p:nvGrpSpPr>
          <p:grpSpPr>
            <a:xfrm rot="16200000">
              <a:off x="8607423" y="178644"/>
              <a:ext cx="143117" cy="519656"/>
              <a:chOff x="8410390" y="426075"/>
              <a:chExt cx="212649" cy="772125"/>
            </a:xfrm>
          </p:grpSpPr>
          <p:sp>
            <p:nvSpPr>
              <p:cNvPr id="53" name="Rechthoek: afgeronde hoeken 52">
                <a:extLst>
                  <a:ext uri="{FF2B5EF4-FFF2-40B4-BE49-F238E27FC236}">
                    <a16:creationId xmlns:a16="http://schemas.microsoft.com/office/drawing/2014/main" id="{5465870F-5975-4142-8BF0-A929890F5184}"/>
                  </a:ext>
                </a:extLst>
              </p:cNvPr>
              <p:cNvSpPr/>
              <p:nvPr userDrawn="1"/>
            </p:nvSpPr>
            <p:spPr>
              <a:xfrm>
                <a:off x="8410390" y="705813"/>
                <a:ext cx="212649" cy="212649"/>
              </a:xfrm>
              <a:prstGeom prst="roundRect">
                <a:avLst>
                  <a:gd name="adj" fmla="val 26722"/>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54" name="Rechthoek: afgeronde hoeken 53">
                <a:extLst>
                  <a:ext uri="{FF2B5EF4-FFF2-40B4-BE49-F238E27FC236}">
                    <a16:creationId xmlns:a16="http://schemas.microsoft.com/office/drawing/2014/main" id="{63DEE779-FB50-4FA3-93B0-85E181EA893E}"/>
                  </a:ext>
                </a:extLst>
              </p:cNvPr>
              <p:cNvSpPr/>
              <p:nvPr userDrawn="1"/>
            </p:nvSpPr>
            <p:spPr>
              <a:xfrm>
                <a:off x="8410390" y="985551"/>
                <a:ext cx="212649" cy="212649"/>
              </a:xfrm>
              <a:prstGeom prst="roundRect">
                <a:avLst>
                  <a:gd name="adj" fmla="val 26722"/>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sp>
            <p:nvSpPr>
              <p:cNvPr id="61" name="Rechthoek: afgeronde hoeken 60">
                <a:extLst>
                  <a:ext uri="{FF2B5EF4-FFF2-40B4-BE49-F238E27FC236}">
                    <a16:creationId xmlns:a16="http://schemas.microsoft.com/office/drawing/2014/main" id="{21C7E1C1-A97E-47CD-9961-15F5227E277B}"/>
                  </a:ext>
                </a:extLst>
              </p:cNvPr>
              <p:cNvSpPr/>
              <p:nvPr userDrawn="1"/>
            </p:nvSpPr>
            <p:spPr>
              <a:xfrm>
                <a:off x="8410390" y="426075"/>
                <a:ext cx="212649" cy="212649"/>
              </a:xfrm>
              <a:prstGeom prst="roundRect">
                <a:avLst>
                  <a:gd name="adj" fmla="val 26722"/>
                </a:avLst>
              </a:prstGeom>
              <a:solidFill>
                <a:srgbClr val="4A794C"/>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nl-NL" sz="1000" b="1" u="none" noProof="0">
                  <a:latin typeface="+mj-lt"/>
                </a:endParaRPr>
              </a:p>
            </p:txBody>
          </p:sp>
        </p:grpSp>
        <p:sp>
          <p:nvSpPr>
            <p:cNvPr id="52" name="Tekstvak 51">
              <a:extLst>
                <a:ext uri="{FF2B5EF4-FFF2-40B4-BE49-F238E27FC236}">
                  <a16:creationId xmlns:a16="http://schemas.microsoft.com/office/drawing/2014/main" id="{C44176F0-EB56-46B2-B92E-619B77378192}"/>
                </a:ext>
              </a:extLst>
            </p:cNvPr>
            <p:cNvSpPr txBox="1"/>
            <p:nvPr userDrawn="1"/>
          </p:nvSpPr>
          <p:spPr>
            <a:xfrm>
              <a:off x="8419153" y="176531"/>
              <a:ext cx="1461003" cy="134653"/>
            </a:xfrm>
            <a:prstGeom prst="rect">
              <a:avLst/>
            </a:prstGeom>
            <a:noFill/>
          </p:spPr>
          <p:txBody>
            <a:bodyPr wrap="square" lIns="0" tIns="0" rIns="0" bIns="0" rtlCol="0">
              <a:noAutofit/>
            </a:bodyPr>
            <a:lstStyle/>
            <a:p>
              <a:pPr algn="l"/>
              <a:r>
                <a:rPr lang="nl-NL" sz="1000" b="1" u="none" noProof="0">
                  <a:latin typeface="+mj-lt"/>
                </a:rPr>
                <a:t>Overige Achmea kleuren</a:t>
              </a:r>
            </a:p>
          </p:txBody>
        </p:sp>
      </p:grpSp>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540000" y="538835"/>
            <a:ext cx="11112000" cy="301139"/>
          </a:xfrm>
          <a:prstGeom prst="rect">
            <a:avLst/>
          </a:prstGeom>
        </p:spPr>
        <p:txBody>
          <a:bodyPr vert="horz" lIns="0" tIns="0" rIns="0" bIns="0" rtlCol="0" anchor="t">
            <a:noAutofit/>
          </a:bodyPr>
          <a:lstStyle/>
          <a:p>
            <a:r>
              <a:rPr lang="nl-NL" noProof="0"/>
              <a:t>Voeg hier een titel in</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540000" y="1459112"/>
            <a:ext cx="11112001" cy="4119774"/>
          </a:xfrm>
          <a:prstGeom prst="rect">
            <a:avLst/>
          </a:prstGeom>
        </p:spPr>
        <p:txBody>
          <a:bodyPr vert="horz" lIns="0" tIns="0" rIns="0" bIns="0" rtlCol="0">
            <a:noAutofit/>
          </a:bodyPr>
          <a:lstStyle/>
          <a:p>
            <a:pPr lvl="0"/>
            <a:r>
              <a:rPr lang="nl-NL" noProof="0" err="1"/>
              <a:t>Bullet</a:t>
            </a:r>
            <a:endParaRPr lang="nl-NL" noProof="0"/>
          </a:p>
          <a:p>
            <a:pPr lvl="1"/>
            <a:r>
              <a:rPr lang="nl-NL" noProof="0"/>
              <a:t>Sub-</a:t>
            </a:r>
            <a:r>
              <a:rPr lang="nl-NL" noProof="0" err="1"/>
              <a:t>bullet</a:t>
            </a:r>
            <a:r>
              <a:rPr lang="nl-NL" noProof="0"/>
              <a:t> #1</a:t>
            </a:r>
          </a:p>
          <a:p>
            <a:pPr lvl="2"/>
            <a:r>
              <a:rPr lang="nl-NL" noProof="0"/>
              <a:t>Sub-</a:t>
            </a:r>
            <a:r>
              <a:rPr lang="nl-NL" noProof="0" err="1"/>
              <a:t>bullet</a:t>
            </a:r>
            <a:r>
              <a:rPr lang="nl-NL" noProof="0"/>
              <a:t> #2</a:t>
            </a:r>
          </a:p>
          <a:p>
            <a:pPr lvl="3"/>
            <a:r>
              <a:rPr lang="nl-NL" noProof="0"/>
              <a:t>Leestekst</a:t>
            </a:r>
          </a:p>
          <a:p>
            <a:pPr lvl="4"/>
            <a:r>
              <a:rPr lang="nl-NL" noProof="0"/>
              <a:t>Tussenkop</a:t>
            </a:r>
          </a:p>
          <a:p>
            <a:pPr lvl="5"/>
            <a:r>
              <a:rPr lang="nl-NL" noProof="0"/>
              <a:t>Numerieke </a:t>
            </a:r>
            <a:r>
              <a:rPr lang="nl-NL" noProof="0" err="1"/>
              <a:t>bullet</a:t>
            </a:r>
            <a:endParaRPr lang="nl-NL" noProof="0"/>
          </a:p>
          <a:p>
            <a:pPr lvl="6"/>
            <a:r>
              <a:rPr lang="nl-NL" noProof="0"/>
              <a:t>Alfabetische </a:t>
            </a:r>
            <a:r>
              <a:rPr lang="nl-NL" noProof="0" err="1"/>
              <a:t>bullet</a:t>
            </a:r>
            <a:endParaRPr lang="nl-NL" noProof="0"/>
          </a:p>
          <a:p>
            <a:pPr lvl="7"/>
            <a:r>
              <a:rPr lang="nl-NL" noProof="0"/>
              <a:t>Fotobeschrijving</a:t>
            </a:r>
          </a:p>
          <a:p>
            <a:pPr lvl="8"/>
            <a:r>
              <a:rPr lang="nl-NL" noProof="0"/>
              <a:t>Quote tekst</a:t>
            </a:r>
          </a:p>
          <a:p>
            <a:pPr lvl="8"/>
            <a:endParaRPr lang="nl-NL" noProof="0"/>
          </a:p>
        </p:txBody>
      </p:sp>
      <p:sp>
        <p:nvSpPr>
          <p:cNvPr id="4" name="Tijdelijke aanduiding voor datum 3">
            <a:extLst>
              <a:ext uri="{FF2B5EF4-FFF2-40B4-BE49-F238E27FC236}">
                <a16:creationId xmlns:a16="http://schemas.microsoft.com/office/drawing/2014/main" id="{2CC0954C-56F0-4481-AEFC-476FD5516A05}"/>
              </a:ext>
            </a:extLst>
          </p:cNvPr>
          <p:cNvSpPr>
            <a:spLocks noGrp="1"/>
          </p:cNvSpPr>
          <p:nvPr>
            <p:ph type="dt" sz="half" idx="2"/>
          </p:nvPr>
        </p:nvSpPr>
        <p:spPr>
          <a:xfrm>
            <a:off x="10917012" y="6940828"/>
            <a:ext cx="1274989" cy="127963"/>
          </a:xfrm>
          <a:prstGeom prst="rect">
            <a:avLst/>
          </a:prstGeom>
        </p:spPr>
        <p:txBody>
          <a:bodyPr vert="horz" lIns="0" tIns="0" rIns="0" bIns="0" rtlCol="0" anchor="ctr">
            <a:noAutofit/>
          </a:bodyPr>
          <a:lstStyle>
            <a:lvl1pPr algn="r">
              <a:defRPr sz="1000">
                <a:solidFill>
                  <a:schemeClr val="tx1"/>
                </a:solidFill>
                <a:latin typeface="+mn-lt"/>
              </a:defRPr>
            </a:lvl1pPr>
          </a:lstStyle>
          <a:p>
            <a:fld id="{22B0ABC7-2FDE-4D21-9B5B-F3FEAA65D8CF}" type="datetime4">
              <a:rPr lang="nl-NL" smtClean="0"/>
              <a:t>24 oktober 2023</a:t>
            </a:fld>
            <a:endParaRPr lang="nl-NL"/>
          </a:p>
        </p:txBody>
      </p:sp>
      <p:sp>
        <p:nvSpPr>
          <p:cNvPr id="5" name="Tijdelijke aanduiding voor voettekst 4">
            <a:extLst>
              <a:ext uri="{FF2B5EF4-FFF2-40B4-BE49-F238E27FC236}">
                <a16:creationId xmlns:a16="http://schemas.microsoft.com/office/drawing/2014/main" id="{293B2B64-2362-45C8-9E78-5ECAAAF3478D}"/>
              </a:ext>
            </a:extLst>
          </p:cNvPr>
          <p:cNvSpPr>
            <a:spLocks noGrp="1"/>
          </p:cNvSpPr>
          <p:nvPr>
            <p:ph type="ftr" sz="quarter" idx="3"/>
          </p:nvPr>
        </p:nvSpPr>
        <p:spPr>
          <a:xfrm>
            <a:off x="539999" y="6489321"/>
            <a:ext cx="9478328" cy="224300"/>
          </a:xfrm>
          <a:prstGeom prst="rect">
            <a:avLst/>
          </a:prstGeom>
        </p:spPr>
        <p:txBody>
          <a:bodyPr vert="horz" lIns="0" tIns="0" rIns="0" bIns="0" rtlCol="0" anchor="ctr">
            <a:noAutofit/>
          </a:bodyPr>
          <a:lstStyle>
            <a:lvl1pPr algn="l">
              <a:defRPr sz="1500" b="0">
                <a:solidFill>
                  <a:schemeClr val="accent1"/>
                </a:solidFill>
                <a:latin typeface="+mn-lt"/>
              </a:defRPr>
            </a:lvl1pPr>
          </a:lstStyle>
          <a:p>
            <a:r>
              <a:rPr lang="nl-NL"/>
              <a:t>Voortgangsrapportage Stuurgroep Privacy Deepdive</a:t>
            </a:r>
          </a:p>
        </p:txBody>
      </p:sp>
      <p:sp>
        <p:nvSpPr>
          <p:cNvPr id="6" name="Tijdelijke aanduiding voor dianummer 5">
            <a:extLst>
              <a:ext uri="{FF2B5EF4-FFF2-40B4-BE49-F238E27FC236}">
                <a16:creationId xmlns:a16="http://schemas.microsoft.com/office/drawing/2014/main" id="{5549FE6F-67CB-4243-BE03-A9A3C4007850}"/>
              </a:ext>
            </a:extLst>
          </p:cNvPr>
          <p:cNvSpPr>
            <a:spLocks noGrp="1"/>
          </p:cNvSpPr>
          <p:nvPr>
            <p:ph type="sldNum" sz="quarter" idx="4"/>
          </p:nvPr>
        </p:nvSpPr>
        <p:spPr>
          <a:xfrm>
            <a:off x="1" y="6489321"/>
            <a:ext cx="539998" cy="224300"/>
          </a:xfrm>
          <a:prstGeom prst="rect">
            <a:avLst/>
          </a:prstGeom>
        </p:spPr>
        <p:txBody>
          <a:bodyPr vert="horz" lIns="0" tIns="0" rIns="0" bIns="0" rtlCol="0" anchor="ctr">
            <a:noAutofit/>
          </a:bodyPr>
          <a:lstStyle>
            <a:lvl1pPr algn="ctr">
              <a:defRPr sz="1200" b="0">
                <a:solidFill>
                  <a:srgbClr val="828282"/>
                </a:solidFill>
                <a:latin typeface="+mn-lt"/>
              </a:defRPr>
            </a:lvl1pPr>
          </a:lstStyle>
          <a:p>
            <a:fld id="{D7B5DC5B-6873-43DB-ADC7-B15ACCE0DFDB}" type="slidenum">
              <a:rPr lang="nl-NL" smtClean="0"/>
              <a:pPr/>
              <a:t>‹#›</a:t>
            </a:fld>
            <a:endParaRPr lang="nl-NL"/>
          </a:p>
        </p:txBody>
      </p:sp>
      <p:sp>
        <p:nvSpPr>
          <p:cNvPr id="20" name="Tekstvak 19">
            <a:extLst>
              <a:ext uri="{FF2B5EF4-FFF2-40B4-BE49-F238E27FC236}">
                <a16:creationId xmlns:a16="http://schemas.microsoft.com/office/drawing/2014/main" id="{88A106C3-3B5C-4817-A9B9-E1AA65368768}"/>
              </a:ext>
            </a:extLst>
          </p:cNvPr>
          <p:cNvSpPr txBox="1"/>
          <p:nvPr userDrawn="1"/>
        </p:nvSpPr>
        <p:spPr>
          <a:xfrm>
            <a:off x="5031476" y="-696037"/>
            <a:ext cx="2129051" cy="150127"/>
          </a:xfrm>
          <a:prstGeom prst="rect">
            <a:avLst/>
          </a:prstGeom>
          <a:noFill/>
        </p:spPr>
        <p:txBody>
          <a:bodyPr wrap="square" lIns="71981" tIns="0" rIns="71981" bIns="0" rtlCol="0">
            <a:noAutofit/>
          </a:bodyPr>
          <a:lstStyle/>
          <a:p>
            <a:pPr algn="ctr"/>
            <a:r>
              <a:rPr lang="nl-NL" sz="1200" b="0" cap="all" baseline="0" noProof="0">
                <a:latin typeface="+mn-lt"/>
              </a:rPr>
              <a:t>Naam van de indeling</a:t>
            </a:r>
          </a:p>
        </p:txBody>
      </p:sp>
      <p:sp>
        <p:nvSpPr>
          <p:cNvPr id="84" name="LOGO">
            <a:extLst>
              <a:ext uri="{FF2B5EF4-FFF2-40B4-BE49-F238E27FC236}">
                <a16:creationId xmlns:a16="http://schemas.microsoft.com/office/drawing/2014/main" id="{F3950CA2-C0C5-4E51-A069-AB8682DBCAB9}"/>
              </a:ext>
            </a:extLst>
          </p:cNvPr>
          <p:cNvSpPr/>
          <p:nvPr userDrawn="1"/>
        </p:nvSpPr>
        <p:spPr>
          <a:xfrm>
            <a:off x="10670999" y="6462444"/>
            <a:ext cx="1353982" cy="251179"/>
          </a:xfrm>
          <a:custGeom>
            <a:avLst/>
            <a:gdLst>
              <a:gd name="connsiteX0" fmla="*/ 1694783 w 5391150"/>
              <a:gd name="connsiteY0" fmla="*/ 439484 h 1000125"/>
              <a:gd name="connsiteX1" fmla="*/ 1694783 w 5391150"/>
              <a:gd name="connsiteY1" fmla="*/ 744474 h 1000125"/>
              <a:gd name="connsiteX2" fmla="*/ 1525715 w 5391150"/>
              <a:gd name="connsiteY2" fmla="*/ 744474 h 1000125"/>
              <a:gd name="connsiteX3" fmla="*/ 1525715 w 5391150"/>
              <a:gd name="connsiteY3" fmla="*/ 507778 h 1000125"/>
              <a:gd name="connsiteX4" fmla="*/ 1447991 w 5391150"/>
              <a:gd name="connsiteY4" fmla="*/ 385286 h 1000125"/>
              <a:gd name="connsiteX5" fmla="*/ 1343025 w 5391150"/>
              <a:gd name="connsiteY5" fmla="*/ 537972 h 1000125"/>
              <a:gd name="connsiteX6" fmla="*/ 1343025 w 5391150"/>
              <a:gd name="connsiteY6" fmla="*/ 744569 h 1000125"/>
              <a:gd name="connsiteX7" fmla="*/ 1174337 w 5391150"/>
              <a:gd name="connsiteY7" fmla="*/ 744569 h 1000125"/>
              <a:gd name="connsiteX8" fmla="*/ 1174337 w 5391150"/>
              <a:gd name="connsiteY8" fmla="*/ 44291 h 1000125"/>
              <a:gd name="connsiteX9" fmla="*/ 1307306 w 5391150"/>
              <a:gd name="connsiteY9" fmla="*/ 44291 h 1000125"/>
              <a:gd name="connsiteX10" fmla="*/ 1342930 w 5391150"/>
              <a:gd name="connsiteY10" fmla="*/ 81725 h 1000125"/>
              <a:gd name="connsiteX11" fmla="*/ 1342930 w 5391150"/>
              <a:gd name="connsiteY11" fmla="*/ 328041 h 1000125"/>
              <a:gd name="connsiteX12" fmla="*/ 1344740 w 5391150"/>
              <a:gd name="connsiteY12" fmla="*/ 328041 h 1000125"/>
              <a:gd name="connsiteX13" fmla="*/ 1507998 w 5391150"/>
              <a:gd name="connsiteY13" fmla="*/ 244793 h 1000125"/>
              <a:gd name="connsiteX14" fmla="*/ 1694783 w 5391150"/>
              <a:gd name="connsiteY14" fmla="*/ 439484 h 1000125"/>
              <a:gd name="connsiteX15" fmla="*/ 799910 w 5391150"/>
              <a:gd name="connsiteY15" fmla="*/ 504920 h 1000125"/>
              <a:gd name="connsiteX16" fmla="*/ 930402 w 5391150"/>
              <a:gd name="connsiteY16" fmla="*/ 371094 h 1000125"/>
              <a:gd name="connsiteX17" fmla="*/ 1004792 w 5391150"/>
              <a:gd name="connsiteY17" fmla="*/ 383667 h 1000125"/>
              <a:gd name="connsiteX18" fmla="*/ 1017651 w 5391150"/>
              <a:gd name="connsiteY18" fmla="*/ 388144 h 1000125"/>
              <a:gd name="connsiteX19" fmla="*/ 1019270 w 5391150"/>
              <a:gd name="connsiteY19" fmla="*/ 388144 h 1000125"/>
              <a:gd name="connsiteX20" fmla="*/ 1036225 w 5391150"/>
              <a:gd name="connsiteY20" fmla="*/ 371475 h 1000125"/>
              <a:gd name="connsiteX21" fmla="*/ 1036225 w 5391150"/>
              <a:gd name="connsiteY21" fmla="*/ 269843 h 1000125"/>
              <a:gd name="connsiteX22" fmla="*/ 910876 w 5391150"/>
              <a:gd name="connsiteY22" fmla="*/ 246412 h 1000125"/>
              <a:gd name="connsiteX23" fmla="*/ 624649 w 5391150"/>
              <a:gd name="connsiteY23" fmla="*/ 502063 h 1000125"/>
              <a:gd name="connsiteX24" fmla="*/ 910019 w 5391150"/>
              <a:gd name="connsiteY24" fmla="*/ 756952 h 1000125"/>
              <a:gd name="connsiteX25" fmla="*/ 1044988 w 5391150"/>
              <a:gd name="connsiteY25" fmla="*/ 736568 h 1000125"/>
              <a:gd name="connsiteX26" fmla="*/ 1044988 w 5391150"/>
              <a:gd name="connsiteY26" fmla="*/ 609219 h 1000125"/>
              <a:gd name="connsiteX27" fmla="*/ 939070 w 5391150"/>
              <a:gd name="connsiteY27" fmla="*/ 632746 h 1000125"/>
              <a:gd name="connsiteX28" fmla="*/ 799910 w 5391150"/>
              <a:gd name="connsiteY28" fmla="*/ 504920 h 1000125"/>
              <a:gd name="connsiteX29" fmla="*/ 2498884 w 5391150"/>
              <a:gd name="connsiteY29" fmla="*/ 244697 h 1000125"/>
              <a:gd name="connsiteX30" fmla="*/ 2325529 w 5391150"/>
              <a:gd name="connsiteY30" fmla="*/ 338423 h 1000125"/>
              <a:gd name="connsiteX31" fmla="*/ 2172653 w 5391150"/>
              <a:gd name="connsiteY31" fmla="*/ 244697 h 1000125"/>
              <a:gd name="connsiteX32" fmla="*/ 1990154 w 5391150"/>
              <a:gd name="connsiteY32" fmla="*/ 326422 h 1000125"/>
              <a:gd name="connsiteX33" fmla="*/ 1968818 w 5391150"/>
              <a:gd name="connsiteY33" fmla="*/ 338328 h 1000125"/>
              <a:gd name="connsiteX34" fmla="*/ 1951577 w 5391150"/>
              <a:gd name="connsiteY34" fmla="*/ 331565 h 1000125"/>
              <a:gd name="connsiteX35" fmla="*/ 1884426 w 5391150"/>
              <a:gd name="connsiteY35" fmla="*/ 263652 h 1000125"/>
              <a:gd name="connsiteX36" fmla="*/ 1865567 w 5391150"/>
              <a:gd name="connsiteY36" fmla="*/ 255746 h 1000125"/>
              <a:gd name="connsiteX37" fmla="*/ 1838992 w 5391150"/>
              <a:gd name="connsiteY37" fmla="*/ 282416 h 1000125"/>
              <a:gd name="connsiteX38" fmla="*/ 1838992 w 5391150"/>
              <a:gd name="connsiteY38" fmla="*/ 744474 h 1000125"/>
              <a:gd name="connsiteX39" fmla="*/ 2007870 w 5391150"/>
              <a:gd name="connsiteY39" fmla="*/ 744474 h 1000125"/>
              <a:gd name="connsiteX40" fmla="*/ 2007870 w 5391150"/>
              <a:gd name="connsiteY40" fmla="*/ 538258 h 1000125"/>
              <a:gd name="connsiteX41" fmla="*/ 2103787 w 5391150"/>
              <a:gd name="connsiteY41" fmla="*/ 385382 h 1000125"/>
              <a:gd name="connsiteX42" fmla="*/ 2170843 w 5391150"/>
              <a:gd name="connsiteY42" fmla="*/ 481965 h 1000125"/>
              <a:gd name="connsiteX43" fmla="*/ 2170843 w 5391150"/>
              <a:gd name="connsiteY43" fmla="*/ 744474 h 1000125"/>
              <a:gd name="connsiteX44" fmla="*/ 2339721 w 5391150"/>
              <a:gd name="connsiteY44" fmla="*/ 744474 h 1000125"/>
              <a:gd name="connsiteX45" fmla="*/ 2339721 w 5391150"/>
              <a:gd name="connsiteY45" fmla="*/ 538258 h 1000125"/>
              <a:gd name="connsiteX46" fmla="*/ 2435543 w 5391150"/>
              <a:gd name="connsiteY46" fmla="*/ 385382 h 1000125"/>
              <a:gd name="connsiteX47" fmla="*/ 2502884 w 5391150"/>
              <a:gd name="connsiteY47" fmla="*/ 481965 h 1000125"/>
              <a:gd name="connsiteX48" fmla="*/ 2502884 w 5391150"/>
              <a:gd name="connsiteY48" fmla="*/ 744474 h 1000125"/>
              <a:gd name="connsiteX49" fmla="*/ 2671382 w 5391150"/>
              <a:gd name="connsiteY49" fmla="*/ 744474 h 1000125"/>
              <a:gd name="connsiteX50" fmla="*/ 2671382 w 5391150"/>
              <a:gd name="connsiteY50" fmla="*/ 456819 h 1000125"/>
              <a:gd name="connsiteX51" fmla="*/ 2498884 w 5391150"/>
              <a:gd name="connsiteY51" fmla="*/ 244697 h 1000125"/>
              <a:gd name="connsiteX52" fmla="*/ 510635 w 5391150"/>
              <a:gd name="connsiteY52" fmla="*/ 296894 h 1000125"/>
              <a:gd name="connsiteX53" fmla="*/ 510635 w 5391150"/>
              <a:gd name="connsiteY53" fmla="*/ 706374 h 1000125"/>
              <a:gd name="connsiteX54" fmla="*/ 484061 w 5391150"/>
              <a:gd name="connsiteY54" fmla="*/ 732758 h 1000125"/>
              <a:gd name="connsiteX55" fmla="*/ 465487 w 5391150"/>
              <a:gd name="connsiteY55" fmla="*/ 724948 h 1000125"/>
              <a:gd name="connsiteX56" fmla="*/ 440246 w 5391150"/>
              <a:gd name="connsiteY56" fmla="*/ 699516 h 1000125"/>
              <a:gd name="connsiteX57" fmla="*/ 421958 w 5391150"/>
              <a:gd name="connsiteY57" fmla="*/ 691706 h 1000125"/>
              <a:gd name="connsiteX58" fmla="*/ 404527 w 5391150"/>
              <a:gd name="connsiteY58" fmla="*/ 698659 h 1000125"/>
              <a:gd name="connsiteX59" fmla="*/ 255270 w 5391150"/>
              <a:gd name="connsiteY59" fmla="*/ 756761 h 1000125"/>
              <a:gd name="connsiteX60" fmla="*/ 0 w 5391150"/>
              <a:gd name="connsiteY60" fmla="*/ 501491 h 1000125"/>
              <a:gd name="connsiteX61" fmla="*/ 255270 w 5391150"/>
              <a:gd name="connsiteY61" fmla="*/ 246317 h 1000125"/>
              <a:gd name="connsiteX62" fmla="*/ 404527 w 5391150"/>
              <a:gd name="connsiteY62" fmla="*/ 304419 h 1000125"/>
              <a:gd name="connsiteX63" fmla="*/ 421958 w 5391150"/>
              <a:gd name="connsiteY63" fmla="*/ 311468 h 1000125"/>
              <a:gd name="connsiteX64" fmla="*/ 440246 w 5391150"/>
              <a:gd name="connsiteY64" fmla="*/ 303752 h 1000125"/>
              <a:gd name="connsiteX65" fmla="*/ 465487 w 5391150"/>
              <a:gd name="connsiteY65" fmla="*/ 278130 h 1000125"/>
              <a:gd name="connsiteX66" fmla="*/ 484061 w 5391150"/>
              <a:gd name="connsiteY66" fmla="*/ 270415 h 1000125"/>
              <a:gd name="connsiteX67" fmla="*/ 510635 w 5391150"/>
              <a:gd name="connsiteY67" fmla="*/ 296894 h 1000125"/>
              <a:gd name="connsiteX68" fmla="*/ 370904 w 5391150"/>
              <a:gd name="connsiteY68" fmla="*/ 501587 h 1000125"/>
              <a:gd name="connsiteX69" fmla="*/ 262604 w 5391150"/>
              <a:gd name="connsiteY69" fmla="*/ 386810 h 1000125"/>
              <a:gd name="connsiteX70" fmla="*/ 154210 w 5391150"/>
              <a:gd name="connsiteY70" fmla="*/ 501587 h 1000125"/>
              <a:gd name="connsiteX71" fmla="*/ 262604 w 5391150"/>
              <a:gd name="connsiteY71" fmla="*/ 616458 h 1000125"/>
              <a:gd name="connsiteX72" fmla="*/ 370904 w 5391150"/>
              <a:gd name="connsiteY72" fmla="*/ 501587 h 1000125"/>
              <a:gd name="connsiteX73" fmla="*/ 3912965 w 5391150"/>
              <a:gd name="connsiteY73" fmla="*/ 296894 h 1000125"/>
              <a:gd name="connsiteX74" fmla="*/ 3912965 w 5391150"/>
              <a:gd name="connsiteY74" fmla="*/ 706374 h 1000125"/>
              <a:gd name="connsiteX75" fmla="*/ 3886581 w 5391150"/>
              <a:gd name="connsiteY75" fmla="*/ 732758 h 1000125"/>
              <a:gd name="connsiteX76" fmla="*/ 3867531 w 5391150"/>
              <a:gd name="connsiteY76" fmla="*/ 724948 h 1000125"/>
              <a:gd name="connsiteX77" fmla="*/ 3842385 w 5391150"/>
              <a:gd name="connsiteY77" fmla="*/ 699516 h 1000125"/>
              <a:gd name="connsiteX78" fmla="*/ 3824288 w 5391150"/>
              <a:gd name="connsiteY78" fmla="*/ 691706 h 1000125"/>
              <a:gd name="connsiteX79" fmla="*/ 3806762 w 5391150"/>
              <a:gd name="connsiteY79" fmla="*/ 698659 h 1000125"/>
              <a:gd name="connsiteX80" fmla="*/ 3657791 w 5391150"/>
              <a:gd name="connsiteY80" fmla="*/ 756761 h 1000125"/>
              <a:gd name="connsiteX81" fmla="*/ 3402235 w 5391150"/>
              <a:gd name="connsiteY81" fmla="*/ 501491 h 1000125"/>
              <a:gd name="connsiteX82" fmla="*/ 3657791 w 5391150"/>
              <a:gd name="connsiteY82" fmla="*/ 246317 h 1000125"/>
              <a:gd name="connsiteX83" fmla="*/ 3806762 w 5391150"/>
              <a:gd name="connsiteY83" fmla="*/ 304419 h 1000125"/>
              <a:gd name="connsiteX84" fmla="*/ 3824288 w 5391150"/>
              <a:gd name="connsiteY84" fmla="*/ 311468 h 1000125"/>
              <a:gd name="connsiteX85" fmla="*/ 3842385 w 5391150"/>
              <a:gd name="connsiteY85" fmla="*/ 303752 h 1000125"/>
              <a:gd name="connsiteX86" fmla="*/ 3867531 w 5391150"/>
              <a:gd name="connsiteY86" fmla="*/ 278130 h 1000125"/>
              <a:gd name="connsiteX87" fmla="*/ 3886581 w 5391150"/>
              <a:gd name="connsiteY87" fmla="*/ 270415 h 1000125"/>
              <a:gd name="connsiteX88" fmla="*/ 3912965 w 5391150"/>
              <a:gd name="connsiteY88" fmla="*/ 296894 h 1000125"/>
              <a:gd name="connsiteX89" fmla="*/ 3773234 w 5391150"/>
              <a:gd name="connsiteY89" fmla="*/ 501587 h 1000125"/>
              <a:gd name="connsiteX90" fmla="*/ 3665125 w 5391150"/>
              <a:gd name="connsiteY90" fmla="*/ 386810 h 1000125"/>
              <a:gd name="connsiteX91" fmla="*/ 3556635 w 5391150"/>
              <a:gd name="connsiteY91" fmla="*/ 501587 h 1000125"/>
              <a:gd name="connsiteX92" fmla="*/ 3665125 w 5391150"/>
              <a:gd name="connsiteY92" fmla="*/ 616458 h 1000125"/>
              <a:gd name="connsiteX93" fmla="*/ 3773234 w 5391150"/>
              <a:gd name="connsiteY93" fmla="*/ 501587 h 1000125"/>
              <a:gd name="connsiteX94" fmla="*/ 3298222 w 5391150"/>
              <a:gd name="connsiteY94" fmla="*/ 520351 h 1000125"/>
              <a:gd name="connsiteX95" fmla="*/ 3298222 w 5391150"/>
              <a:gd name="connsiteY95" fmla="*/ 551688 h 1000125"/>
              <a:gd name="connsiteX96" fmla="*/ 2963227 w 5391150"/>
              <a:gd name="connsiteY96" fmla="*/ 551688 h 1000125"/>
              <a:gd name="connsiteX97" fmla="*/ 3105817 w 5391150"/>
              <a:gd name="connsiteY97" fmla="*/ 644747 h 1000125"/>
              <a:gd name="connsiteX98" fmla="*/ 3254312 w 5391150"/>
              <a:gd name="connsiteY98" fmla="*/ 607314 h 1000125"/>
              <a:gd name="connsiteX99" fmla="*/ 3254312 w 5391150"/>
              <a:gd name="connsiteY99" fmla="*/ 726091 h 1000125"/>
              <a:gd name="connsiteX100" fmla="*/ 3075908 w 5391150"/>
              <a:gd name="connsiteY100" fmla="*/ 756952 h 1000125"/>
              <a:gd name="connsiteX101" fmla="*/ 2793778 w 5391150"/>
              <a:gd name="connsiteY101" fmla="*/ 501682 h 1000125"/>
              <a:gd name="connsiteX102" fmla="*/ 3053429 w 5391150"/>
              <a:gd name="connsiteY102" fmla="*/ 246507 h 1000125"/>
              <a:gd name="connsiteX103" fmla="*/ 3298222 w 5391150"/>
              <a:gd name="connsiteY103" fmla="*/ 520351 h 1000125"/>
              <a:gd name="connsiteX104" fmla="*/ 3142869 w 5391150"/>
              <a:gd name="connsiteY104" fmla="*/ 435102 h 1000125"/>
              <a:gd name="connsiteX105" fmla="*/ 3050762 w 5391150"/>
              <a:gd name="connsiteY105" fmla="*/ 352997 h 1000125"/>
              <a:gd name="connsiteX106" fmla="*/ 2960084 w 5391150"/>
              <a:gd name="connsiteY106" fmla="*/ 436055 h 1000125"/>
              <a:gd name="connsiteX107" fmla="*/ 2977229 w 5391150"/>
              <a:gd name="connsiteY107" fmla="*/ 456343 h 1000125"/>
              <a:gd name="connsiteX108" fmla="*/ 3125534 w 5391150"/>
              <a:gd name="connsiteY108" fmla="*/ 456343 h 1000125"/>
              <a:gd name="connsiteX109" fmla="*/ 3142869 w 5391150"/>
              <a:gd name="connsiteY109" fmla="*/ 435102 h 1000125"/>
              <a:gd name="connsiteX110" fmla="*/ 4898422 w 5391150"/>
              <a:gd name="connsiteY110" fmla="*/ 0 h 1000125"/>
              <a:gd name="connsiteX111" fmla="*/ 4579620 w 5391150"/>
              <a:gd name="connsiteY111" fmla="*/ 114491 h 1000125"/>
              <a:gd name="connsiteX112" fmla="*/ 4545426 w 5391150"/>
              <a:gd name="connsiteY112" fmla="*/ 127826 h 1000125"/>
              <a:gd name="connsiteX113" fmla="*/ 4510088 w 5391150"/>
              <a:gd name="connsiteY113" fmla="*/ 113157 h 1000125"/>
              <a:gd name="connsiteX114" fmla="*/ 4453890 w 5391150"/>
              <a:gd name="connsiteY114" fmla="*/ 57245 h 1000125"/>
              <a:gd name="connsiteX115" fmla="*/ 4430078 w 5391150"/>
              <a:gd name="connsiteY115" fmla="*/ 47530 h 1000125"/>
              <a:gd name="connsiteX116" fmla="*/ 4396835 w 5391150"/>
              <a:gd name="connsiteY116" fmla="*/ 81248 h 1000125"/>
              <a:gd name="connsiteX117" fmla="*/ 4396835 w 5391150"/>
              <a:gd name="connsiteY117" fmla="*/ 922020 h 1000125"/>
              <a:gd name="connsiteX118" fmla="*/ 4430078 w 5391150"/>
              <a:gd name="connsiteY118" fmla="*/ 955738 h 1000125"/>
              <a:gd name="connsiteX119" fmla="*/ 4453890 w 5391150"/>
              <a:gd name="connsiteY119" fmla="*/ 946023 h 1000125"/>
              <a:gd name="connsiteX120" fmla="*/ 4510088 w 5391150"/>
              <a:gd name="connsiteY120" fmla="*/ 890111 h 1000125"/>
              <a:gd name="connsiteX121" fmla="*/ 4545426 w 5391150"/>
              <a:gd name="connsiteY121" fmla="*/ 875443 h 1000125"/>
              <a:gd name="connsiteX122" fmla="*/ 4579620 w 5391150"/>
              <a:gd name="connsiteY122" fmla="*/ 888778 h 1000125"/>
              <a:gd name="connsiteX123" fmla="*/ 4898422 w 5391150"/>
              <a:gd name="connsiteY123" fmla="*/ 1003268 h 1000125"/>
              <a:gd name="connsiteX124" fmla="*/ 5399913 w 5391150"/>
              <a:gd name="connsiteY124" fmla="*/ 501682 h 1000125"/>
              <a:gd name="connsiteX125" fmla="*/ 4898422 w 5391150"/>
              <a:gd name="connsiteY125" fmla="*/ 0 h 1000125"/>
              <a:gd name="connsiteX126" fmla="*/ 4882706 w 5391150"/>
              <a:gd name="connsiteY126" fmla="*/ 191262 h 1000125"/>
              <a:gd name="connsiteX127" fmla="*/ 5080254 w 5391150"/>
              <a:gd name="connsiteY127" fmla="*/ 261938 h 1000125"/>
              <a:gd name="connsiteX128" fmla="*/ 5101019 w 5391150"/>
              <a:gd name="connsiteY128" fmla="*/ 270224 h 1000125"/>
              <a:gd name="connsiteX129" fmla="*/ 5123021 w 5391150"/>
              <a:gd name="connsiteY129" fmla="*/ 261271 h 1000125"/>
              <a:gd name="connsiteX130" fmla="*/ 5157883 w 5391150"/>
              <a:gd name="connsiteY130" fmla="*/ 226600 h 1000125"/>
              <a:gd name="connsiteX131" fmla="*/ 5172171 w 5391150"/>
              <a:gd name="connsiteY131" fmla="*/ 220599 h 1000125"/>
              <a:gd name="connsiteX132" fmla="*/ 5193221 w 5391150"/>
              <a:gd name="connsiteY132" fmla="*/ 241364 h 1000125"/>
              <a:gd name="connsiteX133" fmla="*/ 5193221 w 5391150"/>
              <a:gd name="connsiteY133" fmla="*/ 761810 h 1000125"/>
              <a:gd name="connsiteX134" fmla="*/ 5172171 w 5391150"/>
              <a:gd name="connsiteY134" fmla="*/ 782574 h 1000125"/>
              <a:gd name="connsiteX135" fmla="*/ 5157883 w 5391150"/>
              <a:gd name="connsiteY135" fmla="*/ 776573 h 1000125"/>
              <a:gd name="connsiteX136" fmla="*/ 5123021 w 5391150"/>
              <a:gd name="connsiteY136" fmla="*/ 741902 h 1000125"/>
              <a:gd name="connsiteX137" fmla="*/ 5101019 w 5391150"/>
              <a:gd name="connsiteY137" fmla="*/ 732949 h 1000125"/>
              <a:gd name="connsiteX138" fmla="*/ 5080254 w 5391150"/>
              <a:gd name="connsiteY138" fmla="*/ 741236 h 1000125"/>
              <a:gd name="connsiteX139" fmla="*/ 4882706 w 5391150"/>
              <a:gd name="connsiteY139" fmla="*/ 811911 h 1000125"/>
              <a:gd name="connsiteX140" fmla="*/ 4572667 w 5391150"/>
              <a:gd name="connsiteY140" fmla="*/ 501587 h 1000125"/>
              <a:gd name="connsiteX141" fmla="*/ 4882706 w 5391150"/>
              <a:gd name="connsiteY141" fmla="*/ 191262 h 1000125"/>
              <a:gd name="connsiteX142" fmla="*/ 4890612 w 5391150"/>
              <a:gd name="connsiteY142" fmla="*/ 635508 h 1000125"/>
              <a:gd name="connsiteX143" fmla="*/ 5016627 w 5391150"/>
              <a:gd name="connsiteY143" fmla="*/ 501682 h 1000125"/>
              <a:gd name="connsiteX144" fmla="*/ 4890612 w 5391150"/>
              <a:gd name="connsiteY144" fmla="*/ 367856 h 1000125"/>
              <a:gd name="connsiteX145" fmla="*/ 4764786 w 5391150"/>
              <a:gd name="connsiteY145" fmla="*/ 501682 h 1000125"/>
              <a:gd name="connsiteX146" fmla="*/ 4890612 w 5391150"/>
              <a:gd name="connsiteY146" fmla="*/ 635508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5391150" h="1000125">
                <a:moveTo>
                  <a:pt x="1694783" y="439484"/>
                </a:moveTo>
                <a:lnTo>
                  <a:pt x="1694783" y="744474"/>
                </a:lnTo>
                <a:lnTo>
                  <a:pt x="1525715" y="744474"/>
                </a:lnTo>
                <a:lnTo>
                  <a:pt x="1525715" y="507778"/>
                </a:lnTo>
                <a:cubicBezTo>
                  <a:pt x="1525715" y="416147"/>
                  <a:pt x="1494092" y="385286"/>
                  <a:pt x="1447991" y="385286"/>
                </a:cubicBezTo>
                <a:cubicBezTo>
                  <a:pt x="1378553" y="385286"/>
                  <a:pt x="1343025" y="433197"/>
                  <a:pt x="1343025" y="537972"/>
                </a:cubicBezTo>
                <a:lnTo>
                  <a:pt x="1343025" y="744569"/>
                </a:lnTo>
                <a:lnTo>
                  <a:pt x="1174337" y="744569"/>
                </a:lnTo>
                <a:lnTo>
                  <a:pt x="1174337" y="44291"/>
                </a:lnTo>
                <a:cubicBezTo>
                  <a:pt x="1174337" y="44291"/>
                  <a:pt x="1299210" y="44291"/>
                  <a:pt x="1307306" y="44291"/>
                </a:cubicBezTo>
                <a:cubicBezTo>
                  <a:pt x="1327499" y="44291"/>
                  <a:pt x="1342930" y="54197"/>
                  <a:pt x="1342930" y="81725"/>
                </a:cubicBezTo>
                <a:cubicBezTo>
                  <a:pt x="1342930" y="91154"/>
                  <a:pt x="1342930" y="328041"/>
                  <a:pt x="1342930" y="328041"/>
                </a:cubicBezTo>
                <a:lnTo>
                  <a:pt x="1344740" y="328041"/>
                </a:lnTo>
                <a:cubicBezTo>
                  <a:pt x="1381411" y="277368"/>
                  <a:pt x="1434751" y="244793"/>
                  <a:pt x="1507998" y="244793"/>
                </a:cubicBezTo>
                <a:cubicBezTo>
                  <a:pt x="1641158" y="244697"/>
                  <a:pt x="1694783" y="338138"/>
                  <a:pt x="1694783" y="439484"/>
                </a:cubicBezTo>
                <a:close/>
                <a:moveTo>
                  <a:pt x="799910" y="504920"/>
                </a:moveTo>
                <a:cubicBezTo>
                  <a:pt x="799910" y="420053"/>
                  <a:pt x="857345" y="371094"/>
                  <a:pt x="930402" y="371094"/>
                </a:cubicBezTo>
                <a:cubicBezTo>
                  <a:pt x="958787" y="371094"/>
                  <a:pt x="982409" y="374999"/>
                  <a:pt x="1004792" y="383667"/>
                </a:cubicBezTo>
                <a:cubicBezTo>
                  <a:pt x="1009936" y="385763"/>
                  <a:pt x="1013270" y="387668"/>
                  <a:pt x="1017651" y="388144"/>
                </a:cubicBezTo>
                <a:cubicBezTo>
                  <a:pt x="1018318" y="388144"/>
                  <a:pt x="1018794" y="388144"/>
                  <a:pt x="1019270" y="388144"/>
                </a:cubicBezTo>
                <a:cubicBezTo>
                  <a:pt x="1028700" y="388144"/>
                  <a:pt x="1036225" y="380619"/>
                  <a:pt x="1036225" y="371475"/>
                </a:cubicBezTo>
                <a:cubicBezTo>
                  <a:pt x="1036225" y="371189"/>
                  <a:pt x="1036225" y="269843"/>
                  <a:pt x="1036225" y="269843"/>
                </a:cubicBezTo>
                <a:cubicBezTo>
                  <a:pt x="999839" y="254032"/>
                  <a:pt x="957644" y="246412"/>
                  <a:pt x="910876" y="246412"/>
                </a:cubicBezTo>
                <a:cubicBezTo>
                  <a:pt x="748856" y="246412"/>
                  <a:pt x="624649" y="339090"/>
                  <a:pt x="624649" y="502063"/>
                </a:cubicBezTo>
                <a:cubicBezTo>
                  <a:pt x="624649" y="664274"/>
                  <a:pt x="748189" y="756952"/>
                  <a:pt x="910019" y="756952"/>
                </a:cubicBezTo>
                <a:cubicBezTo>
                  <a:pt x="953834" y="756952"/>
                  <a:pt x="1003078" y="749808"/>
                  <a:pt x="1044988" y="736568"/>
                </a:cubicBezTo>
                <a:lnTo>
                  <a:pt x="1044988" y="609219"/>
                </a:lnTo>
                <a:cubicBezTo>
                  <a:pt x="1016508" y="623983"/>
                  <a:pt x="977837" y="632746"/>
                  <a:pt x="939070" y="632746"/>
                </a:cubicBezTo>
                <a:cubicBezTo>
                  <a:pt x="865823" y="632841"/>
                  <a:pt x="799910" y="582930"/>
                  <a:pt x="799910" y="504920"/>
                </a:cubicBezTo>
                <a:close/>
                <a:moveTo>
                  <a:pt x="2498884" y="244697"/>
                </a:moveTo>
                <a:cubicBezTo>
                  <a:pt x="2429637" y="244697"/>
                  <a:pt x="2364772" y="272891"/>
                  <a:pt x="2325529" y="338423"/>
                </a:cubicBezTo>
                <a:cubicBezTo>
                  <a:pt x="2299240" y="274892"/>
                  <a:pt x="2242185" y="244697"/>
                  <a:pt x="2172653" y="244697"/>
                </a:cubicBezTo>
                <a:cubicBezTo>
                  <a:pt x="2100929" y="244697"/>
                  <a:pt x="2046923" y="269939"/>
                  <a:pt x="1990154" y="326422"/>
                </a:cubicBezTo>
                <a:cubicBezTo>
                  <a:pt x="1990154" y="326422"/>
                  <a:pt x="1979581" y="338328"/>
                  <a:pt x="1968818" y="338328"/>
                </a:cubicBezTo>
                <a:cubicBezTo>
                  <a:pt x="1962150" y="338328"/>
                  <a:pt x="1956149" y="335756"/>
                  <a:pt x="1951577" y="331565"/>
                </a:cubicBezTo>
                <a:lnTo>
                  <a:pt x="1884426" y="263652"/>
                </a:lnTo>
                <a:cubicBezTo>
                  <a:pt x="1879568" y="258890"/>
                  <a:pt x="1873091" y="255746"/>
                  <a:pt x="1865567" y="255746"/>
                </a:cubicBezTo>
                <a:cubicBezTo>
                  <a:pt x="1850708" y="255746"/>
                  <a:pt x="1838992" y="268224"/>
                  <a:pt x="1838992" y="282416"/>
                </a:cubicBezTo>
                <a:lnTo>
                  <a:pt x="1838992" y="744474"/>
                </a:lnTo>
                <a:lnTo>
                  <a:pt x="2007870" y="744474"/>
                </a:lnTo>
                <a:lnTo>
                  <a:pt x="2007870" y="538258"/>
                </a:lnTo>
                <a:cubicBezTo>
                  <a:pt x="2007870" y="433292"/>
                  <a:pt x="2043684" y="385382"/>
                  <a:pt x="2103787" y="385382"/>
                </a:cubicBezTo>
                <a:cubicBezTo>
                  <a:pt x="2151317" y="385382"/>
                  <a:pt x="2170843" y="426625"/>
                  <a:pt x="2170843" y="481965"/>
                </a:cubicBezTo>
                <a:lnTo>
                  <a:pt x="2170843" y="744474"/>
                </a:lnTo>
                <a:lnTo>
                  <a:pt x="2339721" y="744474"/>
                </a:lnTo>
                <a:lnTo>
                  <a:pt x="2339721" y="538258"/>
                </a:lnTo>
                <a:cubicBezTo>
                  <a:pt x="2339721" y="433292"/>
                  <a:pt x="2375249" y="385382"/>
                  <a:pt x="2435543" y="385382"/>
                </a:cubicBezTo>
                <a:cubicBezTo>
                  <a:pt x="2482787" y="385382"/>
                  <a:pt x="2502884" y="426625"/>
                  <a:pt x="2502884" y="481965"/>
                </a:cubicBezTo>
                <a:lnTo>
                  <a:pt x="2502884" y="744474"/>
                </a:lnTo>
                <a:lnTo>
                  <a:pt x="2671382" y="744474"/>
                </a:lnTo>
                <a:lnTo>
                  <a:pt x="2671382" y="456819"/>
                </a:lnTo>
                <a:cubicBezTo>
                  <a:pt x="2671286" y="324422"/>
                  <a:pt x="2639377" y="244697"/>
                  <a:pt x="2498884" y="244697"/>
                </a:cubicBezTo>
                <a:close/>
                <a:moveTo>
                  <a:pt x="510635" y="296894"/>
                </a:moveTo>
                <a:lnTo>
                  <a:pt x="510635" y="706374"/>
                </a:lnTo>
                <a:cubicBezTo>
                  <a:pt x="510635" y="720471"/>
                  <a:pt x="499015" y="732758"/>
                  <a:pt x="484061" y="732758"/>
                </a:cubicBezTo>
                <a:cubicBezTo>
                  <a:pt x="476441" y="732758"/>
                  <a:pt x="469868" y="729329"/>
                  <a:pt x="465487" y="724948"/>
                </a:cubicBezTo>
                <a:lnTo>
                  <a:pt x="440246" y="699516"/>
                </a:lnTo>
                <a:cubicBezTo>
                  <a:pt x="435578" y="694563"/>
                  <a:pt x="429006" y="691706"/>
                  <a:pt x="421958" y="691706"/>
                </a:cubicBezTo>
                <a:cubicBezTo>
                  <a:pt x="415100" y="691706"/>
                  <a:pt x="409289" y="694468"/>
                  <a:pt x="404527" y="698659"/>
                </a:cubicBezTo>
                <a:cubicBezTo>
                  <a:pt x="362331" y="737330"/>
                  <a:pt x="317087" y="756761"/>
                  <a:pt x="255270" y="756761"/>
                </a:cubicBezTo>
                <a:cubicBezTo>
                  <a:pt x="114014" y="756761"/>
                  <a:pt x="0" y="642461"/>
                  <a:pt x="0" y="501491"/>
                </a:cubicBezTo>
                <a:cubicBezTo>
                  <a:pt x="0" y="360617"/>
                  <a:pt x="114014" y="246317"/>
                  <a:pt x="255270" y="246317"/>
                </a:cubicBezTo>
                <a:cubicBezTo>
                  <a:pt x="317087" y="246317"/>
                  <a:pt x="362331" y="265843"/>
                  <a:pt x="404527" y="304419"/>
                </a:cubicBezTo>
                <a:cubicBezTo>
                  <a:pt x="409289" y="308705"/>
                  <a:pt x="415100" y="311468"/>
                  <a:pt x="421958" y="311468"/>
                </a:cubicBezTo>
                <a:cubicBezTo>
                  <a:pt x="429006" y="311468"/>
                  <a:pt x="435483" y="308229"/>
                  <a:pt x="440246" y="303752"/>
                </a:cubicBezTo>
                <a:lnTo>
                  <a:pt x="465487" y="278130"/>
                </a:lnTo>
                <a:cubicBezTo>
                  <a:pt x="469868" y="273558"/>
                  <a:pt x="476441" y="270415"/>
                  <a:pt x="484061" y="270415"/>
                </a:cubicBezTo>
                <a:cubicBezTo>
                  <a:pt x="499015" y="270510"/>
                  <a:pt x="510635" y="282893"/>
                  <a:pt x="510635" y="296894"/>
                </a:cubicBezTo>
                <a:close/>
                <a:moveTo>
                  <a:pt x="370904" y="501587"/>
                </a:moveTo>
                <a:cubicBezTo>
                  <a:pt x="370904" y="438150"/>
                  <a:pt x="322421" y="386810"/>
                  <a:pt x="262604" y="386810"/>
                </a:cubicBezTo>
                <a:cubicBezTo>
                  <a:pt x="202406" y="386810"/>
                  <a:pt x="154210" y="438150"/>
                  <a:pt x="154210" y="501587"/>
                </a:cubicBezTo>
                <a:cubicBezTo>
                  <a:pt x="154210" y="565118"/>
                  <a:pt x="202406" y="616458"/>
                  <a:pt x="262604" y="616458"/>
                </a:cubicBezTo>
                <a:cubicBezTo>
                  <a:pt x="322517" y="616458"/>
                  <a:pt x="370904" y="565118"/>
                  <a:pt x="370904" y="501587"/>
                </a:cubicBezTo>
                <a:close/>
                <a:moveTo>
                  <a:pt x="3912965" y="296894"/>
                </a:moveTo>
                <a:lnTo>
                  <a:pt x="3912965" y="706374"/>
                </a:lnTo>
                <a:cubicBezTo>
                  <a:pt x="3912965" y="720471"/>
                  <a:pt x="3901535" y="732758"/>
                  <a:pt x="3886581" y="732758"/>
                </a:cubicBezTo>
                <a:cubicBezTo>
                  <a:pt x="3878771" y="732758"/>
                  <a:pt x="3872008" y="729329"/>
                  <a:pt x="3867531" y="724948"/>
                </a:cubicBezTo>
                <a:lnTo>
                  <a:pt x="3842385" y="699516"/>
                </a:lnTo>
                <a:cubicBezTo>
                  <a:pt x="3837813" y="694563"/>
                  <a:pt x="3831146" y="691706"/>
                  <a:pt x="3824288" y="691706"/>
                </a:cubicBezTo>
                <a:cubicBezTo>
                  <a:pt x="3817430" y="691706"/>
                  <a:pt x="3811429" y="694468"/>
                  <a:pt x="3806762" y="698659"/>
                </a:cubicBezTo>
                <a:cubicBezTo>
                  <a:pt x="3764471" y="737330"/>
                  <a:pt x="3719227" y="756761"/>
                  <a:pt x="3657791" y="756761"/>
                </a:cubicBezTo>
                <a:cubicBezTo>
                  <a:pt x="3516154" y="756761"/>
                  <a:pt x="3402235" y="642461"/>
                  <a:pt x="3402235" y="501491"/>
                </a:cubicBezTo>
                <a:cubicBezTo>
                  <a:pt x="3402235" y="360617"/>
                  <a:pt x="3516154" y="246317"/>
                  <a:pt x="3657791" y="246317"/>
                </a:cubicBezTo>
                <a:cubicBezTo>
                  <a:pt x="3719227" y="246317"/>
                  <a:pt x="3764471" y="265843"/>
                  <a:pt x="3806762" y="304419"/>
                </a:cubicBezTo>
                <a:cubicBezTo>
                  <a:pt x="3811429" y="308705"/>
                  <a:pt x="3817430" y="311468"/>
                  <a:pt x="3824288" y="311468"/>
                </a:cubicBezTo>
                <a:cubicBezTo>
                  <a:pt x="3831146" y="311468"/>
                  <a:pt x="3837813" y="308229"/>
                  <a:pt x="3842385" y="303752"/>
                </a:cubicBezTo>
                <a:lnTo>
                  <a:pt x="3867531" y="278130"/>
                </a:lnTo>
                <a:cubicBezTo>
                  <a:pt x="3872008" y="273558"/>
                  <a:pt x="3878771" y="270415"/>
                  <a:pt x="3886581" y="270415"/>
                </a:cubicBezTo>
                <a:cubicBezTo>
                  <a:pt x="3901535" y="270510"/>
                  <a:pt x="3912965" y="282893"/>
                  <a:pt x="3912965" y="296894"/>
                </a:cubicBezTo>
                <a:close/>
                <a:moveTo>
                  <a:pt x="3773234" y="501587"/>
                </a:moveTo>
                <a:cubicBezTo>
                  <a:pt x="3773234" y="438150"/>
                  <a:pt x="3724656" y="386810"/>
                  <a:pt x="3665125" y="386810"/>
                </a:cubicBezTo>
                <a:cubicBezTo>
                  <a:pt x="3604832" y="386810"/>
                  <a:pt x="3556635" y="438150"/>
                  <a:pt x="3556635" y="501587"/>
                </a:cubicBezTo>
                <a:cubicBezTo>
                  <a:pt x="3556635" y="565118"/>
                  <a:pt x="3604927" y="616458"/>
                  <a:pt x="3665125" y="616458"/>
                </a:cubicBezTo>
                <a:cubicBezTo>
                  <a:pt x="3724751" y="616458"/>
                  <a:pt x="3773234" y="565118"/>
                  <a:pt x="3773234" y="501587"/>
                </a:cubicBezTo>
                <a:close/>
                <a:moveTo>
                  <a:pt x="3298222" y="520351"/>
                </a:moveTo>
                <a:lnTo>
                  <a:pt x="3298222" y="551688"/>
                </a:lnTo>
                <a:lnTo>
                  <a:pt x="2963227" y="551688"/>
                </a:lnTo>
                <a:cubicBezTo>
                  <a:pt x="2972657" y="619030"/>
                  <a:pt x="3024092" y="644747"/>
                  <a:pt x="3105817" y="644747"/>
                </a:cubicBezTo>
                <a:cubicBezTo>
                  <a:pt x="3151251" y="644747"/>
                  <a:pt x="3203258" y="634270"/>
                  <a:pt x="3254312" y="607314"/>
                </a:cubicBezTo>
                <a:lnTo>
                  <a:pt x="3254312" y="726091"/>
                </a:lnTo>
                <a:cubicBezTo>
                  <a:pt x="3199352" y="747808"/>
                  <a:pt x="3138297" y="756952"/>
                  <a:pt x="3075908" y="756952"/>
                </a:cubicBezTo>
                <a:cubicBezTo>
                  <a:pt x="2915698" y="756952"/>
                  <a:pt x="2793778" y="663226"/>
                  <a:pt x="2793778" y="501682"/>
                </a:cubicBezTo>
                <a:cubicBezTo>
                  <a:pt x="2793778" y="340328"/>
                  <a:pt x="2902458" y="246507"/>
                  <a:pt x="3053429" y="246507"/>
                </a:cubicBezTo>
                <a:cubicBezTo>
                  <a:pt x="3232976" y="246412"/>
                  <a:pt x="3298222" y="375285"/>
                  <a:pt x="3298222" y="520351"/>
                </a:cubicBezTo>
                <a:close/>
                <a:moveTo>
                  <a:pt x="3142869" y="435102"/>
                </a:moveTo>
                <a:cubicBezTo>
                  <a:pt x="3136868" y="388715"/>
                  <a:pt x="3109151" y="352997"/>
                  <a:pt x="3050762" y="352997"/>
                </a:cubicBezTo>
                <a:cubicBezTo>
                  <a:pt x="2997422" y="352997"/>
                  <a:pt x="2968943" y="389001"/>
                  <a:pt x="2960084" y="436055"/>
                </a:cubicBezTo>
                <a:cubicBezTo>
                  <a:pt x="2958275" y="447580"/>
                  <a:pt x="2964942" y="456343"/>
                  <a:pt x="2977229" y="456343"/>
                </a:cubicBezTo>
                <a:lnTo>
                  <a:pt x="3125534" y="456343"/>
                </a:lnTo>
                <a:cubicBezTo>
                  <a:pt x="3136487" y="456343"/>
                  <a:pt x="3144584" y="449485"/>
                  <a:pt x="3142869" y="435102"/>
                </a:cubicBezTo>
                <a:close/>
                <a:moveTo>
                  <a:pt x="4898422" y="0"/>
                </a:moveTo>
                <a:cubicBezTo>
                  <a:pt x="4777169" y="0"/>
                  <a:pt x="4662011" y="38576"/>
                  <a:pt x="4579620" y="114491"/>
                </a:cubicBezTo>
                <a:cubicBezTo>
                  <a:pt x="4570571" y="122682"/>
                  <a:pt x="4558665" y="127826"/>
                  <a:pt x="4545426" y="127826"/>
                </a:cubicBezTo>
                <a:cubicBezTo>
                  <a:pt x="4531614" y="127826"/>
                  <a:pt x="4519136" y="121920"/>
                  <a:pt x="4510088" y="113157"/>
                </a:cubicBezTo>
                <a:lnTo>
                  <a:pt x="4453890" y="57245"/>
                </a:lnTo>
                <a:cubicBezTo>
                  <a:pt x="4447699" y="51245"/>
                  <a:pt x="4439412" y="47530"/>
                  <a:pt x="4430078" y="47530"/>
                </a:cubicBezTo>
                <a:cubicBezTo>
                  <a:pt x="4411790" y="47530"/>
                  <a:pt x="4396835" y="62484"/>
                  <a:pt x="4396835" y="81248"/>
                </a:cubicBezTo>
                <a:lnTo>
                  <a:pt x="4396835" y="922020"/>
                </a:lnTo>
                <a:cubicBezTo>
                  <a:pt x="4396835" y="940689"/>
                  <a:pt x="4411790" y="955738"/>
                  <a:pt x="4430078" y="955738"/>
                </a:cubicBezTo>
                <a:cubicBezTo>
                  <a:pt x="4439317" y="955738"/>
                  <a:pt x="4447699" y="951929"/>
                  <a:pt x="4453890" y="946023"/>
                </a:cubicBezTo>
                <a:lnTo>
                  <a:pt x="4510088" y="890111"/>
                </a:lnTo>
                <a:cubicBezTo>
                  <a:pt x="4519136" y="881348"/>
                  <a:pt x="4531614" y="875443"/>
                  <a:pt x="4545426" y="875443"/>
                </a:cubicBezTo>
                <a:cubicBezTo>
                  <a:pt x="4558665" y="875443"/>
                  <a:pt x="4570571" y="880586"/>
                  <a:pt x="4579620" y="888778"/>
                </a:cubicBezTo>
                <a:cubicBezTo>
                  <a:pt x="4662107" y="964692"/>
                  <a:pt x="4777169" y="1003268"/>
                  <a:pt x="4898422" y="1003268"/>
                </a:cubicBezTo>
                <a:cubicBezTo>
                  <a:pt x="5175314" y="1003268"/>
                  <a:pt x="5399913" y="778669"/>
                  <a:pt x="5399913" y="501682"/>
                </a:cubicBezTo>
                <a:cubicBezTo>
                  <a:pt x="5399913" y="224600"/>
                  <a:pt x="5175314" y="0"/>
                  <a:pt x="4898422" y="0"/>
                </a:cubicBezTo>
                <a:close/>
                <a:moveTo>
                  <a:pt x="4882706" y="191262"/>
                </a:moveTo>
                <a:cubicBezTo>
                  <a:pt x="4957763" y="191262"/>
                  <a:pt x="5028914" y="214979"/>
                  <a:pt x="5080254" y="261938"/>
                </a:cubicBezTo>
                <a:cubicBezTo>
                  <a:pt x="5085779" y="267081"/>
                  <a:pt x="5092923" y="270224"/>
                  <a:pt x="5101019" y="270224"/>
                </a:cubicBezTo>
                <a:cubicBezTo>
                  <a:pt x="5109781" y="270224"/>
                  <a:pt x="5117497" y="266795"/>
                  <a:pt x="5123021" y="261271"/>
                </a:cubicBezTo>
                <a:lnTo>
                  <a:pt x="5157883" y="226600"/>
                </a:lnTo>
                <a:cubicBezTo>
                  <a:pt x="5161312" y="222980"/>
                  <a:pt x="5166741" y="220599"/>
                  <a:pt x="5172171" y="220599"/>
                </a:cubicBezTo>
                <a:cubicBezTo>
                  <a:pt x="5183791" y="220599"/>
                  <a:pt x="5193221" y="229934"/>
                  <a:pt x="5193221" y="241364"/>
                </a:cubicBezTo>
                <a:lnTo>
                  <a:pt x="5193221" y="761810"/>
                </a:lnTo>
                <a:cubicBezTo>
                  <a:pt x="5193221" y="773240"/>
                  <a:pt x="5183886" y="782574"/>
                  <a:pt x="5172171" y="782574"/>
                </a:cubicBezTo>
                <a:cubicBezTo>
                  <a:pt x="5166741" y="782574"/>
                  <a:pt x="5161312" y="780193"/>
                  <a:pt x="5157883" y="776573"/>
                </a:cubicBezTo>
                <a:lnTo>
                  <a:pt x="5123021" y="741902"/>
                </a:lnTo>
                <a:cubicBezTo>
                  <a:pt x="5117592" y="736378"/>
                  <a:pt x="5109877" y="732949"/>
                  <a:pt x="5101019" y="732949"/>
                </a:cubicBezTo>
                <a:cubicBezTo>
                  <a:pt x="5092923" y="732949"/>
                  <a:pt x="5085779" y="735997"/>
                  <a:pt x="5080254" y="741236"/>
                </a:cubicBezTo>
                <a:cubicBezTo>
                  <a:pt x="5028914" y="788194"/>
                  <a:pt x="4957763" y="811911"/>
                  <a:pt x="4882706" y="811911"/>
                </a:cubicBezTo>
                <a:cubicBezTo>
                  <a:pt x="4711542" y="811911"/>
                  <a:pt x="4572667" y="673132"/>
                  <a:pt x="4572667" y="501587"/>
                </a:cubicBezTo>
                <a:cubicBezTo>
                  <a:pt x="4572667" y="330041"/>
                  <a:pt x="4711542" y="191262"/>
                  <a:pt x="4882706" y="191262"/>
                </a:cubicBezTo>
                <a:close/>
                <a:moveTo>
                  <a:pt x="4890612" y="635508"/>
                </a:moveTo>
                <a:cubicBezTo>
                  <a:pt x="4960239" y="635508"/>
                  <a:pt x="5016627" y="575405"/>
                  <a:pt x="5016627" y="501682"/>
                </a:cubicBezTo>
                <a:cubicBezTo>
                  <a:pt x="5016627" y="427958"/>
                  <a:pt x="4960239" y="367856"/>
                  <a:pt x="4890612" y="367856"/>
                </a:cubicBezTo>
                <a:cubicBezTo>
                  <a:pt x="4820889" y="367856"/>
                  <a:pt x="4764786" y="427958"/>
                  <a:pt x="4764786" y="501682"/>
                </a:cubicBezTo>
                <a:cubicBezTo>
                  <a:pt x="4764786" y="575405"/>
                  <a:pt x="4820889" y="635508"/>
                  <a:pt x="4890612" y="635508"/>
                </a:cubicBezTo>
                <a:close/>
              </a:path>
            </a:pathLst>
          </a:custGeom>
          <a:solidFill>
            <a:srgbClr val="CC0000"/>
          </a:solidFill>
          <a:ln w="9525" cap="flat">
            <a:noFill/>
            <a:prstDash val="solid"/>
            <a:miter/>
          </a:ln>
        </p:spPr>
        <p:txBody>
          <a:bodyPr rtlCol="0" anchor="ctr"/>
          <a:lstStyle/>
          <a:p>
            <a:endParaRPr lang="nl-NL" sz="1866" noProof="0">
              <a:latin typeface="+mn-lt"/>
            </a:endParaRPr>
          </a:p>
        </p:txBody>
      </p:sp>
      <p:sp>
        <p:nvSpPr>
          <p:cNvPr id="7" name="Rechthoek 6">
            <a:extLst>
              <a:ext uri="{FF2B5EF4-FFF2-40B4-BE49-F238E27FC236}">
                <a16:creationId xmlns:a16="http://schemas.microsoft.com/office/drawing/2014/main" id="{A195EC66-DC64-44B6-BB19-DC4F493EF84D}"/>
              </a:ext>
            </a:extLst>
          </p:cNvPr>
          <p:cNvSpPr/>
          <p:nvPr userDrawn="1"/>
        </p:nvSpPr>
        <p:spPr>
          <a:xfrm>
            <a:off x="0" y="6265769"/>
            <a:ext cx="12192000" cy="36000"/>
          </a:xfrm>
          <a:prstGeom prst="rect">
            <a:avLst/>
          </a:prstGeom>
          <a:solidFill>
            <a:srgbClr val="427FA1"/>
          </a:solidFill>
          <a:ln>
            <a:noFill/>
          </a:ln>
        </p:spPr>
        <p:style>
          <a:lnRef idx="2">
            <a:schemeClr val="accent1">
              <a:shade val="50000"/>
            </a:schemeClr>
          </a:lnRef>
          <a:fillRef idx="1">
            <a:schemeClr val="accent1"/>
          </a:fillRef>
          <a:effectRef idx="0">
            <a:schemeClr val="accent1"/>
          </a:effectRef>
          <a:fontRef idx="minor">
            <a:schemeClr val="lt1"/>
          </a:fontRef>
        </p:style>
        <p:txBody>
          <a:bodyPr lIns="143963" tIns="143963" rIns="143963" bIns="143963" rtlCol="0" anchor="ctr"/>
          <a:lstStyle/>
          <a:p>
            <a:pPr algn="ctr"/>
            <a:endParaRPr lang="nl-NL" sz="1600" noProof="0"/>
          </a:p>
        </p:txBody>
      </p:sp>
      <p:grpSp>
        <p:nvGrpSpPr>
          <p:cNvPr id="96" name="GRID" hidden="1">
            <a:extLst>
              <a:ext uri="{FF2B5EF4-FFF2-40B4-BE49-F238E27FC236}">
                <a16:creationId xmlns:a16="http://schemas.microsoft.com/office/drawing/2014/main" id="{75B097B3-7A68-4D5C-B43B-DF33941C7F97}"/>
              </a:ext>
            </a:extLst>
          </p:cNvPr>
          <p:cNvGrpSpPr/>
          <p:nvPr userDrawn="1"/>
        </p:nvGrpSpPr>
        <p:grpSpPr>
          <a:xfrm>
            <a:off x="0" y="0"/>
            <a:ext cx="12192000" cy="6858000"/>
            <a:chOff x="0" y="0"/>
            <a:chExt cx="12192000" cy="6858000"/>
          </a:xfrm>
          <a:solidFill>
            <a:schemeClr val="tx1">
              <a:alpha val="30000"/>
            </a:schemeClr>
          </a:solidFill>
        </p:grpSpPr>
        <p:sp>
          <p:nvSpPr>
            <p:cNvPr id="97" name="Rechthoek 96">
              <a:extLst>
                <a:ext uri="{FF2B5EF4-FFF2-40B4-BE49-F238E27FC236}">
                  <a16:creationId xmlns:a16="http://schemas.microsoft.com/office/drawing/2014/main" id="{EE3D9B21-E975-43D7-8C81-95C8CDD290B5}"/>
                </a:ext>
              </a:extLst>
            </p:cNvPr>
            <p:cNvSpPr/>
            <p:nvPr userDrawn="1"/>
          </p:nvSpPr>
          <p:spPr>
            <a:xfrm>
              <a:off x="0" y="0"/>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98" name="Rechthoek 97">
              <a:extLst>
                <a:ext uri="{FF2B5EF4-FFF2-40B4-BE49-F238E27FC236}">
                  <a16:creationId xmlns:a16="http://schemas.microsoft.com/office/drawing/2014/main" id="{105DD2F5-A6F6-4D19-B89E-2F7BCA325C6F}"/>
                </a:ext>
              </a:extLst>
            </p:cNvPr>
            <p:cNvSpPr/>
            <p:nvPr userDrawn="1"/>
          </p:nvSpPr>
          <p:spPr>
            <a:xfrm>
              <a:off x="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99" name="Rechthoek 98">
              <a:extLst>
                <a:ext uri="{FF2B5EF4-FFF2-40B4-BE49-F238E27FC236}">
                  <a16:creationId xmlns:a16="http://schemas.microsoft.com/office/drawing/2014/main" id="{2AEA8E2A-9314-4431-84B8-815D27F55574}"/>
                </a:ext>
              </a:extLst>
            </p:cNvPr>
            <p:cNvSpPr/>
            <p:nvPr userDrawn="1"/>
          </p:nvSpPr>
          <p:spPr>
            <a:xfrm>
              <a:off x="11652000" y="0"/>
              <a:ext cx="54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00" name="Rechthoek 99">
              <a:extLst>
                <a:ext uri="{FF2B5EF4-FFF2-40B4-BE49-F238E27FC236}">
                  <a16:creationId xmlns:a16="http://schemas.microsoft.com/office/drawing/2014/main" id="{CDFCBDD9-389E-4547-9AAC-86E6DEAA46E7}"/>
                </a:ext>
              </a:extLst>
            </p:cNvPr>
            <p:cNvSpPr/>
            <p:nvPr userDrawn="1"/>
          </p:nvSpPr>
          <p:spPr>
            <a:xfrm>
              <a:off x="0" y="109911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01" name="Rechthoek 100">
              <a:extLst>
                <a:ext uri="{FF2B5EF4-FFF2-40B4-BE49-F238E27FC236}">
                  <a16:creationId xmlns:a16="http://schemas.microsoft.com/office/drawing/2014/main" id="{96AE3856-6B74-49F5-9845-EF4D8D887E33}"/>
                </a:ext>
              </a:extLst>
            </p:cNvPr>
            <p:cNvSpPr/>
            <p:nvPr userDrawn="1"/>
          </p:nvSpPr>
          <p:spPr>
            <a:xfrm>
              <a:off x="0" y="6678000"/>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02" name="Rechthoek 101">
              <a:extLst>
                <a:ext uri="{FF2B5EF4-FFF2-40B4-BE49-F238E27FC236}">
                  <a16:creationId xmlns:a16="http://schemas.microsoft.com/office/drawing/2014/main" id="{19E8D85C-6B8B-4402-BE42-283B5165F5DD}"/>
                </a:ext>
              </a:extLst>
            </p:cNvPr>
            <p:cNvSpPr/>
            <p:nvPr userDrawn="1"/>
          </p:nvSpPr>
          <p:spPr>
            <a:xfrm>
              <a:off x="0" y="5906871"/>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03" name="Rechthoek 102">
              <a:extLst>
                <a:ext uri="{FF2B5EF4-FFF2-40B4-BE49-F238E27FC236}">
                  <a16:creationId xmlns:a16="http://schemas.microsoft.com/office/drawing/2014/main" id="{6B31C5D1-7B62-4E2A-BDD3-C2CA5E9E2002}"/>
                </a:ext>
              </a:extLst>
            </p:cNvPr>
            <p:cNvSpPr/>
            <p:nvPr userDrawn="1"/>
          </p:nvSpPr>
          <p:spPr>
            <a:xfrm>
              <a:off x="0" y="629567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104" name="Rechthoek 103">
              <a:extLst>
                <a:ext uri="{FF2B5EF4-FFF2-40B4-BE49-F238E27FC236}">
                  <a16:creationId xmlns:a16="http://schemas.microsoft.com/office/drawing/2014/main" id="{5BFF5FB1-4524-485C-AC08-837EBEAA9764}"/>
                </a:ext>
              </a:extLst>
            </p:cNvPr>
            <p:cNvSpPr/>
            <p:nvPr userDrawn="1"/>
          </p:nvSpPr>
          <p:spPr>
            <a:xfrm>
              <a:off x="0" y="5578887"/>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45" name="Rechthoek 44">
              <a:extLst>
                <a:ext uri="{FF2B5EF4-FFF2-40B4-BE49-F238E27FC236}">
                  <a16:creationId xmlns:a16="http://schemas.microsoft.com/office/drawing/2014/main" id="{5BAE6A63-4FB0-4411-AFFC-63A8A8EF4DAE}"/>
                </a:ext>
              </a:extLst>
            </p:cNvPr>
            <p:cNvSpPr/>
            <p:nvPr userDrawn="1"/>
          </p:nvSpPr>
          <p:spPr>
            <a:xfrm>
              <a:off x="1202498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sp>
          <p:nvSpPr>
            <p:cNvPr id="46" name="Rechthoek 45">
              <a:extLst>
                <a:ext uri="{FF2B5EF4-FFF2-40B4-BE49-F238E27FC236}">
                  <a16:creationId xmlns:a16="http://schemas.microsoft.com/office/drawing/2014/main" id="{32F9B240-ED3F-49CA-B562-C067CCB5C19D}"/>
                </a:ext>
              </a:extLst>
            </p:cNvPr>
            <p:cNvSpPr/>
            <p:nvPr userDrawn="1"/>
          </p:nvSpPr>
          <p:spPr>
            <a:xfrm>
              <a:off x="0" y="0"/>
              <a:ext cx="16702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66" noProof="0"/>
            </a:p>
          </p:txBody>
        </p:sp>
      </p:grpSp>
    </p:spTree>
    <p:extLst>
      <p:ext uri="{BB962C8B-B14F-4D97-AF65-F5344CB8AC3E}">
        <p14:creationId xmlns:p14="http://schemas.microsoft.com/office/powerpoint/2010/main" val="273330656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Lst>
  <p:hf hdr="0" ftr="0" dt="0"/>
  <p:txStyles>
    <p:titleStyle>
      <a:lvl1pPr algn="l" defTabSz="914126" rtl="0" eaLnBrk="1" latinLnBrk="0" hangingPunct="1">
        <a:lnSpc>
          <a:spcPct val="80000"/>
        </a:lnSpc>
        <a:spcBef>
          <a:spcPct val="0"/>
        </a:spcBef>
        <a:buNone/>
        <a:defRPr sz="2599" b="0" kern="1200">
          <a:solidFill>
            <a:schemeClr val="tx1"/>
          </a:solidFill>
          <a:latin typeface="+mn-lt"/>
          <a:ea typeface="+mj-ea"/>
          <a:cs typeface="+mj-cs"/>
        </a:defRPr>
      </a:lvl1pPr>
    </p:titleStyle>
    <p:bodyStyle>
      <a:lvl1pPr marL="177747" indent="-177747" algn="l" defTabSz="914126" rtl="0" eaLnBrk="1" latinLnBrk="0" hangingPunct="1">
        <a:lnSpc>
          <a:spcPct val="100000"/>
        </a:lnSpc>
        <a:spcBef>
          <a:spcPts val="300"/>
        </a:spcBef>
        <a:spcAft>
          <a:spcPts val="300"/>
        </a:spcAft>
        <a:buClr>
          <a:schemeClr val="accent1"/>
        </a:buClr>
        <a:buFont typeface="Wingdings" panose="05000000000000000000" pitchFamily="2" charset="2"/>
        <a:buChar char="§"/>
        <a:defRPr sz="1500" kern="1200">
          <a:solidFill>
            <a:schemeClr val="tx1"/>
          </a:solidFill>
          <a:latin typeface="+mn-lt"/>
          <a:ea typeface="+mn-ea"/>
          <a:cs typeface="+mn-cs"/>
        </a:defRPr>
      </a:lvl1pPr>
      <a:lvl2pPr marL="355493" indent="-177747" algn="l" defTabSz="914126" rtl="0" eaLnBrk="1" latinLnBrk="0" hangingPunct="1">
        <a:lnSpc>
          <a:spcPct val="100000"/>
        </a:lnSpc>
        <a:spcBef>
          <a:spcPts val="300"/>
        </a:spcBef>
        <a:spcAft>
          <a:spcPts val="300"/>
        </a:spcAft>
        <a:buClr>
          <a:schemeClr val="accent1"/>
        </a:buClr>
        <a:buFont typeface="Wingdings" panose="05000000000000000000" pitchFamily="2" charset="2"/>
        <a:buChar char="§"/>
        <a:tabLst/>
        <a:defRPr sz="1500" kern="1200">
          <a:solidFill>
            <a:schemeClr val="tx1"/>
          </a:solidFill>
          <a:latin typeface="+mn-lt"/>
          <a:ea typeface="+mn-ea"/>
          <a:cs typeface="+mn-cs"/>
        </a:defRPr>
      </a:lvl2pPr>
      <a:lvl3pPr marL="531653" indent="-176160" algn="l" defTabSz="914126" rtl="0" eaLnBrk="1" latinLnBrk="0" hangingPunct="1">
        <a:lnSpc>
          <a:spcPct val="100000"/>
        </a:lnSpc>
        <a:spcBef>
          <a:spcPts val="300"/>
        </a:spcBef>
        <a:spcAft>
          <a:spcPts val="300"/>
        </a:spcAft>
        <a:buClr>
          <a:schemeClr val="tx1"/>
        </a:buClr>
        <a:buFont typeface="Corbel" panose="020B0503020204020204" pitchFamily="34" charset="0"/>
        <a:buChar char="–"/>
        <a:defRPr sz="1500" kern="1200">
          <a:solidFill>
            <a:schemeClr val="tx1"/>
          </a:solidFill>
          <a:latin typeface="+mn-lt"/>
          <a:ea typeface="+mn-ea"/>
          <a:cs typeface="+mn-cs"/>
        </a:defRPr>
      </a:lvl3pPr>
      <a:lvl4pPr marL="0" indent="0" algn="l" defTabSz="914126" rtl="0" eaLnBrk="1" latinLnBrk="0" hangingPunct="1">
        <a:lnSpc>
          <a:spcPct val="100000"/>
        </a:lnSpc>
        <a:spcBef>
          <a:spcPts val="300"/>
        </a:spcBef>
        <a:spcAft>
          <a:spcPts val="300"/>
        </a:spcAft>
        <a:buFont typeface="Arial" panose="020B0604020202020204" pitchFamily="34" charset="0"/>
        <a:buNone/>
        <a:defRPr sz="1500" kern="1200">
          <a:solidFill>
            <a:schemeClr val="tx1"/>
          </a:solidFill>
          <a:latin typeface="+mn-lt"/>
          <a:ea typeface="+mn-ea"/>
          <a:cs typeface="+mn-cs"/>
        </a:defRPr>
      </a:lvl4pPr>
      <a:lvl5pPr marL="0" indent="0" algn="l" defTabSz="914126" rtl="0" eaLnBrk="1" latinLnBrk="0" hangingPunct="1">
        <a:lnSpc>
          <a:spcPct val="100000"/>
        </a:lnSpc>
        <a:spcBef>
          <a:spcPts val="600"/>
        </a:spcBef>
        <a:spcAft>
          <a:spcPts val="300"/>
        </a:spcAft>
        <a:buFont typeface="Arial" panose="020B0604020202020204" pitchFamily="34" charset="0"/>
        <a:buNone/>
        <a:defRPr sz="1600" b="1" kern="1200" cap="none" baseline="0">
          <a:solidFill>
            <a:schemeClr val="accent1"/>
          </a:solidFill>
          <a:latin typeface="+mj-lt"/>
          <a:ea typeface="+mn-ea"/>
          <a:cs typeface="+mn-cs"/>
        </a:defRPr>
      </a:lvl5pPr>
      <a:lvl6pPr marL="265033" indent="-265033" algn="l" defTabSz="914126" rtl="0" eaLnBrk="1" latinLnBrk="0" hangingPunct="1">
        <a:lnSpc>
          <a:spcPct val="100000"/>
        </a:lnSpc>
        <a:spcBef>
          <a:spcPts val="300"/>
        </a:spcBef>
        <a:spcAft>
          <a:spcPts val="300"/>
        </a:spcAft>
        <a:buClr>
          <a:schemeClr val="tx1"/>
        </a:buClr>
        <a:buSzPct val="85000"/>
        <a:buFont typeface="+mj-lt"/>
        <a:buAutoNum type="arabicPeriod"/>
        <a:defRPr sz="1500" kern="1200">
          <a:solidFill>
            <a:schemeClr val="tx1"/>
          </a:solidFill>
          <a:latin typeface="+mn-lt"/>
          <a:ea typeface="+mn-ea"/>
          <a:cs typeface="+mn-cs"/>
        </a:defRPr>
      </a:lvl6pPr>
      <a:lvl7pPr marL="265033" indent="-265033" algn="l" defTabSz="914126" rtl="0" eaLnBrk="1" latinLnBrk="0" hangingPunct="1">
        <a:lnSpc>
          <a:spcPct val="100000"/>
        </a:lnSpc>
        <a:spcBef>
          <a:spcPts val="300"/>
        </a:spcBef>
        <a:spcAft>
          <a:spcPts val="300"/>
        </a:spcAft>
        <a:buClr>
          <a:schemeClr val="tx1"/>
        </a:buClr>
        <a:buSzPct val="85000"/>
        <a:buFont typeface="+mj-lt"/>
        <a:buAutoNum type="alphaLcPeriod"/>
        <a:tabLst/>
        <a:defRPr sz="1500" kern="1200">
          <a:solidFill>
            <a:schemeClr val="tx1"/>
          </a:solidFill>
          <a:latin typeface="+mn-lt"/>
          <a:ea typeface="+mn-ea"/>
          <a:cs typeface="+mn-cs"/>
        </a:defRPr>
      </a:lvl7pPr>
      <a:lvl8pPr marL="0" indent="0" algn="l" defTabSz="914126" rtl="0" eaLnBrk="1" latinLnBrk="0" hangingPunct="1">
        <a:lnSpc>
          <a:spcPct val="100000"/>
        </a:lnSpc>
        <a:spcBef>
          <a:spcPts val="300"/>
        </a:spcBef>
        <a:spcAft>
          <a:spcPts val="300"/>
        </a:spcAft>
        <a:buClr>
          <a:schemeClr val="accent3"/>
        </a:buClr>
        <a:buFont typeface="Arial" panose="020B0604020202020204" pitchFamily="34" charset="0"/>
        <a:buNone/>
        <a:defRPr sz="1000" i="1" kern="1200">
          <a:solidFill>
            <a:schemeClr val="tx1"/>
          </a:solidFill>
          <a:latin typeface="+mn-lt"/>
          <a:ea typeface="+mn-ea"/>
          <a:cs typeface="+mn-cs"/>
        </a:defRPr>
      </a:lvl8pPr>
      <a:lvl9pPr marL="0" indent="0" algn="l" defTabSz="914126" rtl="0" eaLnBrk="1" latinLnBrk="0" hangingPunct="1">
        <a:lnSpc>
          <a:spcPct val="100000"/>
        </a:lnSpc>
        <a:spcBef>
          <a:spcPts val="600"/>
        </a:spcBef>
        <a:spcAft>
          <a:spcPts val="300"/>
        </a:spcAft>
        <a:buFont typeface="Arial" panose="020B0604020202020204" pitchFamily="34" charset="0"/>
        <a:buNone/>
        <a:defRPr sz="1999" i="1" kern="1200">
          <a:solidFill>
            <a:schemeClr val="tx1"/>
          </a:solidFill>
          <a:latin typeface="+mn-lt"/>
          <a:ea typeface="+mn-ea"/>
          <a:cs typeface="+mn-cs"/>
        </a:defRPr>
      </a:lvl9pPr>
    </p:bodyStyle>
    <p:otherStyle>
      <a:defPPr>
        <a:defRPr lang="nl-NL"/>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7.xml"/><Relationship Id="rId7" Type="http://schemas.openxmlformats.org/officeDocument/2006/relationships/image" Target="../media/image2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4.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hyperlink" Target="https://learn.microsoft.com/en-us/purview/information-protection#know-your-data" TargetMode="External"/><Relationship Id="rId1" Type="http://schemas.openxmlformats.org/officeDocument/2006/relationships/slideLayout" Target="../slideLayouts/slideLayout127.xml"/></Relationships>
</file>

<file path=ppt/slides/_rels/slide11.xml.rels><?xml version="1.0" encoding="UTF-8" standalone="yes"?>
<Relationships xmlns="http://schemas.openxmlformats.org/package/2006/relationships"><Relationship Id="rId2" Type="http://schemas.openxmlformats.org/officeDocument/2006/relationships/hyperlink" Target="https://learn.microsoft.com/en-us/purview/information-protection#protect-your-data" TargetMode="External"/><Relationship Id="rId1" Type="http://schemas.openxmlformats.org/officeDocument/2006/relationships/slideLayout" Target="../slideLayouts/slideLayout1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learn.microsoft.com/en-us/purview/manage-data-governance" TargetMode="External"/><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2.xml"/><Relationship Id="rId7" Type="http://schemas.openxmlformats.org/officeDocument/2006/relationships/image" Target="../media/image27.png"/><Relationship Id="rId2" Type="http://schemas.openxmlformats.org/officeDocument/2006/relationships/slideLayout" Target="../slideLayouts/slideLayout128.xml"/><Relationship Id="rId1" Type="http://schemas.openxmlformats.org/officeDocument/2006/relationships/tags" Target="../tags/tag9.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3.emf"/><Relationship Id="rId10" Type="http://schemas.openxmlformats.org/officeDocument/2006/relationships/image" Target="../media/image30.png"/><Relationship Id="rId4" Type="http://schemas.openxmlformats.org/officeDocument/2006/relationships/oleObject" Target="../embeddings/oleObject7.bin"/><Relationship Id="rId9" Type="http://schemas.openxmlformats.org/officeDocument/2006/relationships/image" Target="../media/image29.jpe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05248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hoek 3"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l-NL" sz="4400" b="1">
              <a:latin typeface="Calibri" panose="020F0502020204030204" pitchFamily="34" charset="0"/>
              <a:ea typeface="+mj-ea"/>
              <a:cs typeface="+mj-cs"/>
              <a:sym typeface="Calibri" panose="020F0502020204030204" pitchFamily="34" charset="0"/>
            </a:endParaRPr>
          </a:p>
        </p:txBody>
      </p:sp>
      <p:pic>
        <p:nvPicPr>
          <p:cNvPr id="8" name="Afbeelding 7"/>
          <p:cNvPicPr>
            <a:picLocks noChangeAspect="1"/>
          </p:cNvPicPr>
          <p:nvPr/>
        </p:nvPicPr>
        <p:blipFill rotWithShape="1">
          <a:blip r:embed="rId7"/>
          <a:srcRect r="9619"/>
          <a:stretch/>
        </p:blipFill>
        <p:spPr>
          <a:xfrm>
            <a:off x="1318663" y="61562"/>
            <a:ext cx="10823510" cy="6734876"/>
          </a:xfrm>
          <a:prstGeom prst="rect">
            <a:avLst/>
          </a:prstGeom>
        </p:spPr>
      </p:pic>
      <p:sp>
        <p:nvSpPr>
          <p:cNvPr id="2" name="Titel 1"/>
          <p:cNvSpPr>
            <a:spLocks noGrp="1"/>
          </p:cNvSpPr>
          <p:nvPr>
            <p:ph type="ctrTitle"/>
          </p:nvPr>
        </p:nvSpPr>
        <p:spPr/>
        <p:txBody>
          <a:bodyPr vert="horz"/>
          <a:lstStyle/>
          <a:p>
            <a:br>
              <a:rPr lang="nl-NL" sz="3200"/>
            </a:br>
            <a:br>
              <a:rPr lang="nl-NL" sz="3200"/>
            </a:br>
            <a:r>
              <a:rPr lang="nl-NL" sz="3200"/>
              <a:t>Plan van aanpak </a:t>
            </a:r>
            <a:br>
              <a:rPr lang="nl-NL" sz="3200"/>
            </a:br>
            <a:r>
              <a:rPr lang="nl-NL" sz="3200"/>
              <a:t>Grip op Ongestructureerde data </a:t>
            </a:r>
            <a:br>
              <a:rPr lang="nl-NL" sz="3200"/>
            </a:br>
            <a:r>
              <a:rPr lang="nl-NL" sz="3200"/>
              <a:t>Achmea</a:t>
            </a:r>
          </a:p>
        </p:txBody>
      </p:sp>
      <p:sp>
        <p:nvSpPr>
          <p:cNvPr id="3" name="Ondertitel 2"/>
          <p:cNvSpPr>
            <a:spLocks noGrp="1"/>
          </p:cNvSpPr>
          <p:nvPr>
            <p:ph type="subTitle" idx="1"/>
          </p:nvPr>
        </p:nvSpPr>
        <p:spPr/>
        <p:txBody>
          <a:bodyPr>
            <a:normAutofit lnSpcReduction="10000"/>
          </a:bodyPr>
          <a:lstStyle/>
          <a:p>
            <a:endParaRPr lang="nl-NL" sz="1800"/>
          </a:p>
          <a:p>
            <a:endParaRPr lang="nl-NL" sz="1800"/>
          </a:p>
          <a:p>
            <a:endParaRPr lang="nl-NL" sz="1800"/>
          </a:p>
          <a:p>
            <a:r>
              <a:rPr lang="nl-NL" sz="1800"/>
              <a:t>Oktober 2023</a:t>
            </a:r>
          </a:p>
          <a:p>
            <a:r>
              <a:rPr lang="nl-NL" sz="1600"/>
              <a:t>Bert Munniks, Ron Kuipers</a:t>
            </a:r>
          </a:p>
          <a:p>
            <a:r>
              <a:rPr lang="nl-NL" sz="1600"/>
              <a:t>Stephan Smits, Michiel Hammer</a:t>
            </a:r>
          </a:p>
        </p:txBody>
      </p:sp>
      <p:sp>
        <p:nvSpPr>
          <p:cNvPr id="11" name="Vrije vorm 17"/>
          <p:cNvSpPr/>
          <p:nvPr/>
        </p:nvSpPr>
        <p:spPr bwMode="gray">
          <a:xfrm>
            <a:off x="-49827" y="-8760"/>
            <a:ext cx="12192000" cy="6858000"/>
          </a:xfrm>
          <a:custGeom>
            <a:avLst/>
            <a:gdLst>
              <a:gd name="connsiteX0" fmla="*/ 323174 w 9144000"/>
              <a:gd name="connsiteY0" fmla="*/ 188913 h 6858000"/>
              <a:gd name="connsiteX1" fmla="*/ 179388 w 9144000"/>
              <a:gd name="connsiteY1" fmla="*/ 332699 h 6858000"/>
              <a:gd name="connsiteX2" fmla="*/ 179388 w 9144000"/>
              <a:gd name="connsiteY2" fmla="*/ 6548327 h 6858000"/>
              <a:gd name="connsiteX3" fmla="*/ 323174 w 9144000"/>
              <a:gd name="connsiteY3" fmla="*/ 6692113 h 6858000"/>
              <a:gd name="connsiteX4" fmla="*/ 8798602 w 9144000"/>
              <a:gd name="connsiteY4" fmla="*/ 6692113 h 6858000"/>
              <a:gd name="connsiteX5" fmla="*/ 8942388 w 9144000"/>
              <a:gd name="connsiteY5" fmla="*/ 6548327 h 6858000"/>
              <a:gd name="connsiteX6" fmla="*/ 8942388 w 9144000"/>
              <a:gd name="connsiteY6" fmla="*/ 332699 h 6858000"/>
              <a:gd name="connsiteX7" fmla="*/ 8798602 w 9144000"/>
              <a:gd name="connsiteY7" fmla="*/ 188913 h 6858000"/>
              <a:gd name="connsiteX8" fmla="*/ 0 w 9144000"/>
              <a:gd name="connsiteY8" fmla="*/ 0 h 6858000"/>
              <a:gd name="connsiteX9" fmla="*/ 9144000 w 9144000"/>
              <a:gd name="connsiteY9" fmla="*/ 0 h 6858000"/>
              <a:gd name="connsiteX10" fmla="*/ 9144000 w 9144000"/>
              <a:gd name="connsiteY10" fmla="*/ 6858000 h 6858000"/>
              <a:gd name="connsiteX11" fmla="*/ 0 w 9144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6858000">
                <a:moveTo>
                  <a:pt x="323174" y="188913"/>
                </a:moveTo>
                <a:cubicBezTo>
                  <a:pt x="243763" y="188913"/>
                  <a:pt x="179388" y="253288"/>
                  <a:pt x="179388" y="332699"/>
                </a:cubicBezTo>
                <a:lnTo>
                  <a:pt x="179388" y="6548327"/>
                </a:lnTo>
                <a:cubicBezTo>
                  <a:pt x="179388" y="6627738"/>
                  <a:pt x="243763" y="6692113"/>
                  <a:pt x="323174" y="6692113"/>
                </a:cubicBezTo>
                <a:lnTo>
                  <a:pt x="8798602" y="6692113"/>
                </a:lnTo>
                <a:cubicBezTo>
                  <a:pt x="8878013" y="6692113"/>
                  <a:pt x="8942388" y="6627738"/>
                  <a:pt x="8942388" y="6548327"/>
                </a:cubicBezTo>
                <a:lnTo>
                  <a:pt x="8942388" y="332699"/>
                </a:lnTo>
                <a:cubicBezTo>
                  <a:pt x="8942388" y="253288"/>
                  <a:pt x="8878013" y="188913"/>
                  <a:pt x="8798602" y="188913"/>
                </a:cubicBezTo>
                <a:close/>
                <a:moveTo>
                  <a:pt x="0" y="0"/>
                </a:moveTo>
                <a:lnTo>
                  <a:pt x="9144000" y="0"/>
                </a:lnTo>
                <a:lnTo>
                  <a:pt x="9144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pic>
        <p:nvPicPr>
          <p:cNvPr id="14" name="Afbeelding 13"/>
          <p:cNvPicPr>
            <a:picLocks noChangeAspect="1"/>
          </p:cNvPicPr>
          <p:nvPr/>
        </p:nvPicPr>
        <p:blipFill>
          <a:blip r:embed="rId8"/>
          <a:stretch>
            <a:fillRect/>
          </a:stretch>
        </p:blipFill>
        <p:spPr>
          <a:xfrm>
            <a:off x="10624654" y="6391182"/>
            <a:ext cx="1018287" cy="216000"/>
          </a:xfrm>
          <a:prstGeom prst="rect">
            <a:avLst/>
          </a:prstGeom>
        </p:spPr>
      </p:pic>
      <p:sp>
        <p:nvSpPr>
          <p:cNvPr id="6" name="Tijdelijke aanduiding voor tekst 5">
            <a:extLst>
              <a:ext uri="{FF2B5EF4-FFF2-40B4-BE49-F238E27FC236}">
                <a16:creationId xmlns:a16="http://schemas.microsoft.com/office/drawing/2014/main" id="{840D3C73-F71F-977D-AB2E-7C0EFB15D574}"/>
              </a:ext>
            </a:extLst>
          </p:cNvPr>
          <p:cNvSpPr>
            <a:spLocks noGrp="1"/>
          </p:cNvSpPr>
          <p:nvPr>
            <p:ph type="body" sz="quarter" idx="16"/>
          </p:nvPr>
        </p:nvSpPr>
        <p:spPr/>
        <p:txBody>
          <a:bodyPr/>
          <a:lstStyle/>
          <a:p>
            <a:r>
              <a:rPr lang="nl-NL"/>
              <a:t>Vertrouwelijk</a:t>
            </a:r>
          </a:p>
        </p:txBody>
      </p:sp>
    </p:spTree>
    <p:extLst>
      <p:ext uri="{BB962C8B-B14F-4D97-AF65-F5344CB8AC3E}">
        <p14:creationId xmlns:p14="http://schemas.microsoft.com/office/powerpoint/2010/main" val="3481966118"/>
      </p:ext>
    </p:extLst>
  </p:cSld>
  <p:clrMapOvr>
    <a:masterClrMapping/>
  </p:clrMapOvr>
  <mc:AlternateContent xmlns:mc="http://schemas.openxmlformats.org/markup-compatibility/2006">
    <mc:Choice xmlns:p14="http://schemas.microsoft.com/office/powerpoint/2010/main" Requires="p14">
      <p:transition p14:dur="400">
        <p:wipe dir="r"/>
      </p:transition>
    </mc:Choice>
    <mc:Fallback>
      <p:transition>
        <p:wipe dir="r"/>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64348-3E84-F62C-B8B9-6A6BFC4C7BD7}"/>
              </a:ext>
            </a:extLst>
          </p:cNvPr>
          <p:cNvSpPr>
            <a:spLocks noGrp="1"/>
          </p:cNvSpPr>
          <p:nvPr>
            <p:ph type="title"/>
          </p:nvPr>
        </p:nvSpPr>
        <p:spPr>
          <a:xfrm>
            <a:off x="621167" y="194306"/>
            <a:ext cx="8349916" cy="327975"/>
          </a:xfrm>
        </p:spPr>
        <p:txBody>
          <a:bodyPr/>
          <a:lstStyle/>
          <a:p>
            <a:r>
              <a:rPr lang="en-US" sz="2550" b="1">
                <a:solidFill>
                  <a:schemeClr val="accent3"/>
                </a:solidFill>
                <a:cs typeface="Arial"/>
              </a:rPr>
              <a:t>Know your Data</a:t>
            </a:r>
            <a:endParaRPr lang="nl-NL" sz="2550" b="1">
              <a:solidFill>
                <a:schemeClr val="accent3"/>
              </a:solidFill>
              <a:cs typeface="Arial"/>
            </a:endParaRPr>
          </a:p>
        </p:txBody>
      </p:sp>
      <p:sp>
        <p:nvSpPr>
          <p:cNvPr id="6" name="Footer Placeholder 5">
            <a:extLst>
              <a:ext uri="{FF2B5EF4-FFF2-40B4-BE49-F238E27FC236}">
                <a16:creationId xmlns:a16="http://schemas.microsoft.com/office/drawing/2014/main" id="{9BF3028B-032D-40B9-9DDB-805EEFC69ACD}"/>
              </a:ext>
            </a:extLst>
          </p:cNvPr>
          <p:cNvSpPr>
            <a:spLocks noGrp="1"/>
          </p:cNvSpPr>
          <p:nvPr>
            <p:ph type="ftr" sz="quarter" idx="3"/>
          </p:nvPr>
        </p:nvSpPr>
        <p:spPr/>
        <p:txBody>
          <a:bodyPr/>
          <a:lstStyle/>
          <a:p>
            <a:endParaRPr lang="en-US">
              <a:solidFill>
                <a:srgbClr val="818181"/>
              </a:solidFill>
            </a:endParaRPr>
          </a:p>
        </p:txBody>
      </p:sp>
      <p:sp>
        <p:nvSpPr>
          <p:cNvPr id="7" name="Slide Number Placeholder 6">
            <a:extLst>
              <a:ext uri="{FF2B5EF4-FFF2-40B4-BE49-F238E27FC236}">
                <a16:creationId xmlns:a16="http://schemas.microsoft.com/office/drawing/2014/main" id="{E85C57A4-6D56-BE48-9ECD-E7AF6EE47661}"/>
              </a:ext>
            </a:extLst>
          </p:cNvPr>
          <p:cNvSpPr>
            <a:spLocks noGrp="1"/>
          </p:cNvSpPr>
          <p:nvPr>
            <p:ph type="sldNum" sz="quarter" idx="4"/>
          </p:nvPr>
        </p:nvSpPr>
        <p:spPr/>
        <p:txBody>
          <a:bodyPr/>
          <a:lstStyle/>
          <a:p>
            <a:fld id="{8A87A398-2B52-41CE-AD18-FB681F1DBEA6}" type="slidenum">
              <a:rPr lang="en-US" smtClean="0">
                <a:solidFill>
                  <a:srgbClr val="818181"/>
                </a:solidFill>
              </a:rPr>
              <a:pPr/>
              <a:t>10</a:t>
            </a:fld>
            <a:endParaRPr lang="en-US">
              <a:solidFill>
                <a:srgbClr val="818181"/>
              </a:solidFill>
            </a:endParaRPr>
          </a:p>
        </p:txBody>
      </p:sp>
      <p:sp>
        <p:nvSpPr>
          <p:cNvPr id="8" name="Flowchart: Connector 7">
            <a:extLst>
              <a:ext uri="{FF2B5EF4-FFF2-40B4-BE49-F238E27FC236}">
                <a16:creationId xmlns:a16="http://schemas.microsoft.com/office/drawing/2014/main" id="{3526ACB5-3455-9327-52B1-985CCA79450C}"/>
              </a:ext>
            </a:extLst>
          </p:cNvPr>
          <p:cNvSpPr/>
          <p:nvPr/>
        </p:nvSpPr>
        <p:spPr>
          <a:xfrm>
            <a:off x="4679191" y="2039814"/>
            <a:ext cx="2180484" cy="2234872"/>
          </a:xfrm>
          <a:prstGeom prst="flowChartConnector">
            <a:avLst/>
          </a:prstGeom>
          <a:solidFill>
            <a:srgbClr val="00B0F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hlinkClick r:id="rId2">
                  <a:extLst>
                    <a:ext uri="{A12FA001-AC4F-418D-AE19-62706E023703}">
                      <ahyp:hlinkClr xmlns:ahyp="http://schemas.microsoft.com/office/drawing/2018/hyperlinkcolor" val="tx"/>
                    </a:ext>
                  </a:extLst>
                </a:hlinkClick>
              </a:rPr>
              <a:t>KNOW YOUR DATA</a:t>
            </a:r>
            <a:endParaRPr lang="nl-NL">
              <a:solidFill>
                <a:schemeClr val="bg1"/>
              </a:solidFill>
            </a:endParaRPr>
          </a:p>
        </p:txBody>
      </p:sp>
      <p:sp>
        <p:nvSpPr>
          <p:cNvPr id="9" name="Flowchart: Alternate Process 8">
            <a:extLst>
              <a:ext uri="{FF2B5EF4-FFF2-40B4-BE49-F238E27FC236}">
                <a16:creationId xmlns:a16="http://schemas.microsoft.com/office/drawing/2014/main" id="{AA3601C4-B491-0940-27D6-4A780FC32DD2}"/>
              </a:ext>
            </a:extLst>
          </p:cNvPr>
          <p:cNvSpPr/>
          <p:nvPr/>
        </p:nvSpPr>
        <p:spPr>
          <a:xfrm>
            <a:off x="1994554" y="1727064"/>
            <a:ext cx="2121948" cy="733254"/>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nsitive Information Types</a:t>
            </a:r>
            <a:endParaRPr lang="nl-NL"/>
          </a:p>
        </p:txBody>
      </p:sp>
      <p:sp>
        <p:nvSpPr>
          <p:cNvPr id="10" name="Flowchart: Alternate Process 9">
            <a:extLst>
              <a:ext uri="{FF2B5EF4-FFF2-40B4-BE49-F238E27FC236}">
                <a16:creationId xmlns:a16="http://schemas.microsoft.com/office/drawing/2014/main" id="{DDB1CD5F-B0F5-B180-705E-1D5F216293FB}"/>
              </a:ext>
            </a:extLst>
          </p:cNvPr>
          <p:cNvSpPr/>
          <p:nvPr/>
        </p:nvSpPr>
        <p:spPr>
          <a:xfrm>
            <a:off x="7522778" y="1827551"/>
            <a:ext cx="1856891"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rainable Classifiers</a:t>
            </a:r>
            <a:endParaRPr lang="nl-NL"/>
          </a:p>
        </p:txBody>
      </p:sp>
      <p:sp>
        <p:nvSpPr>
          <p:cNvPr id="11" name="Flowchart: Alternate Process 10">
            <a:extLst>
              <a:ext uri="{FF2B5EF4-FFF2-40B4-BE49-F238E27FC236}">
                <a16:creationId xmlns:a16="http://schemas.microsoft.com/office/drawing/2014/main" id="{54B59BD4-DCCC-E5F9-F247-CE306CBA5DFD}"/>
              </a:ext>
            </a:extLst>
          </p:cNvPr>
          <p:cNvSpPr/>
          <p:nvPr/>
        </p:nvSpPr>
        <p:spPr>
          <a:xfrm>
            <a:off x="4895219" y="5151234"/>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ata classification</a:t>
            </a:r>
            <a:endParaRPr lang="nl-NL"/>
          </a:p>
        </p:txBody>
      </p:sp>
      <p:cxnSp>
        <p:nvCxnSpPr>
          <p:cNvPr id="17" name="Straight Arrow Connector 16">
            <a:extLst>
              <a:ext uri="{FF2B5EF4-FFF2-40B4-BE49-F238E27FC236}">
                <a16:creationId xmlns:a16="http://schemas.microsoft.com/office/drawing/2014/main" id="{2E89237F-DD01-8EB6-FA6A-C44B6E780338}"/>
              </a:ext>
            </a:extLst>
          </p:cNvPr>
          <p:cNvCxnSpPr>
            <a:cxnSpLocks/>
            <a:endCxn id="11" idx="0"/>
          </p:cNvCxnSpPr>
          <p:nvPr/>
        </p:nvCxnSpPr>
        <p:spPr>
          <a:xfrm>
            <a:off x="5790417" y="4371033"/>
            <a:ext cx="0" cy="7802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Speech Bubble: Rectangle 20">
            <a:extLst>
              <a:ext uri="{FF2B5EF4-FFF2-40B4-BE49-F238E27FC236}">
                <a16:creationId xmlns:a16="http://schemas.microsoft.com/office/drawing/2014/main" id="{2BA448D9-C79D-B5EF-D7FF-AF45B951DAF0}"/>
              </a:ext>
            </a:extLst>
          </p:cNvPr>
          <p:cNvSpPr/>
          <p:nvPr/>
        </p:nvSpPr>
        <p:spPr>
          <a:xfrm>
            <a:off x="2920721" y="956913"/>
            <a:ext cx="3764895" cy="600583"/>
          </a:xfrm>
          <a:prstGeom prst="wedgeRectCallout">
            <a:avLst>
              <a:gd name="adj1" fmla="val -48537"/>
              <a:gd name="adj2" fmla="val 77558"/>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bg1">
                    <a:lumMod val="95000"/>
                  </a:schemeClr>
                </a:solidFill>
              </a:rPr>
              <a:t>Identifies sensitive data by using built-in or custom regular expressions or a function. Corroborative evidence includes keywords, confidence levels, and proximity. </a:t>
            </a:r>
            <a:endParaRPr lang="nl-NL" sz="1100">
              <a:solidFill>
                <a:schemeClr val="bg1">
                  <a:lumMod val="95000"/>
                </a:schemeClr>
              </a:solidFill>
            </a:endParaRPr>
          </a:p>
        </p:txBody>
      </p:sp>
      <p:sp>
        <p:nvSpPr>
          <p:cNvPr id="22" name="Speech Bubble: Rectangle 21">
            <a:extLst>
              <a:ext uri="{FF2B5EF4-FFF2-40B4-BE49-F238E27FC236}">
                <a16:creationId xmlns:a16="http://schemas.microsoft.com/office/drawing/2014/main" id="{19D5534E-6F39-2915-2EA5-8336B82533FC}"/>
              </a:ext>
            </a:extLst>
          </p:cNvPr>
          <p:cNvSpPr/>
          <p:nvPr/>
        </p:nvSpPr>
        <p:spPr>
          <a:xfrm>
            <a:off x="7602414" y="3687745"/>
            <a:ext cx="2647740" cy="984740"/>
          </a:xfrm>
          <a:prstGeom prst="wedgeRectCallout">
            <a:avLst>
              <a:gd name="adj1" fmla="val 39"/>
              <a:gd name="adj2" fmla="val -169223"/>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bg1">
                    <a:lumMod val="95000"/>
                  </a:schemeClr>
                </a:solidFill>
              </a:rPr>
              <a:t>Identifies sensitive data by using examples of the data you're interested in rather than identifying elements in the item (pattern matching). Use built-in classifiers or train a classifier with your own content.</a:t>
            </a:r>
            <a:endParaRPr lang="nl-NL" sz="1100">
              <a:solidFill>
                <a:schemeClr val="bg1">
                  <a:lumMod val="95000"/>
                </a:schemeClr>
              </a:solidFill>
            </a:endParaRPr>
          </a:p>
        </p:txBody>
      </p:sp>
      <p:sp>
        <p:nvSpPr>
          <p:cNvPr id="23" name="Speech Bubble: Rectangle 22">
            <a:extLst>
              <a:ext uri="{FF2B5EF4-FFF2-40B4-BE49-F238E27FC236}">
                <a16:creationId xmlns:a16="http://schemas.microsoft.com/office/drawing/2014/main" id="{CC8F402B-7B20-31C8-F86C-EAEC246E4762}"/>
              </a:ext>
            </a:extLst>
          </p:cNvPr>
          <p:cNvSpPr/>
          <p:nvPr/>
        </p:nvSpPr>
        <p:spPr>
          <a:xfrm>
            <a:off x="1825451" y="4558893"/>
            <a:ext cx="2719722" cy="1024043"/>
          </a:xfrm>
          <a:prstGeom prst="wedgeRectCallout">
            <a:avLst>
              <a:gd name="adj1" fmla="val 61292"/>
              <a:gd name="adj2" fmla="val 34071"/>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bg1">
                    <a:lumMod val="95000"/>
                  </a:schemeClr>
                </a:solidFill>
              </a:rPr>
              <a:t>A graphical identification of items in an organization that have a sensitivity label, a retention label, or have been classified. Can also be used to gain insights into the actions that users are taking on these items</a:t>
            </a:r>
            <a:endParaRPr lang="nl-NL" sz="1100">
              <a:solidFill>
                <a:schemeClr val="bg1">
                  <a:lumMod val="95000"/>
                </a:schemeClr>
              </a:solidFill>
            </a:endParaRPr>
          </a:p>
        </p:txBody>
      </p:sp>
      <p:cxnSp>
        <p:nvCxnSpPr>
          <p:cNvPr id="24" name="Straight Arrow Connector 23">
            <a:extLst>
              <a:ext uri="{FF2B5EF4-FFF2-40B4-BE49-F238E27FC236}">
                <a16:creationId xmlns:a16="http://schemas.microsoft.com/office/drawing/2014/main" id="{370B22F6-FE97-2A52-B430-AD7D44F38817}"/>
              </a:ext>
            </a:extLst>
          </p:cNvPr>
          <p:cNvCxnSpPr>
            <a:cxnSpLocks/>
          </p:cNvCxnSpPr>
          <p:nvPr/>
        </p:nvCxnSpPr>
        <p:spPr>
          <a:xfrm flipH="1" flipV="1">
            <a:off x="3493477" y="2460598"/>
            <a:ext cx="1051696" cy="64406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C5888A4-96BE-3390-DF17-694192B7FE05}"/>
              </a:ext>
            </a:extLst>
          </p:cNvPr>
          <p:cNvCxnSpPr>
            <a:cxnSpLocks/>
          </p:cNvCxnSpPr>
          <p:nvPr/>
        </p:nvCxnSpPr>
        <p:spPr>
          <a:xfrm flipV="1">
            <a:off x="7059051" y="2532185"/>
            <a:ext cx="1066717" cy="6380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4212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1" grpId="0" animBg="1"/>
      <p:bldP spid="22" grpId="0" animBg="1"/>
      <p:bldP spid="2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76B5A-9760-EE22-B00B-213C179C2CBB}"/>
              </a:ext>
            </a:extLst>
          </p:cNvPr>
          <p:cNvSpPr>
            <a:spLocks noGrp="1"/>
          </p:cNvSpPr>
          <p:nvPr>
            <p:ph type="title"/>
          </p:nvPr>
        </p:nvSpPr>
        <p:spPr>
          <a:xfrm>
            <a:off x="630990" y="250841"/>
            <a:ext cx="8349916" cy="327975"/>
          </a:xfrm>
        </p:spPr>
        <p:txBody>
          <a:bodyPr/>
          <a:lstStyle/>
          <a:p>
            <a:r>
              <a:rPr lang="en-US" sz="2550" b="1">
                <a:solidFill>
                  <a:schemeClr val="accent3"/>
                </a:solidFill>
                <a:cs typeface="Arial"/>
              </a:rPr>
              <a:t>Protect your data</a:t>
            </a:r>
            <a:endParaRPr lang="nl-NL" sz="2550" b="1">
              <a:solidFill>
                <a:schemeClr val="accent3"/>
              </a:solidFill>
              <a:cs typeface="Arial"/>
            </a:endParaRPr>
          </a:p>
        </p:txBody>
      </p:sp>
      <p:sp>
        <p:nvSpPr>
          <p:cNvPr id="7" name="Slide Number Placeholder 6">
            <a:extLst>
              <a:ext uri="{FF2B5EF4-FFF2-40B4-BE49-F238E27FC236}">
                <a16:creationId xmlns:a16="http://schemas.microsoft.com/office/drawing/2014/main" id="{ED3FB8A3-5AC3-1D84-C9B1-6E48B8365B10}"/>
              </a:ext>
            </a:extLst>
          </p:cNvPr>
          <p:cNvSpPr>
            <a:spLocks noGrp="1"/>
          </p:cNvSpPr>
          <p:nvPr>
            <p:ph type="sldNum" sz="quarter" idx="4"/>
          </p:nvPr>
        </p:nvSpPr>
        <p:spPr>
          <a:xfrm>
            <a:off x="502654" y="6378026"/>
            <a:ext cx="566821" cy="201751"/>
          </a:xfrm>
        </p:spPr>
        <p:txBody>
          <a:bodyPr/>
          <a:lstStyle/>
          <a:p>
            <a:fld id="{8A87A398-2B52-41CE-AD18-FB681F1DBEA6}" type="slidenum">
              <a:rPr lang="en-US" smtClean="0">
                <a:solidFill>
                  <a:srgbClr val="818181"/>
                </a:solidFill>
              </a:rPr>
              <a:pPr/>
              <a:t>11</a:t>
            </a:fld>
            <a:endParaRPr lang="en-US">
              <a:solidFill>
                <a:srgbClr val="818181"/>
              </a:solidFill>
            </a:endParaRPr>
          </a:p>
        </p:txBody>
      </p:sp>
      <p:sp>
        <p:nvSpPr>
          <p:cNvPr id="8" name="Flowchart: Connector 7">
            <a:extLst>
              <a:ext uri="{FF2B5EF4-FFF2-40B4-BE49-F238E27FC236}">
                <a16:creationId xmlns:a16="http://schemas.microsoft.com/office/drawing/2014/main" id="{6BEE7238-A326-86BC-7600-9F7429140EA3}"/>
              </a:ext>
            </a:extLst>
          </p:cNvPr>
          <p:cNvSpPr/>
          <p:nvPr/>
        </p:nvSpPr>
        <p:spPr>
          <a:xfrm>
            <a:off x="4962326" y="2317415"/>
            <a:ext cx="2048077" cy="2150347"/>
          </a:xfrm>
          <a:prstGeom prst="flowChartConnector">
            <a:avLst/>
          </a:prstGeom>
          <a:solidFill>
            <a:srgbClr val="0070C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hlinkClick r:id="rId2">
                  <a:extLst>
                    <a:ext uri="{A12FA001-AC4F-418D-AE19-62706E023703}">
                      <ahyp:hlinkClr xmlns:ahyp="http://schemas.microsoft.com/office/drawing/2018/hyperlinkcolor" val="tx"/>
                    </a:ext>
                  </a:extLst>
                </a:hlinkClick>
              </a:rPr>
              <a:t>PROTECT YOUR DATA</a:t>
            </a:r>
            <a:endParaRPr lang="nl-NL">
              <a:solidFill>
                <a:schemeClr val="bg1"/>
              </a:solidFill>
            </a:endParaRPr>
          </a:p>
        </p:txBody>
      </p:sp>
      <p:sp>
        <p:nvSpPr>
          <p:cNvPr id="9" name="Flowchart: Alternate Process 8">
            <a:extLst>
              <a:ext uri="{FF2B5EF4-FFF2-40B4-BE49-F238E27FC236}">
                <a16:creationId xmlns:a16="http://schemas.microsoft.com/office/drawing/2014/main" id="{EEAE721A-96DA-24BD-3CB9-9EE0F627B34B}"/>
              </a:ext>
            </a:extLst>
          </p:cNvPr>
          <p:cNvSpPr/>
          <p:nvPr/>
        </p:nvSpPr>
        <p:spPr>
          <a:xfrm>
            <a:off x="2549560" y="3947606"/>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ustomer Key</a:t>
            </a:r>
          </a:p>
        </p:txBody>
      </p:sp>
      <p:sp>
        <p:nvSpPr>
          <p:cNvPr id="10" name="Flowchart: Alternate Process 9">
            <a:extLst>
              <a:ext uri="{FF2B5EF4-FFF2-40B4-BE49-F238E27FC236}">
                <a16:creationId xmlns:a16="http://schemas.microsoft.com/office/drawing/2014/main" id="{F4798787-F536-1098-6A77-5675917844F7}"/>
              </a:ext>
            </a:extLst>
          </p:cNvPr>
          <p:cNvSpPr/>
          <p:nvPr/>
        </p:nvSpPr>
        <p:spPr>
          <a:xfrm>
            <a:off x="5119519" y="1003860"/>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ssage Encryption</a:t>
            </a:r>
          </a:p>
        </p:txBody>
      </p:sp>
      <p:sp>
        <p:nvSpPr>
          <p:cNvPr id="11" name="Flowchart: Alternate Process 10">
            <a:extLst>
              <a:ext uri="{FF2B5EF4-FFF2-40B4-BE49-F238E27FC236}">
                <a16:creationId xmlns:a16="http://schemas.microsoft.com/office/drawing/2014/main" id="{C1F2C19D-DE96-5703-0D6F-78B2ED65EC7E}"/>
              </a:ext>
            </a:extLst>
          </p:cNvPr>
          <p:cNvSpPr/>
          <p:nvPr/>
        </p:nvSpPr>
        <p:spPr>
          <a:xfrm>
            <a:off x="2579077" y="2000891"/>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nsitivity Labels</a:t>
            </a:r>
            <a:endParaRPr lang="nl-NL"/>
          </a:p>
        </p:txBody>
      </p:sp>
      <p:sp>
        <p:nvSpPr>
          <p:cNvPr id="12" name="Flowchart: Alternate Process 11">
            <a:extLst>
              <a:ext uri="{FF2B5EF4-FFF2-40B4-BE49-F238E27FC236}">
                <a16:creationId xmlns:a16="http://schemas.microsoft.com/office/drawing/2014/main" id="{BBC92CEB-6D22-46D5-D390-CEE265C14C22}"/>
              </a:ext>
            </a:extLst>
          </p:cNvPr>
          <p:cNvSpPr/>
          <p:nvPr/>
        </p:nvSpPr>
        <p:spPr>
          <a:xfrm>
            <a:off x="7648659" y="2061519"/>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ouble Key Encryption</a:t>
            </a:r>
          </a:p>
        </p:txBody>
      </p:sp>
      <p:sp>
        <p:nvSpPr>
          <p:cNvPr id="13" name="Flowchart: Alternate Process 12">
            <a:extLst>
              <a:ext uri="{FF2B5EF4-FFF2-40B4-BE49-F238E27FC236}">
                <a16:creationId xmlns:a16="http://schemas.microsoft.com/office/drawing/2014/main" id="{70AB99F6-23AA-7D87-ED54-33870CB63713}"/>
              </a:ext>
            </a:extLst>
          </p:cNvPr>
          <p:cNvSpPr/>
          <p:nvPr/>
        </p:nvSpPr>
        <p:spPr>
          <a:xfrm>
            <a:off x="7648659" y="3911154"/>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rotection SDK</a:t>
            </a:r>
          </a:p>
        </p:txBody>
      </p:sp>
      <p:sp>
        <p:nvSpPr>
          <p:cNvPr id="15" name="Flowchart: Alternate Process 14">
            <a:extLst>
              <a:ext uri="{FF2B5EF4-FFF2-40B4-BE49-F238E27FC236}">
                <a16:creationId xmlns:a16="http://schemas.microsoft.com/office/drawing/2014/main" id="{E33DB50A-5D1E-2D2C-2118-BF221429D035}"/>
              </a:ext>
            </a:extLst>
          </p:cNvPr>
          <p:cNvSpPr/>
          <p:nvPr/>
        </p:nvSpPr>
        <p:spPr>
          <a:xfrm>
            <a:off x="5070174" y="5247046"/>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ata Map</a:t>
            </a:r>
            <a:endParaRPr lang="nl-NL"/>
          </a:p>
        </p:txBody>
      </p:sp>
      <p:cxnSp>
        <p:nvCxnSpPr>
          <p:cNvPr id="19" name="Straight Arrow Connector 18">
            <a:extLst>
              <a:ext uri="{FF2B5EF4-FFF2-40B4-BE49-F238E27FC236}">
                <a16:creationId xmlns:a16="http://schemas.microsoft.com/office/drawing/2014/main" id="{1FE048EF-99E9-84DC-F414-3B2895276735}"/>
              </a:ext>
            </a:extLst>
          </p:cNvPr>
          <p:cNvCxnSpPr>
            <a:cxnSpLocks/>
          </p:cNvCxnSpPr>
          <p:nvPr/>
        </p:nvCxnSpPr>
        <p:spPr>
          <a:xfrm flipH="1" flipV="1">
            <a:off x="4429761" y="2317414"/>
            <a:ext cx="750046" cy="31652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ACB9C4D-E65D-C173-29BA-774974EB8AB4}"/>
              </a:ext>
            </a:extLst>
          </p:cNvPr>
          <p:cNvCxnSpPr>
            <a:cxnSpLocks/>
          </p:cNvCxnSpPr>
          <p:nvPr/>
        </p:nvCxnSpPr>
        <p:spPr>
          <a:xfrm flipV="1">
            <a:off x="6909916" y="2317413"/>
            <a:ext cx="693339" cy="41530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B77C30C-D85C-E8EA-6769-D6B1CE5EAA89}"/>
              </a:ext>
            </a:extLst>
          </p:cNvPr>
          <p:cNvCxnSpPr>
            <a:cxnSpLocks/>
          </p:cNvCxnSpPr>
          <p:nvPr/>
        </p:nvCxnSpPr>
        <p:spPr>
          <a:xfrm flipV="1">
            <a:off x="6019112" y="1681804"/>
            <a:ext cx="0" cy="57735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6348412-AFB8-2440-AD0B-8712BFD6AB64}"/>
              </a:ext>
            </a:extLst>
          </p:cNvPr>
          <p:cNvCxnSpPr>
            <a:cxnSpLocks/>
          </p:cNvCxnSpPr>
          <p:nvPr/>
        </p:nvCxnSpPr>
        <p:spPr>
          <a:xfrm>
            <a:off x="7010402" y="3947606"/>
            <a:ext cx="592852" cy="28007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11E6356-783F-0FB6-A917-D30B29E36696}"/>
              </a:ext>
            </a:extLst>
          </p:cNvPr>
          <p:cNvCxnSpPr>
            <a:cxnSpLocks/>
          </p:cNvCxnSpPr>
          <p:nvPr/>
        </p:nvCxnSpPr>
        <p:spPr>
          <a:xfrm>
            <a:off x="5965372" y="4580652"/>
            <a:ext cx="0" cy="6206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58810D85-A992-C528-E411-102FC6DCA154}"/>
              </a:ext>
            </a:extLst>
          </p:cNvPr>
          <p:cNvCxnSpPr>
            <a:cxnSpLocks/>
          </p:cNvCxnSpPr>
          <p:nvPr/>
        </p:nvCxnSpPr>
        <p:spPr>
          <a:xfrm flipH="1">
            <a:off x="4369473" y="4046268"/>
            <a:ext cx="743346" cy="2178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Speech Bubble: Rectangle with Corners Rounded 42">
            <a:extLst>
              <a:ext uri="{FF2B5EF4-FFF2-40B4-BE49-F238E27FC236}">
                <a16:creationId xmlns:a16="http://schemas.microsoft.com/office/drawing/2014/main" id="{A7C6F4E2-42A5-4AC7-6568-1EB31EEE0E1D}"/>
              </a:ext>
            </a:extLst>
          </p:cNvPr>
          <p:cNvSpPr/>
          <p:nvPr/>
        </p:nvSpPr>
        <p:spPr>
          <a:xfrm>
            <a:off x="1900990" y="808480"/>
            <a:ext cx="2255678" cy="1046709"/>
          </a:xfrm>
          <a:prstGeom prst="wedgeRoundRectCallout">
            <a:avLst>
              <a:gd name="adj1" fmla="val -323"/>
              <a:gd name="adj2" fmla="val 63770"/>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bg1">
                    <a:lumMod val="95000"/>
                  </a:schemeClr>
                </a:solidFill>
              </a:rPr>
              <a:t>A single labeling solution across apps, services, and devices to protect your data as it travels inside and outside your organization</a:t>
            </a:r>
            <a:r>
              <a:rPr lang="en-US" sz="1100"/>
              <a:t>.</a:t>
            </a:r>
          </a:p>
        </p:txBody>
      </p:sp>
      <p:sp>
        <p:nvSpPr>
          <p:cNvPr id="44" name="Speech Bubble: Rectangle with Corners Rounded 43">
            <a:extLst>
              <a:ext uri="{FF2B5EF4-FFF2-40B4-BE49-F238E27FC236}">
                <a16:creationId xmlns:a16="http://schemas.microsoft.com/office/drawing/2014/main" id="{BA32707B-7809-971E-B6E7-3A1081EA631A}"/>
              </a:ext>
            </a:extLst>
          </p:cNvPr>
          <p:cNvSpPr/>
          <p:nvPr/>
        </p:nvSpPr>
        <p:spPr>
          <a:xfrm>
            <a:off x="1642158" y="4909704"/>
            <a:ext cx="2921915" cy="1134365"/>
          </a:xfrm>
          <a:prstGeom prst="wedgeRoundRectCallout">
            <a:avLst>
              <a:gd name="adj1" fmla="val 66819"/>
              <a:gd name="adj2" fmla="val -13964"/>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bg1">
                    <a:lumMod val="95000"/>
                  </a:schemeClr>
                </a:solidFill>
              </a:rPr>
              <a:t>Identifies sensitive data and applies automatic labeling to content in Microsoft Purview Data Map assets. These include files in storage such as Azure Data Lake and Azure Files, and schematized data such as columns in Azure SQL DB and Azure Cosmos DB.</a:t>
            </a:r>
          </a:p>
        </p:txBody>
      </p:sp>
      <p:sp>
        <p:nvSpPr>
          <p:cNvPr id="48" name="Speech Bubble: Rectangle with Corners Rounded 47">
            <a:extLst>
              <a:ext uri="{FF2B5EF4-FFF2-40B4-BE49-F238E27FC236}">
                <a16:creationId xmlns:a16="http://schemas.microsoft.com/office/drawing/2014/main" id="{936A2AC1-2B3D-068B-C0ED-18166AB4F389}"/>
              </a:ext>
            </a:extLst>
          </p:cNvPr>
          <p:cNvSpPr/>
          <p:nvPr/>
        </p:nvSpPr>
        <p:spPr>
          <a:xfrm>
            <a:off x="1732852" y="3047599"/>
            <a:ext cx="2255678" cy="760352"/>
          </a:xfrm>
          <a:prstGeom prst="wedgeRoundRectCallout">
            <a:avLst>
              <a:gd name="adj1" fmla="val -323"/>
              <a:gd name="adj2" fmla="val 63770"/>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pPr>
            <a:r>
              <a:rPr lang="en-US" sz="1100" kern="100">
                <a:solidFill>
                  <a:schemeClr val="bg1">
                    <a:lumMod val="95000"/>
                  </a:schemeClr>
                </a:solidFill>
              </a:rPr>
              <a:t>Meet </a:t>
            </a:r>
            <a:r>
              <a:rPr lang="en-US" sz="1100">
                <a:solidFill>
                  <a:schemeClr val="bg1">
                    <a:lumMod val="95000"/>
                  </a:schemeClr>
                </a:solidFill>
              </a:rPr>
              <a:t>compliance</a:t>
            </a:r>
            <a:r>
              <a:rPr lang="en-US" sz="1100" kern="100">
                <a:solidFill>
                  <a:schemeClr val="bg1">
                    <a:lumMod val="95000"/>
                  </a:schemeClr>
                </a:solidFill>
              </a:rPr>
              <a:t> requirements by exercising control over your organization’s encryption keys.</a:t>
            </a:r>
            <a:endParaRPr lang="nl-NL" sz="1100" kern="100">
              <a:solidFill>
                <a:schemeClr val="bg1">
                  <a:lumMod val="95000"/>
                </a:schemeClr>
              </a:solidFill>
              <a:latin typeface="Calibri" panose="020F0502020204030204" pitchFamily="34" charset="0"/>
              <a:cs typeface="Times New Roman" panose="02020603050405020304" pitchFamily="18" charset="0"/>
            </a:endParaRPr>
          </a:p>
        </p:txBody>
      </p:sp>
      <p:sp>
        <p:nvSpPr>
          <p:cNvPr id="49" name="Speech Bubble: Rectangle with Corners Rounded 48">
            <a:extLst>
              <a:ext uri="{FF2B5EF4-FFF2-40B4-BE49-F238E27FC236}">
                <a16:creationId xmlns:a16="http://schemas.microsoft.com/office/drawing/2014/main" id="{5DAE785A-A27F-756C-E5CA-1006D825795A}"/>
              </a:ext>
            </a:extLst>
          </p:cNvPr>
          <p:cNvSpPr/>
          <p:nvPr/>
        </p:nvSpPr>
        <p:spPr>
          <a:xfrm>
            <a:off x="7416018" y="525993"/>
            <a:ext cx="2255678" cy="760352"/>
          </a:xfrm>
          <a:prstGeom prst="wedgeRoundRectCallout">
            <a:avLst>
              <a:gd name="adj1" fmla="val -72044"/>
              <a:gd name="adj2" fmla="val 61127"/>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bg1">
                    <a:lumMod val="95000"/>
                  </a:schemeClr>
                </a:solidFill>
              </a:rPr>
              <a:t>Send and receive encrypted email messages to people inside and out the organization.</a:t>
            </a:r>
          </a:p>
        </p:txBody>
      </p:sp>
      <p:sp>
        <p:nvSpPr>
          <p:cNvPr id="50" name="Speech Bubble: Rectangle with Corners Rounded 49">
            <a:extLst>
              <a:ext uri="{FF2B5EF4-FFF2-40B4-BE49-F238E27FC236}">
                <a16:creationId xmlns:a16="http://schemas.microsoft.com/office/drawing/2014/main" id="{BC05F031-8B74-6965-32EE-27913959B2E7}"/>
              </a:ext>
            </a:extLst>
          </p:cNvPr>
          <p:cNvSpPr/>
          <p:nvPr/>
        </p:nvSpPr>
        <p:spPr>
          <a:xfrm>
            <a:off x="8203470" y="2877637"/>
            <a:ext cx="2255678" cy="760352"/>
          </a:xfrm>
          <a:prstGeom prst="wedgeRoundRectCallout">
            <a:avLst>
              <a:gd name="adj1" fmla="val -34179"/>
              <a:gd name="adj2" fmla="val -71027"/>
              <a:gd name="adj3" fmla="val 16667"/>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pPr>
            <a:r>
              <a:rPr lang="en-US" sz="1100" kern="100">
                <a:solidFill>
                  <a:schemeClr val="bg1">
                    <a:lumMod val="95000"/>
                  </a:schemeClr>
                </a:solidFill>
              </a:rPr>
              <a:t>Uses 2 keys together to access protected content. Microsoft stores one key in Azure and you hold the other key.</a:t>
            </a:r>
          </a:p>
        </p:txBody>
      </p:sp>
      <p:sp>
        <p:nvSpPr>
          <p:cNvPr id="51" name="Speech Bubble: Rectangle with Corners Rounded 50">
            <a:extLst>
              <a:ext uri="{FF2B5EF4-FFF2-40B4-BE49-F238E27FC236}">
                <a16:creationId xmlns:a16="http://schemas.microsoft.com/office/drawing/2014/main" id="{A0DA5DDD-6CCD-9D04-CB44-0F87461BBBAB}"/>
              </a:ext>
            </a:extLst>
          </p:cNvPr>
          <p:cNvSpPr/>
          <p:nvPr/>
        </p:nvSpPr>
        <p:spPr>
          <a:xfrm>
            <a:off x="7995228" y="4854577"/>
            <a:ext cx="2255678" cy="620638"/>
          </a:xfrm>
          <a:prstGeom prst="wedgeRoundRectCallout">
            <a:avLst>
              <a:gd name="adj1" fmla="val -36407"/>
              <a:gd name="adj2" fmla="val -94981"/>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pPr>
            <a:r>
              <a:rPr lang="en-US" sz="1100" kern="100"/>
              <a:t>Extends sensitivity labels to third-party apps and services.</a:t>
            </a:r>
            <a:endParaRPr lang="nl-NL" sz="1100" kern="100">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27753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5" grpId="0" animBg="1"/>
      <p:bldP spid="43" grpId="0" animBg="1"/>
      <p:bldP spid="44" grpId="0" animBg="1"/>
      <p:bldP spid="48" grpId="0" animBg="1"/>
      <p:bldP spid="49" grpId="0" animBg="1"/>
      <p:bldP spid="50" grpId="0" animBg="1"/>
      <p:bldP spid="5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76B5A-9760-EE22-B00B-213C179C2CBB}"/>
              </a:ext>
            </a:extLst>
          </p:cNvPr>
          <p:cNvSpPr>
            <a:spLocks noGrp="1"/>
          </p:cNvSpPr>
          <p:nvPr>
            <p:ph type="title"/>
          </p:nvPr>
        </p:nvSpPr>
        <p:spPr>
          <a:xfrm>
            <a:off x="585633" y="202123"/>
            <a:ext cx="8349916" cy="327975"/>
          </a:xfrm>
        </p:spPr>
        <p:txBody>
          <a:bodyPr/>
          <a:lstStyle/>
          <a:p>
            <a:r>
              <a:rPr lang="en-US" sz="2550" b="1">
                <a:solidFill>
                  <a:schemeClr val="accent3"/>
                </a:solidFill>
                <a:cs typeface="Arial"/>
              </a:rPr>
              <a:t>Prevent Data Loss</a:t>
            </a:r>
            <a:endParaRPr lang="nl-NL" sz="2550" b="1">
              <a:solidFill>
                <a:schemeClr val="accent3"/>
              </a:solidFill>
              <a:cs typeface="Arial"/>
            </a:endParaRPr>
          </a:p>
        </p:txBody>
      </p:sp>
      <p:sp>
        <p:nvSpPr>
          <p:cNvPr id="7" name="Slide Number Placeholder 6">
            <a:extLst>
              <a:ext uri="{FF2B5EF4-FFF2-40B4-BE49-F238E27FC236}">
                <a16:creationId xmlns:a16="http://schemas.microsoft.com/office/drawing/2014/main" id="{ED3FB8A3-5AC3-1D84-C9B1-6E48B8365B10}"/>
              </a:ext>
            </a:extLst>
          </p:cNvPr>
          <p:cNvSpPr>
            <a:spLocks noGrp="1"/>
          </p:cNvSpPr>
          <p:nvPr>
            <p:ph type="sldNum" sz="quarter" idx="4"/>
          </p:nvPr>
        </p:nvSpPr>
        <p:spPr/>
        <p:txBody>
          <a:bodyPr/>
          <a:lstStyle/>
          <a:p>
            <a:fld id="{8A87A398-2B52-41CE-AD18-FB681F1DBEA6}" type="slidenum">
              <a:rPr lang="en-US" smtClean="0">
                <a:solidFill>
                  <a:srgbClr val="818181"/>
                </a:solidFill>
              </a:rPr>
              <a:pPr/>
              <a:t>12</a:t>
            </a:fld>
            <a:endParaRPr lang="en-US">
              <a:solidFill>
                <a:srgbClr val="818181"/>
              </a:solidFill>
            </a:endParaRPr>
          </a:p>
        </p:txBody>
      </p:sp>
      <p:sp>
        <p:nvSpPr>
          <p:cNvPr id="8" name="Flowchart: Connector 7">
            <a:extLst>
              <a:ext uri="{FF2B5EF4-FFF2-40B4-BE49-F238E27FC236}">
                <a16:creationId xmlns:a16="http://schemas.microsoft.com/office/drawing/2014/main" id="{6BEE7238-A326-86BC-7600-9F7429140EA3}"/>
              </a:ext>
            </a:extLst>
          </p:cNvPr>
          <p:cNvSpPr/>
          <p:nvPr/>
        </p:nvSpPr>
        <p:spPr>
          <a:xfrm>
            <a:off x="4962326" y="2341268"/>
            <a:ext cx="2048077" cy="2150347"/>
          </a:xfrm>
          <a:prstGeom prst="flowChartConnector">
            <a:avLst/>
          </a:prstGeom>
          <a:solidFill>
            <a:schemeClr val="bg2">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REVENT DATA LOSS</a:t>
            </a:r>
            <a:endParaRPr lang="nl-NL"/>
          </a:p>
        </p:txBody>
      </p:sp>
      <p:sp>
        <p:nvSpPr>
          <p:cNvPr id="10" name="Flowchart: Alternate Process 9">
            <a:extLst>
              <a:ext uri="{FF2B5EF4-FFF2-40B4-BE49-F238E27FC236}">
                <a16:creationId xmlns:a16="http://schemas.microsoft.com/office/drawing/2014/main" id="{F4798787-F536-1098-6A77-5675917844F7}"/>
              </a:ext>
            </a:extLst>
          </p:cNvPr>
          <p:cNvSpPr/>
          <p:nvPr/>
        </p:nvSpPr>
        <p:spPr>
          <a:xfrm>
            <a:off x="7020453" y="1554680"/>
            <a:ext cx="2227674"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Endpoint data loss prevention</a:t>
            </a:r>
          </a:p>
        </p:txBody>
      </p:sp>
      <p:sp>
        <p:nvSpPr>
          <p:cNvPr id="11" name="Flowchart: Alternate Process 10">
            <a:extLst>
              <a:ext uri="{FF2B5EF4-FFF2-40B4-BE49-F238E27FC236}">
                <a16:creationId xmlns:a16="http://schemas.microsoft.com/office/drawing/2014/main" id="{C1F2C19D-DE96-5703-0D6F-78B2ED65EC7E}"/>
              </a:ext>
            </a:extLst>
          </p:cNvPr>
          <p:cNvSpPr/>
          <p:nvPr/>
        </p:nvSpPr>
        <p:spPr>
          <a:xfrm>
            <a:off x="2478593" y="1495341"/>
            <a:ext cx="2255678"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icrosoft Purview Data Loss Prevention</a:t>
            </a:r>
            <a:endParaRPr lang="nl-NL"/>
          </a:p>
        </p:txBody>
      </p:sp>
      <p:sp>
        <p:nvSpPr>
          <p:cNvPr id="15" name="Flowchart: Alternate Process 14">
            <a:extLst>
              <a:ext uri="{FF2B5EF4-FFF2-40B4-BE49-F238E27FC236}">
                <a16:creationId xmlns:a16="http://schemas.microsoft.com/office/drawing/2014/main" id="{E33DB50A-5D1E-2D2C-2118-BF221429D035}"/>
              </a:ext>
            </a:extLst>
          </p:cNvPr>
          <p:cNvSpPr/>
          <p:nvPr/>
        </p:nvSpPr>
        <p:spPr>
          <a:xfrm>
            <a:off x="4862779" y="5270899"/>
            <a:ext cx="2227669"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rotect sensitive information in Teams</a:t>
            </a:r>
            <a:endParaRPr lang="nl-NL"/>
          </a:p>
        </p:txBody>
      </p:sp>
      <p:cxnSp>
        <p:nvCxnSpPr>
          <p:cNvPr id="19" name="Straight Arrow Connector 18">
            <a:extLst>
              <a:ext uri="{FF2B5EF4-FFF2-40B4-BE49-F238E27FC236}">
                <a16:creationId xmlns:a16="http://schemas.microsoft.com/office/drawing/2014/main" id="{1FE048EF-99E9-84DC-F414-3B2895276735}"/>
              </a:ext>
            </a:extLst>
          </p:cNvPr>
          <p:cNvCxnSpPr>
            <a:cxnSpLocks/>
          </p:cNvCxnSpPr>
          <p:nvPr/>
        </p:nvCxnSpPr>
        <p:spPr>
          <a:xfrm flipH="1" flipV="1">
            <a:off x="3644203" y="2228376"/>
            <a:ext cx="1318123" cy="84307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ACB9C4D-E65D-C173-29BA-774974EB8AB4}"/>
              </a:ext>
            </a:extLst>
          </p:cNvPr>
          <p:cNvCxnSpPr>
            <a:cxnSpLocks/>
          </p:cNvCxnSpPr>
          <p:nvPr/>
        </p:nvCxnSpPr>
        <p:spPr>
          <a:xfrm flipV="1">
            <a:off x="7020453" y="2283016"/>
            <a:ext cx="1215847" cy="87334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11E6356-783F-0FB6-A917-D30B29E36696}"/>
              </a:ext>
            </a:extLst>
          </p:cNvPr>
          <p:cNvCxnSpPr>
            <a:cxnSpLocks/>
          </p:cNvCxnSpPr>
          <p:nvPr/>
        </p:nvCxnSpPr>
        <p:spPr>
          <a:xfrm>
            <a:off x="5965372" y="4604505"/>
            <a:ext cx="0" cy="6206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Speech Bubble: Rectangle with Corners Rounded 43">
            <a:extLst>
              <a:ext uri="{FF2B5EF4-FFF2-40B4-BE49-F238E27FC236}">
                <a16:creationId xmlns:a16="http://schemas.microsoft.com/office/drawing/2014/main" id="{BA32707B-7809-971E-B6E7-3A1081EA631A}"/>
              </a:ext>
            </a:extLst>
          </p:cNvPr>
          <p:cNvSpPr/>
          <p:nvPr/>
        </p:nvSpPr>
        <p:spPr>
          <a:xfrm>
            <a:off x="2548934" y="4876965"/>
            <a:ext cx="2159390" cy="658945"/>
          </a:xfrm>
          <a:prstGeom prst="wedgeRoundRectCallout">
            <a:avLst>
              <a:gd name="adj1" fmla="val 70542"/>
              <a:gd name="adj2" fmla="val -4815"/>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bg1">
                    <a:lumMod val="95000"/>
                  </a:schemeClr>
                </a:solidFill>
              </a:rPr>
              <a:t>Extends some DLP functionality to Teams chat and channel messages</a:t>
            </a:r>
          </a:p>
        </p:txBody>
      </p:sp>
      <p:sp>
        <p:nvSpPr>
          <p:cNvPr id="48" name="Speech Bubble: Rectangle with Corners Rounded 47">
            <a:extLst>
              <a:ext uri="{FF2B5EF4-FFF2-40B4-BE49-F238E27FC236}">
                <a16:creationId xmlns:a16="http://schemas.microsoft.com/office/drawing/2014/main" id="{936A2AC1-2B3D-068B-C0ED-18166AB4F389}"/>
              </a:ext>
            </a:extLst>
          </p:cNvPr>
          <p:cNvSpPr/>
          <p:nvPr/>
        </p:nvSpPr>
        <p:spPr>
          <a:xfrm>
            <a:off x="1786409" y="2641006"/>
            <a:ext cx="2255678" cy="515357"/>
          </a:xfrm>
          <a:prstGeom prst="wedgeRoundRectCallout">
            <a:avLst>
              <a:gd name="adj1" fmla="val 568"/>
              <a:gd name="adj2" fmla="val -144512"/>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pPr>
            <a:r>
              <a:rPr lang="en-US" sz="1100" kern="100">
                <a:solidFill>
                  <a:schemeClr val="bg1">
                    <a:lumMod val="95000"/>
                  </a:schemeClr>
                </a:solidFill>
              </a:rPr>
              <a:t>Helps prevent unintentional sharing of sensitive items.</a:t>
            </a:r>
            <a:endParaRPr lang="nl-NL" sz="1100" kern="100">
              <a:solidFill>
                <a:schemeClr val="bg1">
                  <a:lumMod val="95000"/>
                </a:schemeClr>
              </a:solidFill>
              <a:latin typeface="Calibri" panose="020F0502020204030204" pitchFamily="34" charset="0"/>
              <a:cs typeface="Times New Roman" panose="02020603050405020304" pitchFamily="18" charset="0"/>
            </a:endParaRPr>
          </a:p>
        </p:txBody>
      </p:sp>
      <p:sp>
        <p:nvSpPr>
          <p:cNvPr id="6" name="Speech Bubble: Rectangle with Corners Rounded 5">
            <a:extLst>
              <a:ext uri="{FF2B5EF4-FFF2-40B4-BE49-F238E27FC236}">
                <a16:creationId xmlns:a16="http://schemas.microsoft.com/office/drawing/2014/main" id="{1C5D47C7-2270-4F02-F4B0-8D67315B4E39}"/>
              </a:ext>
            </a:extLst>
          </p:cNvPr>
          <p:cNvSpPr/>
          <p:nvPr/>
        </p:nvSpPr>
        <p:spPr>
          <a:xfrm>
            <a:off x="8133862" y="2719689"/>
            <a:ext cx="2255678" cy="633047"/>
          </a:xfrm>
          <a:prstGeom prst="wedgeRoundRectCallout">
            <a:avLst>
              <a:gd name="adj1" fmla="val -36405"/>
              <a:gd name="adj2" fmla="val -128340"/>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pPr>
            <a:r>
              <a:rPr lang="en-US" sz="1100" kern="100">
                <a:solidFill>
                  <a:schemeClr val="bg1">
                    <a:lumMod val="95000"/>
                  </a:schemeClr>
                </a:solidFill>
              </a:rPr>
              <a:t>Extends DLP capabilities to items that are used and shared on Windows 10 computers.</a:t>
            </a:r>
            <a:endParaRPr lang="nl-NL" sz="1100" kern="100">
              <a:solidFill>
                <a:schemeClr val="bg1">
                  <a:lumMod val="95000"/>
                </a:schemeClr>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91811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5" grpId="0" animBg="1"/>
      <p:bldP spid="44" grpId="0" animBg="1"/>
      <p:bldP spid="48" grpId="0" animBg="1"/>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76B5A-9760-EE22-B00B-213C179C2CBB}"/>
              </a:ext>
            </a:extLst>
          </p:cNvPr>
          <p:cNvSpPr>
            <a:spLocks noGrp="1"/>
          </p:cNvSpPr>
          <p:nvPr>
            <p:ph type="title"/>
          </p:nvPr>
        </p:nvSpPr>
        <p:spPr>
          <a:xfrm>
            <a:off x="629271" y="226749"/>
            <a:ext cx="8349916" cy="327975"/>
          </a:xfrm>
        </p:spPr>
        <p:txBody>
          <a:bodyPr/>
          <a:lstStyle/>
          <a:p>
            <a:r>
              <a:rPr lang="en-US" sz="2550" b="1">
                <a:solidFill>
                  <a:schemeClr val="accent3"/>
                </a:solidFill>
                <a:cs typeface="Arial"/>
              </a:rPr>
              <a:t>Govern your Data</a:t>
            </a:r>
            <a:endParaRPr lang="nl-NL" sz="2550" b="1">
              <a:solidFill>
                <a:schemeClr val="accent3"/>
              </a:solidFill>
              <a:cs typeface="Arial"/>
            </a:endParaRPr>
          </a:p>
        </p:txBody>
      </p:sp>
      <p:sp>
        <p:nvSpPr>
          <p:cNvPr id="7" name="Slide Number Placeholder 6">
            <a:extLst>
              <a:ext uri="{FF2B5EF4-FFF2-40B4-BE49-F238E27FC236}">
                <a16:creationId xmlns:a16="http://schemas.microsoft.com/office/drawing/2014/main" id="{ED3FB8A3-5AC3-1D84-C9B1-6E48B8365B10}"/>
              </a:ext>
            </a:extLst>
          </p:cNvPr>
          <p:cNvSpPr>
            <a:spLocks noGrp="1"/>
          </p:cNvSpPr>
          <p:nvPr>
            <p:ph type="sldNum" sz="quarter" idx="4"/>
          </p:nvPr>
        </p:nvSpPr>
        <p:spPr/>
        <p:txBody>
          <a:bodyPr/>
          <a:lstStyle/>
          <a:p>
            <a:fld id="{8A87A398-2B52-41CE-AD18-FB681F1DBEA6}" type="slidenum">
              <a:rPr lang="en-US" smtClean="0">
                <a:solidFill>
                  <a:srgbClr val="818181"/>
                </a:solidFill>
              </a:rPr>
              <a:pPr/>
              <a:t>13</a:t>
            </a:fld>
            <a:endParaRPr lang="en-US">
              <a:solidFill>
                <a:srgbClr val="818181"/>
              </a:solidFill>
            </a:endParaRPr>
          </a:p>
        </p:txBody>
      </p:sp>
      <p:sp>
        <p:nvSpPr>
          <p:cNvPr id="8" name="Flowchart: Connector 7">
            <a:extLst>
              <a:ext uri="{FF2B5EF4-FFF2-40B4-BE49-F238E27FC236}">
                <a16:creationId xmlns:a16="http://schemas.microsoft.com/office/drawing/2014/main" id="{6BEE7238-A326-86BC-7600-9F7429140EA3}"/>
              </a:ext>
            </a:extLst>
          </p:cNvPr>
          <p:cNvSpPr/>
          <p:nvPr/>
        </p:nvSpPr>
        <p:spPr>
          <a:xfrm>
            <a:off x="6148029" y="1818758"/>
            <a:ext cx="2048077" cy="2150347"/>
          </a:xfrm>
          <a:prstGeom prst="flowChartConnector">
            <a:avLst/>
          </a:prstGeom>
          <a:solidFill>
            <a:schemeClr val="accent6">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hlinkClick r:id="rId2">
                  <a:extLst>
                    <a:ext uri="{A12FA001-AC4F-418D-AE19-62706E023703}">
                      <ahyp:hlinkClr xmlns:ahyp="http://schemas.microsoft.com/office/drawing/2018/hyperlinkcolor" val="tx"/>
                    </a:ext>
                  </a:extLst>
                </a:hlinkClick>
              </a:rPr>
              <a:t>GOVERN YOUR DATA</a:t>
            </a:r>
            <a:endParaRPr lang="nl-NL">
              <a:solidFill>
                <a:schemeClr val="bg1"/>
              </a:solidFill>
            </a:endParaRPr>
          </a:p>
        </p:txBody>
      </p:sp>
      <p:sp>
        <p:nvSpPr>
          <p:cNvPr id="10" name="Flowchart: Alternate Process 9">
            <a:extLst>
              <a:ext uri="{FF2B5EF4-FFF2-40B4-BE49-F238E27FC236}">
                <a16:creationId xmlns:a16="http://schemas.microsoft.com/office/drawing/2014/main" id="{F4798787-F536-1098-6A77-5675917844F7}"/>
              </a:ext>
            </a:extLst>
          </p:cNvPr>
          <p:cNvSpPr/>
          <p:nvPr/>
        </p:nvSpPr>
        <p:spPr>
          <a:xfrm>
            <a:off x="8676633" y="1032170"/>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cords Management</a:t>
            </a:r>
          </a:p>
        </p:txBody>
      </p:sp>
      <p:sp>
        <p:nvSpPr>
          <p:cNvPr id="11" name="Flowchart: Alternate Process 10">
            <a:extLst>
              <a:ext uri="{FF2B5EF4-FFF2-40B4-BE49-F238E27FC236}">
                <a16:creationId xmlns:a16="http://schemas.microsoft.com/office/drawing/2014/main" id="{C1F2C19D-DE96-5703-0D6F-78B2ED65EC7E}"/>
              </a:ext>
            </a:extLst>
          </p:cNvPr>
          <p:cNvSpPr/>
          <p:nvPr/>
        </p:nvSpPr>
        <p:spPr>
          <a:xfrm>
            <a:off x="3664296" y="972831"/>
            <a:ext cx="1790396" cy="633047"/>
          </a:xfrm>
          <a:prstGeom prst="flowChartAlternateProcess">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ata Life Cycle Management</a:t>
            </a:r>
          </a:p>
        </p:txBody>
      </p:sp>
      <p:cxnSp>
        <p:nvCxnSpPr>
          <p:cNvPr id="19" name="Straight Arrow Connector 18">
            <a:extLst>
              <a:ext uri="{FF2B5EF4-FFF2-40B4-BE49-F238E27FC236}">
                <a16:creationId xmlns:a16="http://schemas.microsoft.com/office/drawing/2014/main" id="{1FE048EF-99E9-84DC-F414-3B2895276735}"/>
              </a:ext>
            </a:extLst>
          </p:cNvPr>
          <p:cNvCxnSpPr>
            <a:cxnSpLocks/>
          </p:cNvCxnSpPr>
          <p:nvPr/>
        </p:nvCxnSpPr>
        <p:spPr>
          <a:xfrm flipH="1" flipV="1">
            <a:off x="4829906" y="1705866"/>
            <a:ext cx="1318123" cy="84307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ACB9C4D-E65D-C173-29BA-774974EB8AB4}"/>
              </a:ext>
            </a:extLst>
          </p:cNvPr>
          <p:cNvCxnSpPr>
            <a:cxnSpLocks/>
          </p:cNvCxnSpPr>
          <p:nvPr/>
        </p:nvCxnSpPr>
        <p:spPr>
          <a:xfrm flipV="1">
            <a:off x="8206156" y="1760506"/>
            <a:ext cx="1215847" cy="87334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Speech Bubble: Rectangle with Corners Rounded 47">
            <a:extLst>
              <a:ext uri="{FF2B5EF4-FFF2-40B4-BE49-F238E27FC236}">
                <a16:creationId xmlns:a16="http://schemas.microsoft.com/office/drawing/2014/main" id="{936A2AC1-2B3D-068B-C0ED-18166AB4F389}"/>
              </a:ext>
            </a:extLst>
          </p:cNvPr>
          <p:cNvSpPr/>
          <p:nvPr/>
        </p:nvSpPr>
        <p:spPr>
          <a:xfrm>
            <a:off x="2972112" y="2118496"/>
            <a:ext cx="2255678" cy="515357"/>
          </a:xfrm>
          <a:prstGeom prst="wedgeRoundRectCallout">
            <a:avLst>
              <a:gd name="adj1" fmla="val 568"/>
              <a:gd name="adj2" fmla="val -144512"/>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pPr>
            <a:r>
              <a:rPr lang="en-US" sz="1100" kern="100">
                <a:solidFill>
                  <a:schemeClr val="bg1">
                    <a:lumMod val="95000"/>
                  </a:schemeClr>
                </a:solidFill>
              </a:rPr>
              <a:t>Helps prevent unintentional sharing of sensitive items.</a:t>
            </a:r>
            <a:endParaRPr lang="nl-NL" sz="1100" kern="100">
              <a:solidFill>
                <a:schemeClr val="bg1">
                  <a:lumMod val="95000"/>
                </a:schemeClr>
              </a:solidFill>
              <a:latin typeface="Calibri" panose="020F0502020204030204" pitchFamily="34" charset="0"/>
              <a:cs typeface="Times New Roman" panose="02020603050405020304" pitchFamily="18" charset="0"/>
            </a:endParaRPr>
          </a:p>
        </p:txBody>
      </p:sp>
      <p:sp>
        <p:nvSpPr>
          <p:cNvPr id="6" name="Speech Bubble: Rectangle with Corners Rounded 5">
            <a:extLst>
              <a:ext uri="{FF2B5EF4-FFF2-40B4-BE49-F238E27FC236}">
                <a16:creationId xmlns:a16="http://schemas.microsoft.com/office/drawing/2014/main" id="{1C5D47C7-2270-4F02-F4B0-8D67315B4E39}"/>
              </a:ext>
            </a:extLst>
          </p:cNvPr>
          <p:cNvSpPr/>
          <p:nvPr/>
        </p:nvSpPr>
        <p:spPr>
          <a:xfrm>
            <a:off x="6075948" y="808826"/>
            <a:ext cx="2255678" cy="633047"/>
          </a:xfrm>
          <a:prstGeom prst="wedgeRoundRectCallout">
            <a:avLst>
              <a:gd name="adj1" fmla="val 77635"/>
              <a:gd name="adj2" fmla="val -18816"/>
              <a:gd name="adj3" fmla="val 1666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pPr>
            <a:r>
              <a:rPr lang="en-US" sz="1100" kern="100">
                <a:solidFill>
                  <a:schemeClr val="bg1">
                    <a:lumMod val="95000"/>
                  </a:schemeClr>
                </a:solidFill>
              </a:rPr>
              <a:t>Extends DLP capabilities to items that are used and shared on Windows 10 computers.</a:t>
            </a:r>
            <a:endParaRPr lang="nl-NL" sz="1100" kern="100">
              <a:solidFill>
                <a:schemeClr val="bg1">
                  <a:lumMod val="95000"/>
                </a:schemeClr>
              </a:solidFill>
              <a:latin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4140532A-B074-590B-78DE-83A327BFC06F}"/>
              </a:ext>
            </a:extLst>
          </p:cNvPr>
          <p:cNvPicPr>
            <a:picLocks noChangeAspect="1"/>
          </p:cNvPicPr>
          <p:nvPr/>
        </p:nvPicPr>
        <p:blipFill>
          <a:blip r:embed="rId3"/>
          <a:stretch>
            <a:fillRect/>
          </a:stretch>
        </p:blipFill>
        <p:spPr>
          <a:xfrm>
            <a:off x="112201" y="3139022"/>
            <a:ext cx="4548443" cy="3064652"/>
          </a:xfrm>
          <a:prstGeom prst="rect">
            <a:avLst/>
          </a:prstGeom>
        </p:spPr>
      </p:pic>
    </p:spTree>
    <p:extLst>
      <p:ext uri="{BB962C8B-B14F-4D97-AF65-F5344CB8AC3E}">
        <p14:creationId xmlns:p14="http://schemas.microsoft.com/office/powerpoint/2010/main" val="354343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48" grpId="0" animBg="1"/>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7FD0A5-D984-A7FA-D57A-96165C122475}"/>
              </a:ext>
            </a:extLst>
          </p:cNvPr>
          <p:cNvSpPr>
            <a:spLocks noGrp="1"/>
          </p:cNvSpPr>
          <p:nvPr>
            <p:ph type="title"/>
          </p:nvPr>
        </p:nvSpPr>
        <p:spPr>
          <a:xfrm>
            <a:off x="539751" y="327330"/>
            <a:ext cx="11112000" cy="301061"/>
          </a:xfrm>
        </p:spPr>
        <p:txBody>
          <a:bodyPr/>
          <a:lstStyle/>
          <a:p>
            <a:r>
              <a:rPr lang="nl-NL">
                <a:solidFill>
                  <a:srgbClr val="3E7FA2"/>
                </a:solidFill>
              </a:rPr>
              <a:t>Management samenvatting tbv Strategische Security Overleg (SSO)</a:t>
            </a:r>
          </a:p>
        </p:txBody>
      </p:sp>
      <p:sp>
        <p:nvSpPr>
          <p:cNvPr id="3" name="Tijdelijke aanduiding voor verticale tekst 2">
            <a:extLst>
              <a:ext uri="{FF2B5EF4-FFF2-40B4-BE49-F238E27FC236}">
                <a16:creationId xmlns:a16="http://schemas.microsoft.com/office/drawing/2014/main" id="{81B126F1-B9E3-2569-3DDA-B93792FE6430}"/>
              </a:ext>
            </a:extLst>
          </p:cNvPr>
          <p:cNvSpPr>
            <a:spLocks noGrp="1"/>
          </p:cNvSpPr>
          <p:nvPr>
            <p:ph type="body" orient="vert" idx="1"/>
          </p:nvPr>
        </p:nvSpPr>
        <p:spPr>
          <a:xfrm>
            <a:off x="539751" y="657656"/>
            <a:ext cx="11231937" cy="5829478"/>
          </a:xfrm>
        </p:spPr>
        <p:txBody>
          <a:bodyPr vert="horz" lIns="0" tIns="0" rIns="0" bIns="0" rtlCol="0" anchor="t">
            <a:noAutofit/>
          </a:bodyPr>
          <a:lstStyle/>
          <a:p>
            <a:pPr marL="0" marR="0" lvl="0" indent="0" algn="l" defTabSz="1279525"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rgbClr val="000000"/>
              </a:solidFill>
              <a:effectLst/>
              <a:uLnTx/>
              <a:uFillTx/>
              <a:ea typeface="+mn-ea"/>
              <a:cs typeface="+mn-cs"/>
            </a:endParaRPr>
          </a:p>
          <a:p>
            <a:pPr marL="0" marR="0" lvl="0" indent="0" algn="l" defTabSz="1279525" rtl="0" eaLnBrk="1" fontAlgn="auto" latinLnBrk="0" hangingPunct="1">
              <a:lnSpc>
                <a:spcPct val="100000"/>
              </a:lnSpc>
              <a:spcBef>
                <a:spcPts val="0"/>
              </a:spcBef>
              <a:spcAft>
                <a:spcPts val="0"/>
              </a:spcAft>
              <a:buClrTx/>
              <a:buSzTx/>
              <a:buNone/>
              <a:tabLst/>
              <a:defRPr/>
            </a:pPr>
            <a:r>
              <a:rPr lang="nl-NL" sz="1400" i="1"/>
              <a:t>Geschetste probleemstelling, oplossing en in samenhang daarmee te verwachten prioriteit voor de daaruit volgende werkzaamheden. Consequentie: Keuze om deze te prioriteren betekent dat andere Achmea werkzaamheden getemporiseerd worden. Operationele SG zal deze keuzes komende periode voorleggen.</a:t>
            </a:r>
          </a:p>
          <a:p>
            <a:pPr marL="0" marR="0" lvl="0" indent="0" algn="l" defTabSz="1279525" rtl="0" eaLnBrk="1" fontAlgn="auto" latinLnBrk="0" hangingPunct="1">
              <a:lnSpc>
                <a:spcPct val="100000"/>
              </a:lnSpc>
              <a:spcBef>
                <a:spcPts val="0"/>
              </a:spcBef>
              <a:spcAft>
                <a:spcPts val="0"/>
              </a:spcAft>
              <a:buClrTx/>
              <a:buSzTx/>
              <a:buNone/>
              <a:tabLst/>
              <a:defRPr/>
            </a:pPr>
            <a:endParaRPr lang="nl-NL" sz="1400"/>
          </a:p>
          <a:p>
            <a:pPr marL="0" marR="0" lvl="0" indent="0" algn="l" defTabSz="1279525" rtl="0" eaLnBrk="1" fontAlgn="auto" latinLnBrk="0" hangingPunct="1">
              <a:lnSpc>
                <a:spcPct val="100000"/>
              </a:lnSpc>
              <a:spcBef>
                <a:spcPts val="0"/>
              </a:spcBef>
              <a:spcAft>
                <a:spcPts val="0"/>
              </a:spcAft>
              <a:buClrTx/>
              <a:buSzTx/>
              <a:buNone/>
              <a:tabLst/>
              <a:defRPr/>
            </a:pPr>
            <a:endParaRPr lang="nl-NL" sz="1400"/>
          </a:p>
          <a:p>
            <a:pPr marL="0" marR="0" lvl="0" indent="0" algn="l" defTabSz="1279525" rtl="0" eaLnBrk="1" fontAlgn="auto" latinLnBrk="0" hangingPunct="1">
              <a:lnSpc>
                <a:spcPct val="100000"/>
              </a:lnSpc>
              <a:spcBef>
                <a:spcPts val="0"/>
              </a:spcBef>
              <a:spcAft>
                <a:spcPts val="0"/>
              </a:spcAft>
              <a:buClrTx/>
              <a:buSzTx/>
              <a:buNone/>
              <a:tabLst/>
              <a:defRPr/>
            </a:pPr>
            <a:endParaRPr lang="nl-NL" sz="1400"/>
          </a:p>
          <a:p>
            <a:pPr marL="0" marR="0" lvl="0" indent="0" algn="l" defTabSz="1279525" rtl="0" eaLnBrk="1" fontAlgn="auto" latinLnBrk="0" hangingPunct="1">
              <a:lnSpc>
                <a:spcPct val="100000"/>
              </a:lnSpc>
              <a:spcBef>
                <a:spcPts val="0"/>
              </a:spcBef>
              <a:spcAft>
                <a:spcPts val="0"/>
              </a:spcAft>
              <a:buClrTx/>
              <a:buSzTx/>
              <a:buNone/>
              <a:tabLst/>
              <a:defRPr/>
            </a:pPr>
            <a:endParaRPr lang="nl-NL" sz="1400"/>
          </a:p>
          <a:p>
            <a:pPr marL="0" marR="0" lvl="0" indent="0" algn="l" defTabSz="1279525" rtl="0" eaLnBrk="1" fontAlgn="auto" latinLnBrk="0" hangingPunct="1">
              <a:lnSpc>
                <a:spcPct val="100000"/>
              </a:lnSpc>
              <a:spcBef>
                <a:spcPts val="0"/>
              </a:spcBef>
              <a:spcAft>
                <a:spcPts val="0"/>
              </a:spcAft>
              <a:buClrTx/>
              <a:buSzTx/>
              <a:buNone/>
              <a:tabLst/>
              <a:defRPr/>
            </a:pPr>
            <a:endParaRPr lang="nl-NL" sz="1400"/>
          </a:p>
          <a:p>
            <a:pPr marL="0" marR="0" lvl="0" indent="0" algn="l" defTabSz="1279525" rtl="0" eaLnBrk="1" fontAlgn="auto" latinLnBrk="0" hangingPunct="1">
              <a:lnSpc>
                <a:spcPct val="100000"/>
              </a:lnSpc>
              <a:spcBef>
                <a:spcPts val="0"/>
              </a:spcBef>
              <a:spcAft>
                <a:spcPts val="0"/>
              </a:spcAft>
              <a:buClrTx/>
              <a:buSzTx/>
              <a:buNone/>
              <a:tabLst/>
              <a:defRPr/>
            </a:pPr>
            <a:endParaRPr lang="nl-NL" sz="1400"/>
          </a:p>
          <a:p>
            <a:pPr marL="0" marR="0" lvl="0" indent="0" algn="l" defTabSz="1279525" rtl="0" eaLnBrk="1" fontAlgn="auto" latinLnBrk="0" hangingPunct="1">
              <a:lnSpc>
                <a:spcPct val="100000"/>
              </a:lnSpc>
              <a:spcBef>
                <a:spcPts val="0"/>
              </a:spcBef>
              <a:spcAft>
                <a:spcPts val="0"/>
              </a:spcAft>
              <a:buClrTx/>
              <a:buSzTx/>
              <a:buFontTx/>
              <a:buNone/>
              <a:tabLst/>
              <a:defRPr/>
            </a:pPr>
            <a:endParaRPr lang="nl-NL" sz="1400" b="1">
              <a:solidFill>
                <a:schemeClr val="tx2"/>
              </a:solidFill>
            </a:endParaRPr>
          </a:p>
          <a:p>
            <a:pPr marL="0" marR="0" lvl="0" indent="0" algn="l" defTabSz="1279525" rtl="0" eaLnBrk="1" fontAlgn="auto" latinLnBrk="0" hangingPunct="1">
              <a:lnSpc>
                <a:spcPct val="100000"/>
              </a:lnSpc>
              <a:spcBef>
                <a:spcPts val="0"/>
              </a:spcBef>
              <a:spcAft>
                <a:spcPts val="0"/>
              </a:spcAft>
              <a:buClrTx/>
              <a:buSzTx/>
              <a:buFontTx/>
              <a:buNone/>
              <a:tabLst/>
              <a:defRPr/>
            </a:pPr>
            <a:endParaRPr lang="nl-NL" sz="1400" b="1">
              <a:solidFill>
                <a:schemeClr val="tx2"/>
              </a:solidFill>
            </a:endParaRPr>
          </a:p>
          <a:p>
            <a:pPr marL="0" marR="0" lvl="0" indent="0" algn="l" defTabSz="1279525" rtl="0" eaLnBrk="1" fontAlgn="auto" latinLnBrk="0" hangingPunct="1">
              <a:lnSpc>
                <a:spcPct val="100000"/>
              </a:lnSpc>
              <a:spcBef>
                <a:spcPts val="0"/>
              </a:spcBef>
              <a:spcAft>
                <a:spcPts val="0"/>
              </a:spcAft>
              <a:buClrTx/>
              <a:buSzTx/>
              <a:buFontTx/>
              <a:buNone/>
              <a:tabLst/>
              <a:defRPr/>
            </a:pPr>
            <a:endParaRPr lang="nl-NL" sz="1400" b="1">
              <a:solidFill>
                <a:schemeClr val="tx2"/>
              </a:solidFill>
            </a:endParaRPr>
          </a:p>
          <a:p>
            <a:pPr marL="0" marR="0" lvl="0" indent="0" algn="l" defTabSz="1279525"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chemeClr val="tx2"/>
              </a:solidFill>
              <a:effectLst/>
              <a:uLnTx/>
              <a:uFillTx/>
              <a:ea typeface="+mn-ea"/>
              <a:cs typeface="+mn-cs"/>
            </a:endParaRPr>
          </a:p>
          <a:p>
            <a:pPr marL="0" marR="0" lvl="0" indent="0" algn="l" defTabSz="1279525"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chemeClr val="tx2"/>
              </a:solidFill>
              <a:effectLst/>
              <a:uLnTx/>
              <a:uFillTx/>
              <a:ea typeface="+mn-ea"/>
              <a:cs typeface="+mn-cs"/>
            </a:endParaRPr>
          </a:p>
        </p:txBody>
      </p:sp>
      <p:sp>
        <p:nvSpPr>
          <p:cNvPr id="5" name="Tijdelijke aanduiding voor dianummer 4">
            <a:extLst>
              <a:ext uri="{FF2B5EF4-FFF2-40B4-BE49-F238E27FC236}">
                <a16:creationId xmlns:a16="http://schemas.microsoft.com/office/drawing/2014/main" id="{7C27F2DE-8876-BE76-8093-77BC00CEAA00}"/>
              </a:ext>
            </a:extLst>
          </p:cNvPr>
          <p:cNvSpPr>
            <a:spLocks noGrp="1"/>
          </p:cNvSpPr>
          <p:nvPr>
            <p:ph type="sldNum" sz="quarter" idx="12"/>
          </p:nvPr>
        </p:nvSpPr>
        <p:spPr/>
        <p:txBody>
          <a:bodyPr/>
          <a:lstStyle/>
          <a:p>
            <a:pPr defTabSz="915215"/>
            <a:fld id="{8D374ABD-355D-4B52-8A38-020B3DD5CC75}" type="slidenum">
              <a:rPr lang="nl-NL">
                <a:latin typeface="Calibri"/>
              </a:rPr>
              <a:pPr defTabSz="915215"/>
              <a:t>2</a:t>
            </a:fld>
            <a:endParaRPr lang="nl-NL">
              <a:latin typeface="Calibri"/>
            </a:endParaRPr>
          </a:p>
        </p:txBody>
      </p:sp>
      <p:sp>
        <p:nvSpPr>
          <p:cNvPr id="8" name="Tijdelijke aanduiding voor tekst 7">
            <a:extLst>
              <a:ext uri="{FF2B5EF4-FFF2-40B4-BE49-F238E27FC236}">
                <a16:creationId xmlns:a16="http://schemas.microsoft.com/office/drawing/2014/main" id="{B38B0E56-23C6-7E9E-860D-66A63D83A797}"/>
              </a:ext>
            </a:extLst>
          </p:cNvPr>
          <p:cNvSpPr>
            <a:spLocks noGrp="1"/>
          </p:cNvSpPr>
          <p:nvPr>
            <p:ph type="body" sz="quarter" idx="15"/>
          </p:nvPr>
        </p:nvSpPr>
        <p:spPr/>
        <p:txBody>
          <a:bodyPr/>
          <a:lstStyle/>
          <a:p>
            <a:endParaRPr lang="nl-NL"/>
          </a:p>
        </p:txBody>
      </p:sp>
      <p:graphicFrame>
        <p:nvGraphicFramePr>
          <p:cNvPr id="6" name="Tabel 6">
            <a:extLst>
              <a:ext uri="{FF2B5EF4-FFF2-40B4-BE49-F238E27FC236}">
                <a16:creationId xmlns:a16="http://schemas.microsoft.com/office/drawing/2014/main" id="{05E22AA1-252D-2B75-6F64-C09A39F89708}"/>
              </a:ext>
            </a:extLst>
          </p:cNvPr>
          <p:cNvGraphicFramePr>
            <a:graphicFrameLocks noGrp="1"/>
          </p:cNvGraphicFramePr>
          <p:nvPr/>
        </p:nvGraphicFramePr>
        <p:xfrm>
          <a:off x="539751" y="1581482"/>
          <a:ext cx="11378271" cy="4644206"/>
        </p:xfrm>
        <a:graphic>
          <a:graphicData uri="http://schemas.openxmlformats.org/drawingml/2006/table">
            <a:tbl>
              <a:tblPr firstRow="1" bandRow="1">
                <a:tableStyleId>{5C22544A-7EE6-4342-B048-85BDC9FD1C3A}</a:tableStyleId>
              </a:tblPr>
              <a:tblGrid>
                <a:gridCol w="1886994">
                  <a:extLst>
                    <a:ext uri="{9D8B030D-6E8A-4147-A177-3AD203B41FA5}">
                      <a16:colId xmlns:a16="http://schemas.microsoft.com/office/drawing/2014/main" val="3015864977"/>
                    </a:ext>
                  </a:extLst>
                </a:gridCol>
                <a:gridCol w="8363175">
                  <a:extLst>
                    <a:ext uri="{9D8B030D-6E8A-4147-A177-3AD203B41FA5}">
                      <a16:colId xmlns:a16="http://schemas.microsoft.com/office/drawing/2014/main" val="3737801436"/>
                    </a:ext>
                  </a:extLst>
                </a:gridCol>
                <a:gridCol w="1128102">
                  <a:extLst>
                    <a:ext uri="{9D8B030D-6E8A-4147-A177-3AD203B41FA5}">
                      <a16:colId xmlns:a16="http://schemas.microsoft.com/office/drawing/2014/main" val="2781835927"/>
                    </a:ext>
                  </a:extLst>
                </a:gridCol>
              </a:tblGrid>
              <a:tr h="299926">
                <a:tc gridSpan="3">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l-NL" sz="1400"/>
                        <a:t>Uitgangspunten:</a:t>
                      </a:r>
                    </a:p>
                  </a:txBody>
                  <a:tcPr/>
                </a:tc>
                <a:tc hMerge="1">
                  <a:txBody>
                    <a:bodyPr/>
                    <a:lstStyle/>
                    <a:p>
                      <a:endParaRPr lang="nl-NL"/>
                    </a:p>
                  </a:txBody>
                  <a:tcPr/>
                </a:tc>
                <a:tc hMerge="1">
                  <a:txBody>
                    <a:bodyPr/>
                    <a:lstStyle/>
                    <a:p>
                      <a:endParaRPr lang="nl-NL"/>
                    </a:p>
                  </a:txBody>
                  <a:tcPr/>
                </a:tc>
                <a:extLst>
                  <a:ext uri="{0D108BD9-81ED-4DB2-BD59-A6C34878D82A}">
                    <a16:rowId xmlns:a16="http://schemas.microsoft.com/office/drawing/2014/main" val="1750510204"/>
                  </a:ext>
                </a:extLst>
              </a:tr>
              <a:tr h="719823">
                <a:tc>
                  <a:txBody>
                    <a:bodyPr/>
                    <a:lstStyle/>
                    <a:p>
                      <a:pPr marL="342900" indent="-342900">
                        <a:buFont typeface="+mj-lt"/>
                        <a:buAutoNum type="arabicPeriod"/>
                      </a:pPr>
                      <a:r>
                        <a:rPr lang="nl-NL" sz="1400"/>
                        <a:t>IT-Delivery</a:t>
                      </a:r>
                    </a:p>
                  </a:txBody>
                  <a:tcPr/>
                </a:tc>
                <a:tc>
                  <a:txBody>
                    <a:bodyPr/>
                    <a:lstStyle/>
                    <a:p>
                      <a:r>
                        <a:rPr lang="nl-NL" sz="1400" u="sng"/>
                        <a:t>De dienstontwikkeling en beschikbaar stelling </a:t>
                      </a:r>
                      <a:r>
                        <a:rPr lang="nl-NL" sz="1400"/>
                        <a:t>(via Eindgebruikersdiensten) </a:t>
                      </a:r>
                      <a:r>
                        <a:rPr lang="nl-NL" sz="1400" err="1"/>
                        <a:t>mbt</a:t>
                      </a:r>
                      <a:r>
                        <a:rPr lang="nl-NL" sz="1400"/>
                        <a:t>: Beveiligd mailen*, </a:t>
                      </a:r>
                      <a:r>
                        <a:rPr lang="nl-NL" sz="1400" err="1"/>
                        <a:t>Scantooling</a:t>
                      </a:r>
                      <a:r>
                        <a:rPr lang="nl-NL" sz="1400"/>
                        <a:t>, Dataprotectie, Retentie &amp; Archiveren.</a:t>
                      </a:r>
                    </a:p>
                    <a:p>
                      <a:endParaRPr lang="nl-NL" sz="1400"/>
                    </a:p>
                  </a:txBody>
                  <a:tcPr/>
                </a:tc>
                <a:tc>
                  <a:txBody>
                    <a:bodyPr/>
                    <a:lstStyle/>
                    <a:p>
                      <a:pPr algn="ctr"/>
                      <a:endParaRPr lang="nl-NL" sz="1400"/>
                    </a:p>
                  </a:txBody>
                  <a:tcPr/>
                </a:tc>
                <a:extLst>
                  <a:ext uri="{0D108BD9-81ED-4DB2-BD59-A6C34878D82A}">
                    <a16:rowId xmlns:a16="http://schemas.microsoft.com/office/drawing/2014/main" val="2971400381"/>
                  </a:ext>
                </a:extLst>
              </a:tr>
              <a:tr h="989756">
                <a:tc>
                  <a:txBody>
                    <a:bodyPr/>
                    <a:lstStyle/>
                    <a:p>
                      <a:pPr marL="342900" indent="-342900">
                        <a:buFont typeface="+mj-lt"/>
                        <a:buAutoNum type="arabicPeriod" startAt="2"/>
                      </a:pPr>
                      <a:r>
                        <a:rPr lang="nl-NL" sz="1400"/>
                        <a:t>IT-Delivery</a:t>
                      </a: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l-NL" sz="1400" u="sng"/>
                        <a:t>Opstellen planning per dienst</a:t>
                      </a:r>
                      <a:r>
                        <a:rPr lang="nl-NL" sz="1400"/>
                        <a:t>, waarbij de uitvoering van werkzaamheden zoveel als mogelijk gelijktijdig worden uitgevoerd, om de doorlooptijd te minimaliseren (geen meer-jaren planning). </a:t>
                      </a:r>
                      <a:r>
                        <a:rPr lang="nl-NL" sz="1600"/>
                        <a:t>*</a:t>
                      </a:r>
                    </a:p>
                    <a:p>
                      <a:pPr marL="0" marR="0" lvl="0" indent="0" algn="l" defTabSz="914126" rtl="0" eaLnBrk="1" fontAlgn="auto" latinLnBrk="0" hangingPunct="1">
                        <a:lnSpc>
                          <a:spcPct val="100000"/>
                        </a:lnSpc>
                        <a:spcBef>
                          <a:spcPts val="0"/>
                        </a:spcBef>
                        <a:spcAft>
                          <a:spcPts val="0"/>
                        </a:spcAft>
                        <a:buClrTx/>
                        <a:buSzTx/>
                        <a:buFontTx/>
                        <a:buNone/>
                        <a:tabLst/>
                        <a:defRPr/>
                      </a:pPr>
                      <a:endParaRPr lang="nl-NL" sz="1600"/>
                    </a:p>
                  </a:txBody>
                  <a:tcPr/>
                </a:tc>
                <a:tc>
                  <a:txBody>
                    <a:bodyPr/>
                    <a:lstStyle/>
                    <a:p>
                      <a:pPr algn="ctr"/>
                      <a:endParaRPr lang="nl-NL" sz="1400"/>
                    </a:p>
                  </a:txBody>
                  <a:tcPr/>
                </a:tc>
                <a:extLst>
                  <a:ext uri="{0D108BD9-81ED-4DB2-BD59-A6C34878D82A}">
                    <a16:rowId xmlns:a16="http://schemas.microsoft.com/office/drawing/2014/main" val="436930641"/>
                  </a:ext>
                </a:extLst>
              </a:tr>
              <a:tr h="1349667">
                <a:tc>
                  <a:txBody>
                    <a:bodyPr/>
                    <a:lstStyle/>
                    <a:p>
                      <a:pPr marL="342900" indent="-342900">
                        <a:buFont typeface="+mj-lt"/>
                        <a:buAutoNum type="arabicPeriod" startAt="3"/>
                      </a:pPr>
                      <a:r>
                        <a:rPr lang="nl-NL" sz="1400"/>
                        <a:t>Divisies/business</a:t>
                      </a: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l-NL" sz="1400"/>
                        <a:t>Aan de verschillende </a:t>
                      </a:r>
                      <a:r>
                        <a:rPr lang="nl-NL" sz="1400" u="sng"/>
                        <a:t>divisies</a:t>
                      </a:r>
                      <a:r>
                        <a:rPr lang="nl-NL" sz="1400"/>
                        <a:t> (minimaal welke momenteel zijn aangesloten op de SG Privacy </a:t>
                      </a:r>
                      <a:r>
                        <a:rPr lang="nl-NL" sz="1400" err="1"/>
                        <a:t>Deepdive</a:t>
                      </a:r>
                      <a:r>
                        <a:rPr lang="nl-NL" sz="1400"/>
                        <a:t>) zal worden </a:t>
                      </a:r>
                      <a:r>
                        <a:rPr lang="nl-NL" sz="1400" u="sng"/>
                        <a:t>gevraagd om een aansluitplan te </a:t>
                      </a:r>
                      <a:r>
                        <a:rPr lang="nl-NL" sz="1400" u="none"/>
                        <a:t>formuleren, op</a:t>
                      </a:r>
                      <a:r>
                        <a:rPr lang="nl-NL" sz="1400"/>
                        <a:t> de bovengenoemde dienstontwikkeling, en de daaruit volgende werkzaamheden te prioriteren (opname in divisie </a:t>
                      </a:r>
                      <a:r>
                        <a:rPr lang="nl-NL" sz="1400" err="1"/>
                        <a:t>roadmap</a:t>
                      </a:r>
                      <a:r>
                        <a:rPr lang="nl-NL" sz="1400"/>
                        <a:t>/prioritering binnen de eigen </a:t>
                      </a:r>
                      <a:r>
                        <a:rPr lang="nl-NL" sz="1400" err="1"/>
                        <a:t>Art’s</a:t>
                      </a:r>
                      <a:r>
                        <a:rPr lang="nl-NL" sz="1400"/>
                        <a:t>/etc.)</a:t>
                      </a:r>
                    </a:p>
                    <a:p>
                      <a:endParaRPr lang="nl-NL" sz="1400"/>
                    </a:p>
                  </a:txBody>
                  <a:tcPr/>
                </a:tc>
                <a:tc>
                  <a:txBody>
                    <a:bodyPr/>
                    <a:lstStyle/>
                    <a:p>
                      <a:pPr algn="ctr"/>
                      <a:endParaRPr lang="nl-NL" sz="1400"/>
                    </a:p>
                  </a:txBody>
                  <a:tcPr/>
                </a:tc>
                <a:extLst>
                  <a:ext uri="{0D108BD9-81ED-4DB2-BD59-A6C34878D82A}">
                    <a16:rowId xmlns:a16="http://schemas.microsoft.com/office/drawing/2014/main" val="3244119646"/>
                  </a:ext>
                </a:extLst>
              </a:tr>
              <a:tr h="719823">
                <a:tc>
                  <a:txBody>
                    <a:bodyPr/>
                    <a:lstStyle/>
                    <a:p>
                      <a:pPr marL="342900" indent="-342900">
                        <a:buFont typeface="+mj-lt"/>
                        <a:buAutoNum type="arabicPeriod" startAt="4"/>
                      </a:pPr>
                      <a:r>
                        <a:rPr lang="nl-NL" sz="1400"/>
                        <a:t>Budget</a:t>
                      </a:r>
                    </a:p>
                  </a:txBody>
                  <a:tcPr/>
                </a:tc>
                <a:tc>
                  <a:txBody>
                    <a:bodyPr/>
                    <a:lstStyle/>
                    <a:p>
                      <a:r>
                        <a:rPr lang="nl-NL" sz="1400"/>
                        <a:t>Op het bovenstaande te kunnen uitvoeren zal budget gevraagd worden voor zowel delivery als voor de business zelf. Deze BC zal aansluitend op het bovenstaande worden opgesteld.</a:t>
                      </a:r>
                    </a:p>
                  </a:txBody>
                  <a:tcPr/>
                </a:tc>
                <a:tc>
                  <a:txBody>
                    <a:bodyPr/>
                    <a:lstStyle/>
                    <a:p>
                      <a:pPr algn="ctr"/>
                      <a:endParaRPr lang="nl-NL" sz="1400"/>
                    </a:p>
                  </a:txBody>
                  <a:tcPr/>
                </a:tc>
                <a:extLst>
                  <a:ext uri="{0D108BD9-81ED-4DB2-BD59-A6C34878D82A}">
                    <a16:rowId xmlns:a16="http://schemas.microsoft.com/office/drawing/2014/main" val="617313663"/>
                  </a:ext>
                </a:extLst>
              </a:tr>
              <a:tr h="539867">
                <a:tc gridSpan="3">
                  <a:txBody>
                    <a:bodyPr/>
                    <a:lstStyle/>
                    <a:p>
                      <a:pPr marL="0" indent="0">
                        <a:buFont typeface="+mj-lt"/>
                        <a:buNone/>
                      </a:pPr>
                      <a:r>
                        <a:rPr lang="nl-NL" sz="1600"/>
                        <a:t>* NB: </a:t>
                      </a:r>
                      <a:r>
                        <a:rPr lang="nl-NL" sz="1400"/>
                        <a:t>Zoals uit de bijlagen in deze presentatie blijkt, is er veel samenhang tussen de diensten </a:t>
                      </a:r>
                      <a:r>
                        <a:rPr lang="nl-NL" sz="1400" err="1"/>
                        <a:t>Scantooling</a:t>
                      </a:r>
                      <a:r>
                        <a:rPr lang="nl-NL" sz="1400"/>
                        <a:t>, Dataprotectie en Retentie &amp; Archiveren. De dienst Beveiligd mailen staat meer zelfstandig t.o.v. deze diensten en kent een hoge prioriteit </a:t>
                      </a:r>
                    </a:p>
                  </a:txBody>
                  <a:tcPr/>
                </a:tc>
                <a:tc hMerge="1">
                  <a:txBody>
                    <a:bodyPr/>
                    <a:lstStyle/>
                    <a:p>
                      <a:endParaRPr lang="nl-NL" sz="1400"/>
                    </a:p>
                  </a:txBody>
                  <a:tcPr/>
                </a:tc>
                <a:tc hMerge="1">
                  <a:txBody>
                    <a:bodyPr/>
                    <a:lstStyle/>
                    <a:p>
                      <a:endParaRPr lang="nl-NL" sz="1400"/>
                    </a:p>
                  </a:txBody>
                  <a:tcPr/>
                </a:tc>
                <a:extLst>
                  <a:ext uri="{0D108BD9-81ED-4DB2-BD59-A6C34878D82A}">
                    <a16:rowId xmlns:a16="http://schemas.microsoft.com/office/drawing/2014/main" val="156790125"/>
                  </a:ext>
                </a:extLst>
              </a:tr>
            </a:tbl>
          </a:graphicData>
        </a:graphic>
      </p:graphicFrame>
    </p:spTree>
    <p:extLst>
      <p:ext uri="{BB962C8B-B14F-4D97-AF65-F5344CB8AC3E}">
        <p14:creationId xmlns:p14="http://schemas.microsoft.com/office/powerpoint/2010/main" val="30452466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7FD0A5-D984-A7FA-D57A-96165C122475}"/>
              </a:ext>
            </a:extLst>
          </p:cNvPr>
          <p:cNvSpPr>
            <a:spLocks noGrp="1"/>
          </p:cNvSpPr>
          <p:nvPr>
            <p:ph type="title"/>
          </p:nvPr>
        </p:nvSpPr>
        <p:spPr>
          <a:xfrm>
            <a:off x="539751" y="327330"/>
            <a:ext cx="11112000" cy="301061"/>
          </a:xfrm>
        </p:spPr>
        <p:txBody>
          <a:bodyPr/>
          <a:lstStyle/>
          <a:p>
            <a:r>
              <a:rPr lang="nl-NL">
                <a:solidFill>
                  <a:srgbClr val="3E7FA2"/>
                </a:solidFill>
              </a:rPr>
              <a:t>Inleiding, Probleemstelling en Oplossing</a:t>
            </a:r>
          </a:p>
        </p:txBody>
      </p:sp>
      <p:sp>
        <p:nvSpPr>
          <p:cNvPr id="3" name="Tijdelijke aanduiding voor verticale tekst 2">
            <a:extLst>
              <a:ext uri="{FF2B5EF4-FFF2-40B4-BE49-F238E27FC236}">
                <a16:creationId xmlns:a16="http://schemas.microsoft.com/office/drawing/2014/main" id="{81B126F1-B9E3-2569-3DDA-B93792FE6430}"/>
              </a:ext>
            </a:extLst>
          </p:cNvPr>
          <p:cNvSpPr>
            <a:spLocks noGrp="1"/>
          </p:cNvSpPr>
          <p:nvPr>
            <p:ph type="body" orient="vert" idx="1"/>
          </p:nvPr>
        </p:nvSpPr>
        <p:spPr>
          <a:xfrm>
            <a:off x="539751" y="657656"/>
            <a:ext cx="11553023" cy="5829478"/>
          </a:xfrm>
        </p:spPr>
        <p:txBody>
          <a:bodyPr vert="horz" lIns="0" tIns="0" rIns="0" bIns="0" rtlCol="0" anchor="t">
            <a:noAutofit/>
          </a:bodyPr>
          <a:lstStyle/>
          <a:p>
            <a:pPr marL="0" marR="0" lvl="0" indent="0" algn="l" defTabSz="1279525"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rgbClr val="000000"/>
              </a:solidFill>
              <a:effectLst/>
              <a:uLnTx/>
              <a:uFillTx/>
              <a:ea typeface="+mn-ea"/>
              <a:cs typeface="+mn-cs"/>
            </a:endParaRPr>
          </a:p>
          <a:p>
            <a:pPr marL="0" marR="0" lvl="0" indent="0" algn="l" defTabSz="1279525"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chemeClr val="tx2"/>
                </a:solidFill>
                <a:effectLst/>
                <a:uLnTx/>
                <a:uFillTx/>
                <a:ea typeface="+mn-ea"/>
                <a:cs typeface="+mn-cs"/>
              </a:rPr>
              <a:t>Inleiding</a:t>
            </a:r>
          </a:p>
          <a:p>
            <a:pPr marL="0" marR="0" lvl="0" indent="0" algn="l" defTabSz="1279525" rtl="0" eaLnBrk="1" fontAlgn="auto" latinLnBrk="0" hangingPunct="1">
              <a:lnSpc>
                <a:spcPct val="100000"/>
              </a:lnSpc>
              <a:spcBef>
                <a:spcPts val="0"/>
              </a:spcBef>
              <a:spcAft>
                <a:spcPts val="0"/>
              </a:spcAft>
              <a:buClrTx/>
              <a:buSzTx/>
              <a:buFontTx/>
              <a:buNone/>
              <a:tabLst/>
              <a:defRPr/>
            </a:pPr>
            <a:r>
              <a:rPr lang="nl-NL" sz="1400">
                <a:solidFill>
                  <a:srgbClr val="000000"/>
                </a:solidFill>
              </a:rPr>
              <a:t>In de </a:t>
            </a:r>
            <a:r>
              <a:rPr lang="nl-NL" sz="1400" err="1">
                <a:solidFill>
                  <a:srgbClr val="000000"/>
                </a:solidFill>
              </a:rPr>
              <a:t>waardestroom</a:t>
            </a:r>
            <a:r>
              <a:rPr lang="nl-NL" sz="1400">
                <a:solidFill>
                  <a:srgbClr val="000000"/>
                </a:solidFill>
              </a:rPr>
              <a:t> Data en Digitaal wordt invulling gegeven aan de </a:t>
            </a:r>
            <a:r>
              <a:rPr lang="nl-NL" sz="1400" err="1">
                <a:solidFill>
                  <a:srgbClr val="000000"/>
                </a:solidFill>
              </a:rPr>
              <a:t>purposebouwsteen</a:t>
            </a:r>
            <a:r>
              <a:rPr lang="nl-NL" sz="1400">
                <a:solidFill>
                  <a:srgbClr val="000000"/>
                </a:solidFill>
              </a:rPr>
              <a:t> Expertise in Data en Digital als onderdeel van de Achmea visie Duurzaam Samen Leven. Om invulling te kunnen geven aan efficiënte en effectieve processen, het aanbieden van waardevolle informatieproducten en services o.b.v. onze data, waarbij klanten, medewerkers en partners hun eigen data kunnen inzien en muteren, moet data digitaal </a:t>
            </a:r>
            <a:r>
              <a:rPr lang="nl-NL" sz="1400" err="1">
                <a:solidFill>
                  <a:srgbClr val="000000"/>
                </a:solidFill>
              </a:rPr>
              <a:t>ontsluitbaar</a:t>
            </a:r>
            <a:r>
              <a:rPr lang="nl-NL" sz="1400">
                <a:solidFill>
                  <a:srgbClr val="000000"/>
                </a:solidFill>
              </a:rPr>
              <a:t> zijn, veilig zijn (secure), de privacy ervan geborgd zijn, en deze data tijdig worden vernietigd c.q. lang genoeg worden bewaard (</a:t>
            </a:r>
            <a:r>
              <a:rPr lang="nl-NL" sz="1400" err="1">
                <a:solidFill>
                  <a:srgbClr val="000000"/>
                </a:solidFill>
              </a:rPr>
              <a:t>compliancy</a:t>
            </a:r>
            <a:r>
              <a:rPr lang="nl-NL" sz="1400">
                <a:solidFill>
                  <a:srgbClr val="000000"/>
                </a:solidFill>
              </a:rPr>
              <a:t>).</a:t>
            </a:r>
          </a:p>
          <a:p>
            <a:pPr marL="0" marR="0" lvl="0" indent="0" algn="l" defTabSz="1279525" rtl="0" eaLnBrk="1" fontAlgn="auto" latinLnBrk="0" hangingPunct="1">
              <a:lnSpc>
                <a:spcPct val="100000"/>
              </a:lnSpc>
              <a:spcBef>
                <a:spcPts val="0"/>
              </a:spcBef>
              <a:spcAft>
                <a:spcPts val="0"/>
              </a:spcAft>
              <a:buClrTx/>
              <a:buSzTx/>
              <a:buFontTx/>
              <a:buNone/>
              <a:tabLst/>
              <a:defRPr/>
            </a:pPr>
            <a:r>
              <a:rPr lang="nl-NL" sz="1400">
                <a:solidFill>
                  <a:srgbClr val="000000"/>
                </a:solidFill>
              </a:rPr>
              <a:t>Hiervoor is het noodzakelijk dat we grip krijgen op de ongestructureerde data van Achmea. </a:t>
            </a:r>
          </a:p>
          <a:p>
            <a:pPr marL="0" indent="0" defTabSz="1279525">
              <a:spcBef>
                <a:spcPts val="0"/>
              </a:spcBef>
              <a:spcAft>
                <a:spcPts val="0"/>
              </a:spcAft>
              <a:buClrTx/>
              <a:buNone/>
              <a:defRPr/>
            </a:pPr>
            <a:endParaRPr lang="nl-NL" sz="1400" b="1">
              <a:solidFill>
                <a:srgbClr val="000000"/>
              </a:solidFill>
            </a:endParaRPr>
          </a:p>
          <a:p>
            <a:pPr marL="0" indent="0" defTabSz="1279525">
              <a:spcBef>
                <a:spcPts val="0"/>
              </a:spcBef>
              <a:spcAft>
                <a:spcPts val="0"/>
              </a:spcAft>
              <a:buClrTx/>
              <a:buNone/>
              <a:defRPr/>
            </a:pPr>
            <a:r>
              <a:rPr lang="nl-NL" sz="1400" b="1">
                <a:solidFill>
                  <a:schemeClr val="tx2"/>
                </a:solidFill>
              </a:rPr>
              <a:t>Probleemstelling</a:t>
            </a:r>
          </a:p>
          <a:p>
            <a:pPr marL="0" marR="0" lvl="0" indent="0" algn="l" defTabSz="1279525" rtl="0" eaLnBrk="1" fontAlgn="auto" latinLnBrk="0" hangingPunct="1">
              <a:lnSpc>
                <a:spcPct val="100000"/>
              </a:lnSpc>
              <a:spcBef>
                <a:spcPts val="0"/>
              </a:spcBef>
              <a:spcAft>
                <a:spcPts val="0"/>
              </a:spcAft>
              <a:buClrTx/>
              <a:buSzTx/>
              <a:buFontTx/>
              <a:buNone/>
              <a:tabLst/>
              <a:defRPr/>
            </a:pPr>
            <a:r>
              <a:rPr lang="nl-NL" sz="1400">
                <a:solidFill>
                  <a:srgbClr val="000000"/>
                </a:solidFill>
              </a:rPr>
              <a:t>We ontwikkelen binnen Achmea verschillende diensten die er voor zorgen dat we grip krijgen op ongestructureerde data. De samenhang van verschillende diensten is niet altijd overal voldoende bekend. IT en business vinden elkaar in deze individuele trajecten onvoldoende om de juiste snelheid te genereren die nodig is om grip op ongestructureerde data te realiseren. </a:t>
            </a:r>
            <a:r>
              <a:rPr kumimoji="0" lang="nl-NL" sz="1400" b="0" i="0" u="none" strike="noStrike" kern="1200" cap="none" spc="0" normalizeH="0" baseline="0" noProof="0">
                <a:ln>
                  <a:noFill/>
                </a:ln>
                <a:solidFill>
                  <a:srgbClr val="000000"/>
                </a:solidFill>
                <a:effectLst/>
                <a:uLnTx/>
                <a:uFillTx/>
                <a:ea typeface="+mn-ea"/>
                <a:cs typeface="+mn-cs"/>
              </a:rPr>
              <a:t>In Q3 is door de stuurgroep Privacy vastgesteld dat er meer stuur, versnelling en samenhang op de verschillende trajecten moet komen. </a:t>
            </a:r>
          </a:p>
          <a:p>
            <a:pPr marL="0" marR="0" lvl="0" indent="0" algn="l" defTabSz="1279525"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rgbClr val="000000"/>
              </a:solidFill>
              <a:effectLst/>
              <a:uLnTx/>
              <a:uFillTx/>
              <a:ea typeface="+mn-ea"/>
              <a:cs typeface="+mn-cs"/>
            </a:endParaRPr>
          </a:p>
          <a:p>
            <a:pPr marL="0" marR="0" lvl="0" indent="0" algn="l" defTabSz="1279525"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chemeClr val="tx2"/>
                </a:solidFill>
                <a:effectLst/>
                <a:uLnTx/>
                <a:uFillTx/>
                <a:ea typeface="+mn-ea"/>
                <a:cs typeface="+mn-cs"/>
              </a:rPr>
              <a:t>Oplossing </a:t>
            </a:r>
          </a:p>
          <a:p>
            <a:pPr marL="0" indent="0" defTabSz="1279525">
              <a:spcBef>
                <a:spcPts val="0"/>
              </a:spcBef>
              <a:spcAft>
                <a:spcPts val="0"/>
              </a:spcAft>
              <a:buClrTx/>
              <a:buNone/>
              <a:defRPr/>
            </a:pPr>
            <a:r>
              <a:rPr kumimoji="0" lang="nl-NL" sz="1400" b="0" i="0" u="none" strike="noStrike" kern="1200" cap="none" spc="0" normalizeH="0" baseline="0" noProof="0">
                <a:ln>
                  <a:noFill/>
                </a:ln>
                <a:solidFill>
                  <a:srgbClr val="000000"/>
                </a:solidFill>
                <a:effectLst/>
                <a:uLnTx/>
                <a:uFillTx/>
                <a:ea typeface="+mn-ea"/>
                <a:cs typeface="+mn-cs"/>
              </a:rPr>
              <a:t>Vanuit het Strategische Security Overleg (SSO) zijn deze vraagstukken ook onderkend en is actie gevraagd. </a:t>
            </a:r>
            <a:r>
              <a:rPr lang="nl-NL" sz="1400">
                <a:solidFill>
                  <a:srgbClr val="000000"/>
                </a:solidFill>
                <a:ea typeface="Verdana" panose="020B0604030504040204" pitchFamily="34" charset="0"/>
              </a:rPr>
              <a:t>Om tegemoet te komen aan de wens tot versnelling is het voorstel om over te gaan tot een gezamenlijke integrale aanpak. </a:t>
            </a:r>
            <a:endParaRPr lang="nl-NL" sz="1400">
              <a:ea typeface="Verdana" panose="020B0604030504040204" pitchFamily="34" charset="0"/>
            </a:endParaRPr>
          </a:p>
          <a:p>
            <a:pPr marL="0" marR="0" lvl="0" indent="0" algn="l" defTabSz="1279525"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000000"/>
              </a:solidFill>
              <a:effectLst/>
              <a:uLnTx/>
              <a:uFillTx/>
              <a:ea typeface="+mn-ea"/>
              <a:cs typeface="+mn-cs"/>
            </a:endParaRPr>
          </a:p>
          <a:p>
            <a:pPr marL="0" marR="0" lvl="0" indent="0" algn="l" defTabSz="1279525"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ea typeface="+mn-ea"/>
                <a:cs typeface="+mn-cs"/>
              </a:rPr>
              <a:t>Dit plan van aanpak gaat in op </a:t>
            </a:r>
            <a:r>
              <a:rPr lang="nl-NL" sz="1400">
                <a:solidFill>
                  <a:srgbClr val="000000"/>
                </a:solidFill>
              </a:rPr>
              <a:t>het neerzetten, </a:t>
            </a:r>
            <a:r>
              <a:rPr lang="nl-NL" sz="1400" err="1">
                <a:solidFill>
                  <a:srgbClr val="000000"/>
                </a:solidFill>
              </a:rPr>
              <a:t>doorontwikkelen</a:t>
            </a:r>
            <a:r>
              <a:rPr lang="nl-NL" sz="1400">
                <a:solidFill>
                  <a:srgbClr val="000000"/>
                </a:solidFill>
              </a:rPr>
              <a:t> en implementeren van de diensten waarmee invulling wordt gegeven aan het besturen en beheren van je data. Dit langs de as van de volgende 4 kerngebieden: </a:t>
            </a:r>
          </a:p>
          <a:p>
            <a:pPr lvl="1" defTabSz="1279525">
              <a:spcBef>
                <a:spcPts val="0"/>
              </a:spcBef>
              <a:spcAft>
                <a:spcPts val="0"/>
              </a:spcAft>
              <a:buClrTx/>
              <a:buFont typeface="Arial" panose="020B0604020202020204" pitchFamily="34" charset="0"/>
              <a:buChar char="•"/>
              <a:defRPr/>
            </a:pPr>
            <a:r>
              <a:rPr lang="nl-NL" sz="1400">
                <a:solidFill>
                  <a:srgbClr val="000000"/>
                </a:solidFill>
              </a:rPr>
              <a:t>Ken je data</a:t>
            </a:r>
          </a:p>
          <a:p>
            <a:pPr lvl="1" defTabSz="1279525">
              <a:spcBef>
                <a:spcPts val="0"/>
              </a:spcBef>
              <a:spcAft>
                <a:spcPts val="0"/>
              </a:spcAft>
              <a:buClrTx/>
              <a:buFont typeface="Arial" panose="020B0604020202020204" pitchFamily="34" charset="0"/>
              <a:buChar char="•"/>
              <a:defRPr/>
            </a:pPr>
            <a:r>
              <a:rPr lang="nl-NL" sz="1400">
                <a:solidFill>
                  <a:srgbClr val="000000"/>
                </a:solidFill>
              </a:rPr>
              <a:t>Bescherm je data</a:t>
            </a:r>
          </a:p>
          <a:p>
            <a:pPr lvl="1" defTabSz="1279525">
              <a:spcBef>
                <a:spcPts val="0"/>
              </a:spcBef>
              <a:spcAft>
                <a:spcPts val="0"/>
              </a:spcAft>
              <a:buClrTx/>
              <a:buFont typeface="Arial" panose="020B0604020202020204" pitchFamily="34" charset="0"/>
              <a:buChar char="•"/>
              <a:defRPr/>
            </a:pPr>
            <a:r>
              <a:rPr lang="nl-NL" sz="1400">
                <a:solidFill>
                  <a:srgbClr val="000000"/>
                </a:solidFill>
              </a:rPr>
              <a:t>Voorkom </a:t>
            </a:r>
            <a:r>
              <a:rPr lang="nl-NL" sz="1400" err="1">
                <a:solidFill>
                  <a:srgbClr val="000000"/>
                </a:solidFill>
              </a:rPr>
              <a:t>datalek</a:t>
            </a:r>
            <a:endParaRPr lang="nl-NL" sz="1400">
              <a:solidFill>
                <a:srgbClr val="000000"/>
              </a:solidFill>
            </a:endParaRPr>
          </a:p>
          <a:p>
            <a:pPr lvl="1" defTabSz="1279525">
              <a:spcBef>
                <a:spcPts val="0"/>
              </a:spcBef>
              <a:spcAft>
                <a:spcPts val="0"/>
              </a:spcAft>
              <a:buClrTx/>
              <a:buFont typeface="Arial" panose="020B0604020202020204" pitchFamily="34" charset="0"/>
              <a:buChar char="•"/>
              <a:defRPr/>
            </a:pPr>
            <a:r>
              <a:rPr lang="nl-NL" sz="1400">
                <a:solidFill>
                  <a:srgbClr val="000000"/>
                </a:solidFill>
              </a:rPr>
              <a:t>Grip op data  </a:t>
            </a:r>
          </a:p>
          <a:p>
            <a:pPr marL="0" marR="0" lvl="0" indent="0" algn="l" defTabSz="1279525" rtl="0" eaLnBrk="1" fontAlgn="auto" latinLnBrk="0" hangingPunct="1">
              <a:lnSpc>
                <a:spcPct val="100000"/>
              </a:lnSpc>
              <a:spcBef>
                <a:spcPts val="0"/>
              </a:spcBef>
              <a:spcAft>
                <a:spcPts val="0"/>
              </a:spcAft>
              <a:buClrTx/>
              <a:buSzTx/>
              <a:buNone/>
              <a:tabLst/>
              <a:defRPr/>
            </a:pPr>
            <a:endParaRPr lang="nl-NL" sz="1400">
              <a:solidFill>
                <a:srgbClr val="000000"/>
              </a:solidFill>
            </a:endParaRPr>
          </a:p>
          <a:p>
            <a:pPr marL="0" marR="0" lvl="0" indent="0" algn="l" defTabSz="1279525"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0000"/>
                </a:solidFill>
                <a:effectLst/>
                <a:uLnTx/>
                <a:uFillTx/>
                <a:ea typeface="+mn-ea"/>
                <a:cs typeface="+mn-cs"/>
              </a:rPr>
              <a:t>Hiermee komen we tot een </a:t>
            </a:r>
            <a:r>
              <a:rPr kumimoji="0" lang="nl-NL" sz="1400" b="0" i="0" u="none" strike="noStrike" kern="1200" cap="none" spc="0" normalizeH="0" baseline="0" noProof="0" err="1">
                <a:ln>
                  <a:noFill/>
                </a:ln>
                <a:solidFill>
                  <a:srgbClr val="000000"/>
                </a:solidFill>
                <a:effectLst/>
                <a:uLnTx/>
                <a:uFillTx/>
                <a:ea typeface="+mn-ea"/>
                <a:cs typeface="+mn-cs"/>
              </a:rPr>
              <a:t>handshake</a:t>
            </a:r>
            <a:r>
              <a:rPr kumimoji="0" lang="nl-NL" sz="1400" b="0" i="0" u="none" strike="noStrike" kern="1200" cap="none" spc="0" normalizeH="0" baseline="0" noProof="0">
                <a:ln>
                  <a:noFill/>
                </a:ln>
                <a:solidFill>
                  <a:srgbClr val="000000"/>
                </a:solidFill>
                <a:effectLst/>
                <a:uLnTx/>
                <a:uFillTx/>
                <a:ea typeface="+mn-ea"/>
                <a:cs typeface="+mn-cs"/>
              </a:rPr>
              <a:t> tussen IT en Business om meer grip op </a:t>
            </a:r>
            <a:r>
              <a:rPr lang="nl-NL" sz="1400">
                <a:solidFill>
                  <a:srgbClr val="000000"/>
                </a:solidFill>
              </a:rPr>
              <a:t>ongestructureerde data te krijgen.</a:t>
            </a:r>
            <a:endParaRPr lang="nl-NL" sz="1400"/>
          </a:p>
        </p:txBody>
      </p:sp>
      <p:sp>
        <p:nvSpPr>
          <p:cNvPr id="5" name="Tijdelijke aanduiding voor dianummer 4">
            <a:extLst>
              <a:ext uri="{FF2B5EF4-FFF2-40B4-BE49-F238E27FC236}">
                <a16:creationId xmlns:a16="http://schemas.microsoft.com/office/drawing/2014/main" id="{7C27F2DE-8876-BE76-8093-77BC00CEAA00}"/>
              </a:ext>
            </a:extLst>
          </p:cNvPr>
          <p:cNvSpPr>
            <a:spLocks noGrp="1"/>
          </p:cNvSpPr>
          <p:nvPr>
            <p:ph type="sldNum" sz="quarter" idx="12"/>
          </p:nvPr>
        </p:nvSpPr>
        <p:spPr/>
        <p:txBody>
          <a:bodyPr/>
          <a:lstStyle/>
          <a:p>
            <a:pPr defTabSz="915215"/>
            <a:fld id="{8D374ABD-355D-4B52-8A38-020B3DD5CC75}" type="slidenum">
              <a:rPr lang="nl-NL">
                <a:latin typeface="Calibri"/>
              </a:rPr>
              <a:pPr defTabSz="915215"/>
              <a:t>3</a:t>
            </a:fld>
            <a:endParaRPr lang="nl-NL">
              <a:latin typeface="Calibri"/>
            </a:endParaRPr>
          </a:p>
        </p:txBody>
      </p:sp>
      <p:sp>
        <p:nvSpPr>
          <p:cNvPr id="8" name="Tijdelijke aanduiding voor tekst 7">
            <a:extLst>
              <a:ext uri="{FF2B5EF4-FFF2-40B4-BE49-F238E27FC236}">
                <a16:creationId xmlns:a16="http://schemas.microsoft.com/office/drawing/2014/main" id="{B38B0E56-23C6-7E9E-860D-66A63D83A797}"/>
              </a:ext>
            </a:extLst>
          </p:cNvPr>
          <p:cNvSpPr>
            <a:spLocks noGrp="1"/>
          </p:cNvSpPr>
          <p:nvPr>
            <p:ph type="body" sz="quarter" idx="15"/>
          </p:nvPr>
        </p:nvSpPr>
        <p:spPr/>
        <p:txBody>
          <a:bodyPr/>
          <a:lstStyle/>
          <a:p>
            <a:endParaRPr lang="nl-NL"/>
          </a:p>
        </p:txBody>
      </p:sp>
    </p:spTree>
    <p:extLst>
      <p:ext uri="{BB962C8B-B14F-4D97-AF65-F5344CB8AC3E}">
        <p14:creationId xmlns:p14="http://schemas.microsoft.com/office/powerpoint/2010/main" val="1163796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7FD0A5-D984-A7FA-D57A-96165C122475}"/>
              </a:ext>
            </a:extLst>
          </p:cNvPr>
          <p:cNvSpPr>
            <a:spLocks noGrp="1"/>
          </p:cNvSpPr>
          <p:nvPr>
            <p:ph type="title"/>
          </p:nvPr>
        </p:nvSpPr>
        <p:spPr>
          <a:xfrm>
            <a:off x="539751" y="327330"/>
            <a:ext cx="11112000" cy="301061"/>
          </a:xfrm>
        </p:spPr>
        <p:txBody>
          <a:bodyPr/>
          <a:lstStyle/>
          <a:p>
            <a:r>
              <a:rPr lang="nl-NL">
                <a:solidFill>
                  <a:srgbClr val="3E7FA2"/>
                </a:solidFill>
              </a:rPr>
              <a:t>Welke problemen gaan we oplossen </a:t>
            </a:r>
          </a:p>
        </p:txBody>
      </p:sp>
      <p:sp>
        <p:nvSpPr>
          <p:cNvPr id="3" name="Tijdelijke aanduiding voor verticale tekst 2">
            <a:extLst>
              <a:ext uri="{FF2B5EF4-FFF2-40B4-BE49-F238E27FC236}">
                <a16:creationId xmlns:a16="http://schemas.microsoft.com/office/drawing/2014/main" id="{81B126F1-B9E3-2569-3DDA-B93792FE6430}"/>
              </a:ext>
            </a:extLst>
          </p:cNvPr>
          <p:cNvSpPr>
            <a:spLocks noGrp="1"/>
          </p:cNvSpPr>
          <p:nvPr>
            <p:ph type="body" orient="vert" idx="1"/>
          </p:nvPr>
        </p:nvSpPr>
        <p:spPr>
          <a:xfrm>
            <a:off x="539751" y="657656"/>
            <a:ext cx="11553023" cy="5829478"/>
          </a:xfrm>
        </p:spPr>
        <p:txBody>
          <a:bodyPr vert="horz" lIns="0" tIns="0" rIns="0" bIns="0" rtlCol="0" anchor="t">
            <a:noAutofit/>
          </a:bodyPr>
          <a:lstStyle/>
          <a:p>
            <a:pPr marL="0" marR="0" lvl="0" indent="0" algn="l" defTabSz="1279525"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rgbClr val="000000"/>
              </a:solidFill>
              <a:effectLst/>
              <a:uLnTx/>
              <a:uFillTx/>
              <a:ea typeface="+mn-ea"/>
              <a:cs typeface="+mn-cs"/>
            </a:endParaRPr>
          </a:p>
          <a:p>
            <a:pPr marL="0" marR="0" lvl="0" indent="0" algn="l" defTabSz="1279525"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chemeClr val="tx2"/>
                </a:solidFill>
                <a:effectLst/>
                <a:uLnTx/>
                <a:uFillTx/>
                <a:ea typeface="+mn-ea"/>
                <a:cs typeface="+mn-cs"/>
              </a:rPr>
              <a:t> </a:t>
            </a:r>
            <a:endParaRPr lang="nl-NL" sz="1400"/>
          </a:p>
        </p:txBody>
      </p:sp>
      <p:sp>
        <p:nvSpPr>
          <p:cNvPr id="5" name="Tijdelijke aanduiding voor dianummer 4">
            <a:extLst>
              <a:ext uri="{FF2B5EF4-FFF2-40B4-BE49-F238E27FC236}">
                <a16:creationId xmlns:a16="http://schemas.microsoft.com/office/drawing/2014/main" id="{7C27F2DE-8876-BE76-8093-77BC00CEAA00}"/>
              </a:ext>
            </a:extLst>
          </p:cNvPr>
          <p:cNvSpPr>
            <a:spLocks noGrp="1"/>
          </p:cNvSpPr>
          <p:nvPr>
            <p:ph type="sldNum" sz="quarter" idx="12"/>
          </p:nvPr>
        </p:nvSpPr>
        <p:spPr/>
        <p:txBody>
          <a:bodyPr/>
          <a:lstStyle/>
          <a:p>
            <a:pPr defTabSz="915215"/>
            <a:fld id="{8D374ABD-355D-4B52-8A38-020B3DD5CC75}" type="slidenum">
              <a:rPr lang="nl-NL">
                <a:latin typeface="Calibri"/>
              </a:rPr>
              <a:pPr defTabSz="915215"/>
              <a:t>4</a:t>
            </a:fld>
            <a:endParaRPr lang="nl-NL">
              <a:latin typeface="Calibri"/>
            </a:endParaRPr>
          </a:p>
        </p:txBody>
      </p:sp>
      <p:sp>
        <p:nvSpPr>
          <p:cNvPr id="8" name="Tijdelijke aanduiding voor tekst 7">
            <a:extLst>
              <a:ext uri="{FF2B5EF4-FFF2-40B4-BE49-F238E27FC236}">
                <a16:creationId xmlns:a16="http://schemas.microsoft.com/office/drawing/2014/main" id="{B38B0E56-23C6-7E9E-860D-66A63D83A797}"/>
              </a:ext>
            </a:extLst>
          </p:cNvPr>
          <p:cNvSpPr>
            <a:spLocks noGrp="1"/>
          </p:cNvSpPr>
          <p:nvPr>
            <p:ph type="body" sz="quarter" idx="15"/>
          </p:nvPr>
        </p:nvSpPr>
        <p:spPr/>
        <p:txBody>
          <a:bodyPr/>
          <a:lstStyle/>
          <a:p>
            <a:endParaRPr lang="nl-NL"/>
          </a:p>
        </p:txBody>
      </p:sp>
      <p:graphicFrame>
        <p:nvGraphicFramePr>
          <p:cNvPr id="4" name="Tabel 5">
            <a:extLst>
              <a:ext uri="{FF2B5EF4-FFF2-40B4-BE49-F238E27FC236}">
                <a16:creationId xmlns:a16="http://schemas.microsoft.com/office/drawing/2014/main" id="{DDBD004F-0023-FA2F-6A69-8E6A2FEF7B74}"/>
              </a:ext>
            </a:extLst>
          </p:cNvPr>
          <p:cNvGraphicFramePr>
            <a:graphicFrameLocks noGrp="1"/>
          </p:cNvGraphicFramePr>
          <p:nvPr>
            <p:extLst>
              <p:ext uri="{D42A27DB-BD31-4B8C-83A1-F6EECF244321}">
                <p14:modId xmlns:p14="http://schemas.microsoft.com/office/powerpoint/2010/main" val="352882348"/>
              </p:ext>
            </p:extLst>
          </p:nvPr>
        </p:nvGraphicFramePr>
        <p:xfrm>
          <a:off x="539751" y="1005611"/>
          <a:ext cx="11112000" cy="1854200"/>
        </p:xfrm>
        <a:graphic>
          <a:graphicData uri="http://schemas.openxmlformats.org/drawingml/2006/table">
            <a:tbl>
              <a:tblPr firstRow="1" bandRow="1">
                <a:tableStyleId>{5C22544A-7EE6-4342-B048-85BDC9FD1C3A}</a:tableStyleId>
              </a:tblPr>
              <a:tblGrid>
                <a:gridCol w="5383971">
                  <a:extLst>
                    <a:ext uri="{9D8B030D-6E8A-4147-A177-3AD203B41FA5}">
                      <a16:colId xmlns:a16="http://schemas.microsoft.com/office/drawing/2014/main" val="4179892867"/>
                    </a:ext>
                  </a:extLst>
                </a:gridCol>
                <a:gridCol w="5728029">
                  <a:extLst>
                    <a:ext uri="{9D8B030D-6E8A-4147-A177-3AD203B41FA5}">
                      <a16:colId xmlns:a16="http://schemas.microsoft.com/office/drawing/2014/main" val="3692136638"/>
                    </a:ext>
                  </a:extLst>
                </a:gridCol>
              </a:tblGrid>
              <a:tr h="370840">
                <a:tc>
                  <a:txBody>
                    <a:bodyPr/>
                    <a:lstStyle/>
                    <a:p>
                      <a:r>
                        <a:rPr lang="nl-NL"/>
                        <a:t>Probleem</a:t>
                      </a:r>
                    </a:p>
                  </a:txBody>
                  <a:tcPr/>
                </a:tc>
                <a:tc>
                  <a:txBody>
                    <a:bodyPr/>
                    <a:lstStyle/>
                    <a:p>
                      <a:r>
                        <a:rPr lang="nl-NL"/>
                        <a:t> Oplossing/dienst</a:t>
                      </a:r>
                    </a:p>
                  </a:txBody>
                  <a:tcPr/>
                </a:tc>
                <a:extLst>
                  <a:ext uri="{0D108BD9-81ED-4DB2-BD59-A6C34878D82A}">
                    <a16:rowId xmlns:a16="http://schemas.microsoft.com/office/drawing/2014/main" val="2987497075"/>
                  </a:ext>
                </a:extLst>
              </a:tr>
              <a:tr h="370840">
                <a:tc>
                  <a:txBody>
                    <a:bodyPr/>
                    <a:lstStyle/>
                    <a:p>
                      <a:r>
                        <a:rPr lang="nl-NL"/>
                        <a:t>We weten niet welke data waar staat met welke context </a:t>
                      </a:r>
                    </a:p>
                  </a:txBody>
                  <a:tcPr/>
                </a:tc>
                <a:tc>
                  <a:txBody>
                    <a:bodyPr/>
                    <a:lstStyle/>
                    <a:p>
                      <a:r>
                        <a:rPr lang="nl-NL"/>
                        <a:t>Scantooling</a:t>
                      </a:r>
                    </a:p>
                  </a:txBody>
                  <a:tcPr/>
                </a:tc>
                <a:extLst>
                  <a:ext uri="{0D108BD9-81ED-4DB2-BD59-A6C34878D82A}">
                    <a16:rowId xmlns:a16="http://schemas.microsoft.com/office/drawing/2014/main" val="670701066"/>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l-NL" sz="1800"/>
                        <a:t>We kunnen data niet goed classificeren</a:t>
                      </a:r>
                    </a:p>
                  </a:txBody>
                  <a:tcPr/>
                </a:tc>
                <a:tc>
                  <a:txBody>
                    <a:bodyPr/>
                    <a:lstStyle/>
                    <a:p>
                      <a:r>
                        <a:rPr lang="nl-NL"/>
                        <a:t>Information Protection*  </a:t>
                      </a:r>
                    </a:p>
                  </a:txBody>
                  <a:tcPr/>
                </a:tc>
                <a:extLst>
                  <a:ext uri="{0D108BD9-81ED-4DB2-BD59-A6C34878D82A}">
                    <a16:rowId xmlns:a16="http://schemas.microsoft.com/office/drawing/2014/main" val="2484100961"/>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l-NL" sz="1800"/>
                        <a:t>We kunnen niet vertrouwelijk data mailen</a:t>
                      </a:r>
                    </a:p>
                  </a:txBody>
                  <a:tcPr/>
                </a:tc>
                <a:tc>
                  <a:txBody>
                    <a:bodyPr/>
                    <a:lstStyle/>
                    <a:p>
                      <a:r>
                        <a:rPr lang="nl-NL"/>
                        <a:t>Beveiligd mailen, DLP</a:t>
                      </a:r>
                    </a:p>
                  </a:txBody>
                  <a:tcPr/>
                </a:tc>
                <a:extLst>
                  <a:ext uri="{0D108BD9-81ED-4DB2-BD59-A6C34878D82A}">
                    <a16:rowId xmlns:a16="http://schemas.microsoft.com/office/drawing/2014/main" val="876021611"/>
                  </a:ext>
                </a:extLst>
              </a:tr>
              <a:tr h="370840">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nl-NL" sz="1800"/>
                        <a:t>We bewaren data te lang of te kort </a:t>
                      </a:r>
                    </a:p>
                  </a:txBody>
                  <a:tcPr/>
                </a:tc>
                <a:tc>
                  <a:txBody>
                    <a:bodyPr/>
                    <a:lstStyle/>
                    <a:p>
                      <a:r>
                        <a:rPr lang="nl-NL"/>
                        <a:t>Retentie &amp; Archivering (R&amp;A)</a:t>
                      </a:r>
                    </a:p>
                  </a:txBody>
                  <a:tcPr/>
                </a:tc>
                <a:extLst>
                  <a:ext uri="{0D108BD9-81ED-4DB2-BD59-A6C34878D82A}">
                    <a16:rowId xmlns:a16="http://schemas.microsoft.com/office/drawing/2014/main" val="952520231"/>
                  </a:ext>
                </a:extLst>
              </a:tr>
            </a:tbl>
          </a:graphicData>
        </a:graphic>
      </p:graphicFrame>
      <p:sp>
        <p:nvSpPr>
          <p:cNvPr id="6" name="Tekstvak 5">
            <a:extLst>
              <a:ext uri="{FF2B5EF4-FFF2-40B4-BE49-F238E27FC236}">
                <a16:creationId xmlns:a16="http://schemas.microsoft.com/office/drawing/2014/main" id="{B7BEB6BD-30F4-268E-B62E-38371A715016}"/>
              </a:ext>
            </a:extLst>
          </p:cNvPr>
          <p:cNvSpPr txBox="1"/>
          <p:nvPr/>
        </p:nvSpPr>
        <p:spPr>
          <a:xfrm>
            <a:off x="389613" y="5169605"/>
            <a:ext cx="3625795" cy="763325"/>
          </a:xfrm>
          <a:prstGeom prst="rect">
            <a:avLst/>
          </a:prstGeom>
          <a:noFill/>
        </p:spPr>
        <p:txBody>
          <a:bodyPr wrap="square" lIns="0" tIns="0" rIns="0" bIns="0" rtlCol="0">
            <a:noAutofit/>
          </a:bodyPr>
          <a:lstStyle/>
          <a:p>
            <a:pPr algn="ctr"/>
            <a:r>
              <a:rPr lang="nl-NL" sz="1200"/>
              <a:t>*Voorheen Information </a:t>
            </a:r>
            <a:r>
              <a:rPr lang="nl-NL" sz="1200" err="1"/>
              <a:t>Rights</a:t>
            </a:r>
            <a:r>
              <a:rPr lang="nl-NL" sz="1200"/>
              <a:t> Management (IRM)</a:t>
            </a:r>
          </a:p>
          <a:p>
            <a:pPr algn="ctr"/>
            <a:endParaRPr lang="nl-NL" sz="1200"/>
          </a:p>
        </p:txBody>
      </p:sp>
      <p:sp>
        <p:nvSpPr>
          <p:cNvPr id="7" name="Pijl: omhoog 6">
            <a:extLst>
              <a:ext uri="{FF2B5EF4-FFF2-40B4-BE49-F238E27FC236}">
                <a16:creationId xmlns:a16="http://schemas.microsoft.com/office/drawing/2014/main" id="{331774DC-319B-41BC-D6E6-30D4EB299BFD}"/>
              </a:ext>
            </a:extLst>
          </p:cNvPr>
          <p:cNvSpPr/>
          <p:nvPr/>
        </p:nvSpPr>
        <p:spPr>
          <a:xfrm>
            <a:off x="4309608" y="3244425"/>
            <a:ext cx="3283888" cy="154056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600"/>
              <a:t>Integrale aanpak</a:t>
            </a:r>
          </a:p>
        </p:txBody>
      </p:sp>
    </p:spTree>
    <p:extLst>
      <p:ext uri="{BB962C8B-B14F-4D97-AF65-F5344CB8AC3E}">
        <p14:creationId xmlns:p14="http://schemas.microsoft.com/office/powerpoint/2010/main" val="1544157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fgeronde rechthoek 1"/>
          <p:cNvSpPr/>
          <p:nvPr/>
        </p:nvSpPr>
        <p:spPr>
          <a:xfrm>
            <a:off x="2721697" y="3543608"/>
            <a:ext cx="2251025" cy="19431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63" name="Object 62" hidden="1"/>
          <p:cNvGraphicFramePr>
            <a:graphicFrameLocks noChangeAspect="1"/>
          </p:cNvGraphicFramePr>
          <p:nvPr>
            <p:custDataLst>
              <p:tags r:id="rId1"/>
            </p:custDataLst>
          </p:nvPr>
        </p:nvGraphicFramePr>
        <p:xfrm>
          <a:off x="6" y="14"/>
          <a:ext cx="215979" cy="161975"/>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3" name="Object 62" hidden="1"/>
                      <p:cNvPicPr/>
                      <p:nvPr/>
                    </p:nvPicPr>
                    <p:blipFill>
                      <a:blip r:embed="rId5"/>
                      <a:stretch>
                        <a:fillRect/>
                      </a:stretch>
                    </p:blipFill>
                    <p:spPr>
                      <a:xfrm>
                        <a:off x="6" y="14"/>
                        <a:ext cx="215979" cy="161975"/>
                      </a:xfrm>
                      <a:prstGeom prst="rect">
                        <a:avLst/>
                      </a:prstGeom>
                    </p:spPr>
                  </p:pic>
                </p:oleObj>
              </mc:Fallback>
            </mc:AlternateContent>
          </a:graphicData>
        </a:graphic>
      </p:graphicFrame>
      <p:sp>
        <p:nvSpPr>
          <p:cNvPr id="3" name="Tijdelijke aanduiding voor dianummer 2"/>
          <p:cNvSpPr>
            <a:spLocks noGrp="1"/>
          </p:cNvSpPr>
          <p:nvPr>
            <p:ph type="sldNum" sz="quarter" idx="4"/>
          </p:nvPr>
        </p:nvSpPr>
        <p:spPr>
          <a:xfrm>
            <a:off x="11737146" y="6580109"/>
            <a:ext cx="454854" cy="246221"/>
          </a:xfrm>
        </p:spPr>
        <p:txBody>
          <a:bodyPr/>
          <a:lstStyle/>
          <a:p>
            <a:fld id="{BCEB47A6-CBA8-4F99-AA9E-77FC284047B7}" type="slidenum">
              <a:rPr lang="en-US" smtClean="0">
                <a:solidFill>
                  <a:srgbClr val="FFFFFF"/>
                </a:solidFill>
              </a:rPr>
              <a:pPr/>
              <a:t>5</a:t>
            </a:fld>
            <a:endParaRPr lang="en-US">
              <a:solidFill>
                <a:srgbClr val="FFFFFF"/>
              </a:solidFill>
            </a:endParaRPr>
          </a:p>
        </p:txBody>
      </p:sp>
      <p:sp>
        <p:nvSpPr>
          <p:cNvPr id="59" name="Titel 4"/>
          <p:cNvSpPr>
            <a:spLocks noGrp="1"/>
          </p:cNvSpPr>
          <p:nvPr>
            <p:ph type="title"/>
          </p:nvPr>
        </p:nvSpPr>
        <p:spPr>
          <a:xfrm>
            <a:off x="215985" y="191233"/>
            <a:ext cx="11712158" cy="584775"/>
          </a:xfrm>
        </p:spPr>
        <p:txBody>
          <a:bodyPr/>
          <a:lstStyle/>
          <a:p>
            <a:r>
              <a:rPr lang="nl-NL"/>
              <a:t>Werkwijze Business en IT</a:t>
            </a:r>
          </a:p>
        </p:txBody>
      </p:sp>
      <p:sp>
        <p:nvSpPr>
          <p:cNvPr id="52" name="Toelichting met afgeronde rechthoek 51"/>
          <p:cNvSpPr/>
          <p:nvPr/>
        </p:nvSpPr>
        <p:spPr>
          <a:xfrm>
            <a:off x="442151" y="1732802"/>
            <a:ext cx="2946851" cy="1090555"/>
          </a:xfrm>
          <a:prstGeom prst="wedgeRoundRectCallout">
            <a:avLst>
              <a:gd name="adj1" fmla="val 41606"/>
              <a:gd name="adj2" fmla="val 133793"/>
              <a:gd name="adj3" fmla="val 16667"/>
            </a:avLst>
          </a:prstGeom>
          <a:ln>
            <a:solidFill>
              <a:schemeClr val="accent3">
                <a:lumMod val="50000"/>
              </a:schemeClr>
            </a:solidFill>
          </a:ln>
        </p:spPr>
        <p:style>
          <a:lnRef idx="2">
            <a:schemeClr val="accent2"/>
          </a:lnRef>
          <a:fillRef idx="1">
            <a:schemeClr val="lt1"/>
          </a:fillRef>
          <a:effectRef idx="0">
            <a:schemeClr val="accent2"/>
          </a:effectRef>
          <a:fontRef idx="minor">
            <a:schemeClr val="dk1"/>
          </a:fontRef>
        </p:style>
        <p:txBody>
          <a:bodyPr rtlCol="0" anchor="ctr"/>
          <a:lstStyle/>
          <a:p>
            <a:pPr marL="171450" indent="-171450">
              <a:buFont typeface="Arial" panose="020B0604020202020204" pitchFamily="34" charset="0"/>
              <a:buChar char="•"/>
            </a:pPr>
            <a:r>
              <a:rPr lang="nl-NL" sz="1100">
                <a:solidFill>
                  <a:srgbClr val="3E7FA2">
                    <a:lumMod val="50000"/>
                  </a:srgbClr>
                </a:solidFill>
              </a:rPr>
              <a:t>Laag awareness op beheerst gebruik van ongestructureerde data</a:t>
            </a:r>
          </a:p>
        </p:txBody>
      </p:sp>
      <p:sp>
        <p:nvSpPr>
          <p:cNvPr id="30" name="Afgeronde rechthoek 29"/>
          <p:cNvSpPr/>
          <p:nvPr/>
        </p:nvSpPr>
        <p:spPr>
          <a:xfrm>
            <a:off x="7467362" y="1740798"/>
            <a:ext cx="2251025" cy="19431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Afgeronde rechthoek 30"/>
          <p:cNvSpPr/>
          <p:nvPr/>
        </p:nvSpPr>
        <p:spPr>
          <a:xfrm>
            <a:off x="4763209" y="2539450"/>
            <a:ext cx="2251025" cy="19431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Gebogen pijl 3"/>
          <p:cNvSpPr/>
          <p:nvPr/>
        </p:nvSpPr>
        <p:spPr>
          <a:xfrm>
            <a:off x="4453666" y="2627819"/>
            <a:ext cx="519056" cy="722844"/>
          </a:xfrm>
          <a:prstGeom prst="ben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4" name="Gebogen pijl 33"/>
          <p:cNvSpPr/>
          <p:nvPr/>
        </p:nvSpPr>
        <p:spPr>
          <a:xfrm>
            <a:off x="6865697" y="1752842"/>
            <a:ext cx="519056" cy="722844"/>
          </a:xfrm>
          <a:prstGeom prst="ben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pic>
        <p:nvPicPr>
          <p:cNvPr id="37"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20546" y="2024741"/>
            <a:ext cx="1097228" cy="632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66579" y="3158925"/>
            <a:ext cx="831371" cy="767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88406" y="2152000"/>
            <a:ext cx="1188465" cy="1097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1828" y="3422375"/>
            <a:ext cx="1097228" cy="632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0" name="Picture 6" descr="\\SRV00047\home$\AA007890\Desktop\de-kunst-van-het-netwerken-corinne-jaspers-1030x773.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38481" y="1935169"/>
            <a:ext cx="2099749" cy="1575831"/>
          </a:xfrm>
          <a:prstGeom prst="rect">
            <a:avLst/>
          </a:prstGeom>
          <a:noFill/>
          <a:extLst>
            <a:ext uri="{909E8E84-426E-40DD-AFC4-6F175D3DCCD1}">
              <a14:hiddenFill xmlns:a14="http://schemas.microsoft.com/office/drawing/2010/main">
                <a:solidFill>
                  <a:srgbClr val="FFFFFF"/>
                </a:solidFill>
              </a14:hiddenFill>
            </a:ext>
          </a:extLst>
        </p:spPr>
      </p:pic>
      <p:sp>
        <p:nvSpPr>
          <p:cNvPr id="51" name="Tekstvak 50"/>
          <p:cNvSpPr txBox="1"/>
          <p:nvPr/>
        </p:nvSpPr>
        <p:spPr>
          <a:xfrm>
            <a:off x="8045535" y="1318037"/>
            <a:ext cx="2251025" cy="307777"/>
          </a:xfrm>
          <a:prstGeom prst="rect">
            <a:avLst/>
          </a:prstGeom>
          <a:noFill/>
          <a:ln>
            <a:solidFill>
              <a:srgbClr val="0070C0"/>
            </a:solidFill>
          </a:ln>
        </p:spPr>
        <p:txBody>
          <a:bodyPr wrap="square" rtlCol="0">
            <a:spAutoFit/>
          </a:bodyPr>
          <a:lstStyle>
            <a:defPPr>
              <a:defRPr lang="nl-NL"/>
            </a:defPPr>
            <a:lvl1pPr algn="ctr">
              <a:defRPr sz="1400" b="1"/>
            </a:lvl1pPr>
          </a:lstStyle>
          <a:p>
            <a:r>
              <a:rPr lang="nl-NL"/>
              <a:t>naar</a:t>
            </a:r>
          </a:p>
        </p:txBody>
      </p:sp>
      <p:sp>
        <p:nvSpPr>
          <p:cNvPr id="66" name="Tekstvak 65"/>
          <p:cNvSpPr txBox="1"/>
          <p:nvPr/>
        </p:nvSpPr>
        <p:spPr>
          <a:xfrm>
            <a:off x="4406144" y="1325851"/>
            <a:ext cx="2251025" cy="307777"/>
          </a:xfrm>
          <a:prstGeom prst="rect">
            <a:avLst/>
          </a:prstGeom>
          <a:noFill/>
          <a:ln>
            <a:solidFill>
              <a:srgbClr val="0070C0"/>
            </a:solidFill>
          </a:ln>
        </p:spPr>
        <p:txBody>
          <a:bodyPr wrap="square" rtlCol="0">
            <a:spAutoFit/>
          </a:bodyPr>
          <a:lstStyle>
            <a:defPPr>
              <a:defRPr lang="nl-NL"/>
            </a:defPPr>
            <a:lvl1pPr algn="ctr">
              <a:defRPr sz="1400" b="1"/>
            </a:lvl1pPr>
          </a:lstStyle>
          <a:p>
            <a:r>
              <a:rPr lang="nl-NL"/>
              <a:t>via</a:t>
            </a:r>
          </a:p>
        </p:txBody>
      </p:sp>
      <p:sp>
        <p:nvSpPr>
          <p:cNvPr id="67" name="Tekstvak 66"/>
          <p:cNvSpPr txBox="1"/>
          <p:nvPr/>
        </p:nvSpPr>
        <p:spPr>
          <a:xfrm>
            <a:off x="819079" y="1325848"/>
            <a:ext cx="2251025" cy="307777"/>
          </a:xfrm>
          <a:prstGeom prst="rect">
            <a:avLst/>
          </a:prstGeom>
          <a:noFill/>
          <a:ln>
            <a:solidFill>
              <a:srgbClr val="0070C0"/>
            </a:solidFill>
          </a:ln>
        </p:spPr>
        <p:txBody>
          <a:bodyPr wrap="square" rtlCol="0">
            <a:spAutoFit/>
          </a:bodyPr>
          <a:lstStyle/>
          <a:p>
            <a:pPr algn="ctr"/>
            <a:r>
              <a:rPr lang="nl-NL" sz="1400" b="1"/>
              <a:t>van</a:t>
            </a:r>
          </a:p>
        </p:txBody>
      </p:sp>
      <p:sp>
        <p:nvSpPr>
          <p:cNvPr id="69" name="PIJL-RECHTS 68"/>
          <p:cNvSpPr/>
          <p:nvPr/>
        </p:nvSpPr>
        <p:spPr>
          <a:xfrm>
            <a:off x="4198003" y="1356683"/>
            <a:ext cx="161007" cy="24832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PIJL-RECHTS 69"/>
          <p:cNvSpPr/>
          <p:nvPr/>
        </p:nvSpPr>
        <p:spPr>
          <a:xfrm>
            <a:off x="7821490" y="1337834"/>
            <a:ext cx="161007" cy="24832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1" name="Tekstvak 70"/>
          <p:cNvSpPr txBox="1"/>
          <p:nvPr/>
        </p:nvSpPr>
        <p:spPr>
          <a:xfrm>
            <a:off x="6802943" y="851331"/>
            <a:ext cx="1471076" cy="369332"/>
          </a:xfrm>
          <a:prstGeom prst="rect">
            <a:avLst/>
          </a:prstGeom>
          <a:noFill/>
        </p:spPr>
        <p:txBody>
          <a:bodyPr wrap="square" rtlCol="0">
            <a:spAutoFit/>
          </a:bodyPr>
          <a:lstStyle/>
          <a:p>
            <a:r>
              <a:rPr lang="nl-NL"/>
              <a:t> </a:t>
            </a:r>
          </a:p>
        </p:txBody>
      </p:sp>
      <p:sp>
        <p:nvSpPr>
          <p:cNvPr id="72" name="Toelichting met afgeronde rechthoek 71"/>
          <p:cNvSpPr/>
          <p:nvPr/>
        </p:nvSpPr>
        <p:spPr>
          <a:xfrm>
            <a:off x="4440908" y="4625935"/>
            <a:ext cx="2684317" cy="1265274"/>
          </a:xfrm>
          <a:prstGeom prst="wedgeRoundRectCallout">
            <a:avLst>
              <a:gd name="adj1" fmla="val -23693"/>
              <a:gd name="adj2" fmla="val -107181"/>
              <a:gd name="adj3" fmla="val 16667"/>
            </a:avLst>
          </a:prstGeom>
          <a:ln>
            <a:solidFill>
              <a:schemeClr val="accent3">
                <a:lumMod val="50000"/>
              </a:schemeClr>
            </a:solidFill>
          </a:ln>
        </p:spPr>
        <p:style>
          <a:lnRef idx="2">
            <a:schemeClr val="accent2"/>
          </a:lnRef>
          <a:fillRef idx="1">
            <a:schemeClr val="lt1"/>
          </a:fillRef>
          <a:effectRef idx="0">
            <a:schemeClr val="accent2"/>
          </a:effectRef>
          <a:fontRef idx="minor">
            <a:schemeClr val="dk1"/>
          </a:fontRef>
        </p:style>
        <p:txBody>
          <a:bodyPr rtlCol="0" anchor="ctr"/>
          <a:lstStyle/>
          <a:p>
            <a:pPr marL="171450" indent="-171450">
              <a:buFont typeface="Arial" panose="020B0604020202020204" pitchFamily="34" charset="0"/>
              <a:buChar char="•"/>
            </a:pPr>
            <a:r>
              <a:rPr lang="nl-NL" sz="1100">
                <a:solidFill>
                  <a:srgbClr val="3E7FA2">
                    <a:lumMod val="50000"/>
                  </a:srgbClr>
                </a:solidFill>
              </a:rPr>
              <a:t>IT regelt neerzetten en beheren van diensten die beheersing van het gebruik van ongestructureerde data verhogen; Business past bewust toe.</a:t>
            </a:r>
          </a:p>
        </p:txBody>
      </p:sp>
      <p:sp>
        <p:nvSpPr>
          <p:cNvPr id="73" name="Toelichting met afgeronde rechthoek 72"/>
          <p:cNvSpPr/>
          <p:nvPr/>
        </p:nvSpPr>
        <p:spPr>
          <a:xfrm>
            <a:off x="7985933" y="3547837"/>
            <a:ext cx="3861437" cy="1282892"/>
          </a:xfrm>
          <a:prstGeom prst="wedgeRoundRectCallout">
            <a:avLst>
              <a:gd name="adj1" fmla="val -32794"/>
              <a:gd name="adj2" fmla="val -86758"/>
              <a:gd name="adj3" fmla="val 16667"/>
            </a:avLst>
          </a:prstGeom>
          <a:solidFill>
            <a:schemeClr val="accent4">
              <a:lumMod val="20000"/>
              <a:lumOff val="80000"/>
            </a:schemeClr>
          </a:solidFill>
          <a:ln>
            <a:solidFill>
              <a:schemeClr val="accent3">
                <a:lumMod val="50000"/>
              </a:schemeClr>
            </a:solidFill>
          </a:ln>
        </p:spPr>
        <p:style>
          <a:lnRef idx="2">
            <a:schemeClr val="accent2"/>
          </a:lnRef>
          <a:fillRef idx="1">
            <a:schemeClr val="lt1"/>
          </a:fillRef>
          <a:effectRef idx="0">
            <a:schemeClr val="accent2"/>
          </a:effectRef>
          <a:fontRef idx="minor">
            <a:schemeClr val="dk1"/>
          </a:fontRef>
        </p:style>
        <p:txBody>
          <a:bodyPr rtlCol="0" anchor="ctr"/>
          <a:lstStyle/>
          <a:p>
            <a:pPr marL="171450" indent="-171450">
              <a:buFont typeface="Arial" panose="020B0604020202020204" pitchFamily="34" charset="0"/>
              <a:buChar char="•"/>
            </a:pPr>
            <a:r>
              <a:rPr lang="nl-NL" sz="1100">
                <a:solidFill>
                  <a:srgbClr val="3E7FA2">
                    <a:lumMod val="50000"/>
                  </a:srgbClr>
                </a:solidFill>
              </a:rPr>
              <a:t>Business doorloopt leercurve voor steeds betere toepasbaarheid van de dienst en trekt samen met IT op om dienst verder te ontwikkelen.</a:t>
            </a:r>
          </a:p>
        </p:txBody>
      </p:sp>
      <p:pic>
        <p:nvPicPr>
          <p:cNvPr id="7" name="Graphic 6" descr="Wegblokkade silhouet">
            <a:extLst>
              <a:ext uri="{FF2B5EF4-FFF2-40B4-BE49-F238E27FC236}">
                <a16:creationId xmlns:a16="http://schemas.microsoft.com/office/drawing/2014/main" id="{1C562CF2-41FE-5448-6F98-FE5F37CDA24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34293" y="2581977"/>
            <a:ext cx="1357460" cy="667191"/>
          </a:xfrm>
          <a:prstGeom prst="rect">
            <a:avLst/>
          </a:prstGeom>
        </p:spPr>
      </p:pic>
      <p:sp>
        <p:nvSpPr>
          <p:cNvPr id="8" name="Pijl: omlaag 7">
            <a:extLst>
              <a:ext uri="{FF2B5EF4-FFF2-40B4-BE49-F238E27FC236}">
                <a16:creationId xmlns:a16="http://schemas.microsoft.com/office/drawing/2014/main" id="{0548D12E-D649-23A4-2485-FBE104DE203D}"/>
              </a:ext>
            </a:extLst>
          </p:cNvPr>
          <p:cNvSpPr/>
          <p:nvPr/>
        </p:nvSpPr>
        <p:spPr>
          <a:xfrm rot="2690820">
            <a:off x="10120565" y="846575"/>
            <a:ext cx="1744154" cy="1777428"/>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400"/>
              <a:t>Zo werken wij!</a:t>
            </a:r>
          </a:p>
        </p:txBody>
      </p:sp>
      <p:sp>
        <p:nvSpPr>
          <p:cNvPr id="9" name="Rechthoek: afgeronde hoeken 8">
            <a:extLst>
              <a:ext uri="{FF2B5EF4-FFF2-40B4-BE49-F238E27FC236}">
                <a16:creationId xmlns:a16="http://schemas.microsoft.com/office/drawing/2014/main" id="{2B00E5F7-1588-CF05-25FF-3103A958FB90}"/>
              </a:ext>
            </a:extLst>
          </p:cNvPr>
          <p:cNvSpPr/>
          <p:nvPr/>
        </p:nvSpPr>
        <p:spPr>
          <a:xfrm>
            <a:off x="7371927" y="175913"/>
            <a:ext cx="4672606" cy="5853701"/>
          </a:xfrm>
          <a:prstGeom prst="roundRect">
            <a:avLst/>
          </a:prstGeom>
          <a:solidFill>
            <a:schemeClr val="accent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err="1"/>
          </a:p>
        </p:txBody>
      </p:sp>
    </p:spTree>
    <p:extLst>
      <p:ext uri="{BB962C8B-B14F-4D97-AF65-F5344CB8AC3E}">
        <p14:creationId xmlns:p14="http://schemas.microsoft.com/office/powerpoint/2010/main" val="1561310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7C27F2DE-8876-BE76-8093-77BC00CEAA00}"/>
              </a:ext>
            </a:extLst>
          </p:cNvPr>
          <p:cNvSpPr>
            <a:spLocks noGrp="1"/>
          </p:cNvSpPr>
          <p:nvPr>
            <p:ph type="sldNum" sz="quarter" idx="12"/>
          </p:nvPr>
        </p:nvSpPr>
        <p:spPr/>
        <p:txBody>
          <a:bodyPr/>
          <a:lstStyle/>
          <a:p>
            <a:pPr defTabSz="915215"/>
            <a:fld id="{8D374ABD-355D-4B52-8A38-020B3DD5CC75}" type="slidenum">
              <a:rPr lang="nl-NL">
                <a:latin typeface="Calibri"/>
              </a:rPr>
              <a:pPr defTabSz="915215"/>
              <a:t>6</a:t>
            </a:fld>
            <a:endParaRPr lang="nl-NL">
              <a:latin typeface="Calibri"/>
            </a:endParaRPr>
          </a:p>
        </p:txBody>
      </p:sp>
      <p:sp>
        <p:nvSpPr>
          <p:cNvPr id="8" name="Tijdelijke aanduiding voor tekst 7">
            <a:extLst>
              <a:ext uri="{FF2B5EF4-FFF2-40B4-BE49-F238E27FC236}">
                <a16:creationId xmlns:a16="http://schemas.microsoft.com/office/drawing/2014/main" id="{B38B0E56-23C6-7E9E-860D-66A63D83A797}"/>
              </a:ext>
            </a:extLst>
          </p:cNvPr>
          <p:cNvSpPr>
            <a:spLocks noGrp="1"/>
          </p:cNvSpPr>
          <p:nvPr>
            <p:ph type="body" sz="quarter" idx="15"/>
          </p:nvPr>
        </p:nvSpPr>
        <p:spPr/>
        <p:txBody>
          <a:bodyPr/>
          <a:lstStyle/>
          <a:p>
            <a:endParaRPr lang="nl-NL"/>
          </a:p>
        </p:txBody>
      </p:sp>
      <p:sp>
        <p:nvSpPr>
          <p:cNvPr id="7" name="Titel 1">
            <a:extLst>
              <a:ext uri="{FF2B5EF4-FFF2-40B4-BE49-F238E27FC236}">
                <a16:creationId xmlns:a16="http://schemas.microsoft.com/office/drawing/2014/main" id="{51BF6F37-8DA7-FA75-0F79-FED8AEB05E50}"/>
              </a:ext>
            </a:extLst>
          </p:cNvPr>
          <p:cNvSpPr txBox="1">
            <a:spLocks/>
          </p:cNvSpPr>
          <p:nvPr/>
        </p:nvSpPr>
        <p:spPr>
          <a:xfrm>
            <a:off x="539999" y="308368"/>
            <a:ext cx="11112000" cy="301061"/>
          </a:xfrm>
          <a:prstGeom prst="rect">
            <a:avLst/>
          </a:prstGeom>
        </p:spPr>
        <p:txBody>
          <a:bodyPr vert="horz" lIns="0" tIns="0" rIns="0" bIns="0" rtlCol="0" anchor="t">
            <a:noAutofit/>
          </a:bodyPr>
          <a:lstStyle>
            <a:lvl1pPr algn="l" defTabSz="914126" rtl="0" eaLnBrk="1" latinLnBrk="0" hangingPunct="1">
              <a:lnSpc>
                <a:spcPct val="80000"/>
              </a:lnSpc>
              <a:spcBef>
                <a:spcPct val="0"/>
              </a:spcBef>
              <a:buNone/>
              <a:defRPr sz="2599" b="0" kern="1200">
                <a:solidFill>
                  <a:schemeClr val="tx1"/>
                </a:solidFill>
                <a:latin typeface="+mn-lt"/>
                <a:ea typeface="+mj-ea"/>
                <a:cs typeface="+mj-cs"/>
              </a:defRPr>
            </a:lvl1pPr>
          </a:lstStyle>
          <a:p>
            <a:pPr marL="0" marR="0" lvl="0" indent="0" algn="l" defTabSz="914126" rtl="0" eaLnBrk="1" fontAlgn="auto" latinLnBrk="0" hangingPunct="1">
              <a:lnSpc>
                <a:spcPct val="80000"/>
              </a:lnSpc>
              <a:spcBef>
                <a:spcPct val="0"/>
              </a:spcBef>
              <a:spcAft>
                <a:spcPts val="0"/>
              </a:spcAft>
              <a:buClrTx/>
              <a:buSzTx/>
              <a:buFontTx/>
              <a:buNone/>
              <a:tabLst/>
              <a:defRPr/>
            </a:pPr>
            <a:r>
              <a:rPr lang="nl-NL">
                <a:solidFill>
                  <a:srgbClr val="3E7FA2"/>
                </a:solidFill>
                <a:latin typeface="Calibri"/>
              </a:rPr>
              <a:t>Besturing</a:t>
            </a:r>
            <a:endParaRPr kumimoji="0" lang="nl-NL" sz="2599" b="0" i="0" u="none" strike="noStrike" kern="1200" cap="none" spc="0" normalizeH="0" baseline="0" noProof="0">
              <a:ln>
                <a:noFill/>
              </a:ln>
              <a:solidFill>
                <a:srgbClr val="3E7FA2"/>
              </a:solidFill>
              <a:effectLst/>
              <a:uLnTx/>
              <a:uFillTx/>
              <a:latin typeface="Calibri"/>
              <a:ea typeface="+mj-ea"/>
              <a:cs typeface="+mj-cs"/>
            </a:endParaRPr>
          </a:p>
        </p:txBody>
      </p:sp>
      <p:sp>
        <p:nvSpPr>
          <p:cNvPr id="72" name="Rechthoek 71">
            <a:extLst>
              <a:ext uri="{FF2B5EF4-FFF2-40B4-BE49-F238E27FC236}">
                <a16:creationId xmlns:a16="http://schemas.microsoft.com/office/drawing/2014/main" id="{0E43F7A8-FAE7-12AA-FD75-C065E4C7E3D7}"/>
              </a:ext>
            </a:extLst>
          </p:cNvPr>
          <p:cNvSpPr/>
          <p:nvPr/>
        </p:nvSpPr>
        <p:spPr>
          <a:xfrm>
            <a:off x="4655127" y="5555088"/>
            <a:ext cx="1080655" cy="547662"/>
          </a:xfrm>
          <a:prstGeom prst="rect">
            <a:avLst/>
          </a:prstGeom>
          <a:solidFill>
            <a:srgbClr val="F6F9FA"/>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err="1"/>
          </a:p>
        </p:txBody>
      </p:sp>
      <p:graphicFrame>
        <p:nvGraphicFramePr>
          <p:cNvPr id="2" name="Diagram 1">
            <a:extLst>
              <a:ext uri="{FF2B5EF4-FFF2-40B4-BE49-F238E27FC236}">
                <a16:creationId xmlns:a16="http://schemas.microsoft.com/office/drawing/2014/main" id="{3D010D73-92AE-802F-FFD7-15DE710E3849}"/>
              </a:ext>
            </a:extLst>
          </p:cNvPr>
          <p:cNvGraphicFramePr/>
          <p:nvPr>
            <p:extLst>
              <p:ext uri="{D42A27DB-BD31-4B8C-83A1-F6EECF244321}">
                <p14:modId xmlns:p14="http://schemas.microsoft.com/office/powerpoint/2010/main" val="3359304454"/>
              </p:ext>
            </p:extLst>
          </p:nvPr>
        </p:nvGraphicFramePr>
        <p:xfrm>
          <a:off x="1113184" y="718982"/>
          <a:ext cx="9610260" cy="57595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hthoek 8">
            <a:extLst>
              <a:ext uri="{FF2B5EF4-FFF2-40B4-BE49-F238E27FC236}">
                <a16:creationId xmlns:a16="http://schemas.microsoft.com/office/drawing/2014/main" id="{274CDC89-841F-D033-3DA6-479B90CA7BD5}"/>
              </a:ext>
            </a:extLst>
          </p:cNvPr>
          <p:cNvSpPr/>
          <p:nvPr/>
        </p:nvSpPr>
        <p:spPr>
          <a:xfrm>
            <a:off x="7219128" y="1366887"/>
            <a:ext cx="2255142" cy="5844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r>
              <a:rPr lang="nl-NL" sz="1600"/>
              <a:t>Strategisch Security Overleg</a:t>
            </a:r>
          </a:p>
        </p:txBody>
      </p:sp>
      <p:sp>
        <p:nvSpPr>
          <p:cNvPr id="3" name="Rechthoek 2">
            <a:extLst>
              <a:ext uri="{FF2B5EF4-FFF2-40B4-BE49-F238E27FC236}">
                <a16:creationId xmlns:a16="http://schemas.microsoft.com/office/drawing/2014/main" id="{2FDC157A-2BDC-C3DB-5BCC-4AF9B675670E}"/>
              </a:ext>
            </a:extLst>
          </p:cNvPr>
          <p:cNvSpPr/>
          <p:nvPr/>
        </p:nvSpPr>
        <p:spPr>
          <a:xfrm>
            <a:off x="1964301" y="4192729"/>
            <a:ext cx="1669774" cy="65200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600"/>
              <a:t>Neerzetten</a:t>
            </a:r>
          </a:p>
        </p:txBody>
      </p:sp>
      <p:sp>
        <p:nvSpPr>
          <p:cNvPr id="4" name="Rechthoek 3">
            <a:extLst>
              <a:ext uri="{FF2B5EF4-FFF2-40B4-BE49-F238E27FC236}">
                <a16:creationId xmlns:a16="http://schemas.microsoft.com/office/drawing/2014/main" id="{8E187FE0-6470-1C4A-D7C7-B6441F89241C}"/>
              </a:ext>
            </a:extLst>
          </p:cNvPr>
          <p:cNvSpPr/>
          <p:nvPr/>
        </p:nvSpPr>
        <p:spPr>
          <a:xfrm>
            <a:off x="6618560" y="4192730"/>
            <a:ext cx="1669774" cy="65200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600"/>
              <a:t>Toepassen</a:t>
            </a:r>
          </a:p>
        </p:txBody>
      </p:sp>
      <p:sp>
        <p:nvSpPr>
          <p:cNvPr id="6" name="Pijl: links/rechts 5">
            <a:extLst>
              <a:ext uri="{FF2B5EF4-FFF2-40B4-BE49-F238E27FC236}">
                <a16:creationId xmlns:a16="http://schemas.microsoft.com/office/drawing/2014/main" id="{B2F0B126-BBBB-0BFB-6F47-37512C224DE6}"/>
              </a:ext>
            </a:extLst>
          </p:cNvPr>
          <p:cNvSpPr/>
          <p:nvPr/>
        </p:nvSpPr>
        <p:spPr>
          <a:xfrm>
            <a:off x="4100037" y="4120648"/>
            <a:ext cx="2045617" cy="918298"/>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400"/>
              <a:t>Regie en Delivery Overleg</a:t>
            </a:r>
          </a:p>
        </p:txBody>
      </p:sp>
    </p:spTree>
    <p:extLst>
      <p:ext uri="{BB962C8B-B14F-4D97-AF65-F5344CB8AC3E}">
        <p14:creationId xmlns:p14="http://schemas.microsoft.com/office/powerpoint/2010/main" val="4390945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7C27F2DE-8876-BE76-8093-77BC00CEAA00}"/>
              </a:ext>
            </a:extLst>
          </p:cNvPr>
          <p:cNvSpPr>
            <a:spLocks noGrp="1"/>
          </p:cNvSpPr>
          <p:nvPr>
            <p:ph type="sldNum" sz="quarter" idx="12"/>
          </p:nvPr>
        </p:nvSpPr>
        <p:spPr>
          <a:xfrm>
            <a:off x="1" y="6489322"/>
            <a:ext cx="539998" cy="152474"/>
          </a:xfrm>
        </p:spPr>
        <p:txBody>
          <a:bodyPr/>
          <a:lstStyle/>
          <a:p>
            <a:pPr defTabSz="915215"/>
            <a:fld id="{8D374ABD-355D-4B52-8A38-020B3DD5CC75}" type="slidenum">
              <a:rPr lang="nl-NL" sz="1000">
                <a:latin typeface="Calibri"/>
              </a:rPr>
              <a:pPr defTabSz="915215"/>
              <a:t>7</a:t>
            </a:fld>
            <a:endParaRPr lang="nl-NL" sz="1000">
              <a:latin typeface="Calibri"/>
            </a:endParaRPr>
          </a:p>
        </p:txBody>
      </p:sp>
      <p:sp>
        <p:nvSpPr>
          <p:cNvPr id="8" name="Tijdelijke aanduiding voor tekst 7">
            <a:extLst>
              <a:ext uri="{FF2B5EF4-FFF2-40B4-BE49-F238E27FC236}">
                <a16:creationId xmlns:a16="http://schemas.microsoft.com/office/drawing/2014/main" id="{B38B0E56-23C6-7E9E-860D-66A63D83A797}"/>
              </a:ext>
            </a:extLst>
          </p:cNvPr>
          <p:cNvSpPr>
            <a:spLocks noGrp="1"/>
          </p:cNvSpPr>
          <p:nvPr>
            <p:ph type="body" sz="quarter" idx="15"/>
          </p:nvPr>
        </p:nvSpPr>
        <p:spPr>
          <a:xfrm>
            <a:off x="540001" y="0"/>
            <a:ext cx="1080000" cy="48944"/>
          </a:xfrm>
        </p:spPr>
        <p:txBody>
          <a:bodyPr/>
          <a:lstStyle/>
          <a:p>
            <a:endParaRPr lang="nl-NL" sz="1000"/>
          </a:p>
        </p:txBody>
      </p:sp>
      <p:sp>
        <p:nvSpPr>
          <p:cNvPr id="7" name="Titel 1">
            <a:extLst>
              <a:ext uri="{FF2B5EF4-FFF2-40B4-BE49-F238E27FC236}">
                <a16:creationId xmlns:a16="http://schemas.microsoft.com/office/drawing/2014/main" id="{51BF6F37-8DA7-FA75-0F79-FED8AEB05E50}"/>
              </a:ext>
            </a:extLst>
          </p:cNvPr>
          <p:cNvSpPr txBox="1">
            <a:spLocks/>
          </p:cNvSpPr>
          <p:nvPr/>
        </p:nvSpPr>
        <p:spPr>
          <a:xfrm>
            <a:off x="539999" y="308369"/>
            <a:ext cx="11112000" cy="204655"/>
          </a:xfrm>
          <a:prstGeom prst="rect">
            <a:avLst/>
          </a:prstGeom>
        </p:spPr>
        <p:txBody>
          <a:bodyPr vert="horz" lIns="0" tIns="0" rIns="0" bIns="0" rtlCol="0" anchor="t">
            <a:noAutofit/>
          </a:bodyPr>
          <a:lstStyle>
            <a:lvl1pPr algn="l" defTabSz="914126" rtl="0" eaLnBrk="1" latinLnBrk="0" hangingPunct="1">
              <a:lnSpc>
                <a:spcPct val="80000"/>
              </a:lnSpc>
              <a:spcBef>
                <a:spcPct val="0"/>
              </a:spcBef>
              <a:buNone/>
              <a:defRPr sz="2599" b="0" kern="1200">
                <a:solidFill>
                  <a:schemeClr val="tx1"/>
                </a:solidFill>
                <a:latin typeface="+mn-lt"/>
                <a:ea typeface="+mj-ea"/>
                <a:cs typeface="+mj-cs"/>
              </a:defRPr>
            </a:lvl1pPr>
          </a:lstStyle>
          <a:p>
            <a:pPr marL="0" marR="0" lvl="0" indent="0" algn="l" defTabSz="914126" rtl="0" eaLnBrk="1" fontAlgn="auto" latinLnBrk="0" hangingPunct="1">
              <a:lnSpc>
                <a:spcPct val="80000"/>
              </a:lnSpc>
              <a:spcBef>
                <a:spcPct val="0"/>
              </a:spcBef>
              <a:spcAft>
                <a:spcPts val="0"/>
              </a:spcAft>
              <a:buClrTx/>
              <a:buSzTx/>
              <a:buFontTx/>
              <a:buNone/>
              <a:tabLst/>
              <a:defRPr/>
            </a:pPr>
            <a:r>
              <a:rPr lang="nl-NL" sz="1000">
                <a:solidFill>
                  <a:srgbClr val="3E7FA2"/>
                </a:solidFill>
                <a:latin typeface="Calibri"/>
              </a:rPr>
              <a:t>Planning &amp; uitvoering</a:t>
            </a:r>
            <a:endParaRPr kumimoji="0" lang="nl-NL" sz="1000" b="0" i="0" u="none" strike="noStrike" kern="1200" cap="none" spc="0" normalizeH="0" baseline="0" noProof="0">
              <a:ln>
                <a:noFill/>
              </a:ln>
              <a:solidFill>
                <a:srgbClr val="3E7FA2"/>
              </a:solidFill>
              <a:effectLst/>
              <a:uLnTx/>
              <a:uFillTx/>
              <a:latin typeface="Calibri"/>
              <a:ea typeface="+mj-ea"/>
              <a:cs typeface="+mj-cs"/>
            </a:endParaRPr>
          </a:p>
        </p:txBody>
      </p:sp>
      <p:sp>
        <p:nvSpPr>
          <p:cNvPr id="72" name="Rechthoek 71">
            <a:extLst>
              <a:ext uri="{FF2B5EF4-FFF2-40B4-BE49-F238E27FC236}">
                <a16:creationId xmlns:a16="http://schemas.microsoft.com/office/drawing/2014/main" id="{0E43F7A8-FAE7-12AA-FD75-C065E4C7E3D7}"/>
              </a:ext>
            </a:extLst>
          </p:cNvPr>
          <p:cNvSpPr/>
          <p:nvPr/>
        </p:nvSpPr>
        <p:spPr>
          <a:xfrm>
            <a:off x="4655127" y="5555088"/>
            <a:ext cx="1080655" cy="372289"/>
          </a:xfrm>
          <a:prstGeom prst="rect">
            <a:avLst/>
          </a:prstGeom>
          <a:solidFill>
            <a:srgbClr val="F6F9FA"/>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000" err="1"/>
          </a:p>
        </p:txBody>
      </p:sp>
      <p:sp>
        <p:nvSpPr>
          <p:cNvPr id="3" name="Pijl: vijfhoek 2">
            <a:extLst>
              <a:ext uri="{FF2B5EF4-FFF2-40B4-BE49-F238E27FC236}">
                <a16:creationId xmlns:a16="http://schemas.microsoft.com/office/drawing/2014/main" id="{F290067C-C7C7-D45D-B34D-D609FEF69784}"/>
              </a:ext>
            </a:extLst>
          </p:cNvPr>
          <p:cNvSpPr/>
          <p:nvPr/>
        </p:nvSpPr>
        <p:spPr>
          <a:xfrm>
            <a:off x="518277" y="1130968"/>
            <a:ext cx="1933094" cy="270075"/>
          </a:xfrm>
          <a:prstGeom prst="homePlat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Neerzetten dienst </a:t>
            </a:r>
            <a:br>
              <a:rPr lang="nl-NL" sz="1000"/>
            </a:br>
            <a:r>
              <a:rPr lang="nl-NL" sz="1000"/>
              <a:t>R&amp;A op </a:t>
            </a:r>
            <a:r>
              <a:rPr lang="nl-NL" sz="1000" err="1"/>
              <a:t>Securenet</a:t>
            </a:r>
            <a:endParaRPr lang="nl-NL" sz="1000"/>
          </a:p>
        </p:txBody>
      </p:sp>
      <p:sp>
        <p:nvSpPr>
          <p:cNvPr id="6" name="Rechthoek 5">
            <a:extLst>
              <a:ext uri="{FF2B5EF4-FFF2-40B4-BE49-F238E27FC236}">
                <a16:creationId xmlns:a16="http://schemas.microsoft.com/office/drawing/2014/main" id="{C9D4D562-68E8-3FCD-1849-D7B0A9668627}"/>
              </a:ext>
            </a:extLst>
          </p:cNvPr>
          <p:cNvSpPr/>
          <p:nvPr/>
        </p:nvSpPr>
        <p:spPr>
          <a:xfrm>
            <a:off x="512384" y="693596"/>
            <a:ext cx="10679539" cy="3286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r>
              <a:rPr lang="nl-NL" sz="1000"/>
              <a:t>Q4 - 2023                            2024 	 		</a:t>
            </a:r>
          </a:p>
        </p:txBody>
      </p:sp>
      <p:sp>
        <p:nvSpPr>
          <p:cNvPr id="9" name="Pijl: vijfhoek 8">
            <a:extLst>
              <a:ext uri="{FF2B5EF4-FFF2-40B4-BE49-F238E27FC236}">
                <a16:creationId xmlns:a16="http://schemas.microsoft.com/office/drawing/2014/main" id="{BD234A04-9FF9-B6D5-36B7-EE3E4E52DA7F}"/>
              </a:ext>
            </a:extLst>
          </p:cNvPr>
          <p:cNvSpPr/>
          <p:nvPr/>
        </p:nvSpPr>
        <p:spPr>
          <a:xfrm>
            <a:off x="2359173" y="4204725"/>
            <a:ext cx="3736827" cy="220382"/>
          </a:xfrm>
          <a:prstGeom prst="homePlat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Toepassen dienst R&amp;A </a:t>
            </a:r>
            <a:r>
              <a:rPr lang="nl-NL" sz="1000" err="1"/>
              <a:t>Securenet</a:t>
            </a:r>
            <a:endParaRPr lang="nl-NL" sz="1000"/>
          </a:p>
        </p:txBody>
      </p:sp>
      <p:sp>
        <p:nvSpPr>
          <p:cNvPr id="10" name="Pijl: vijfhoek 9">
            <a:extLst>
              <a:ext uri="{FF2B5EF4-FFF2-40B4-BE49-F238E27FC236}">
                <a16:creationId xmlns:a16="http://schemas.microsoft.com/office/drawing/2014/main" id="{9422EBF6-38F5-BF99-691C-E48D6E7C7878}"/>
              </a:ext>
            </a:extLst>
          </p:cNvPr>
          <p:cNvSpPr/>
          <p:nvPr/>
        </p:nvSpPr>
        <p:spPr>
          <a:xfrm>
            <a:off x="2359173" y="4566715"/>
            <a:ext cx="8886582" cy="219489"/>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Toepassen dienst IRM/DLP</a:t>
            </a:r>
          </a:p>
        </p:txBody>
      </p:sp>
      <p:sp>
        <p:nvSpPr>
          <p:cNvPr id="12" name="Pijl: vijfhoek 11">
            <a:extLst>
              <a:ext uri="{FF2B5EF4-FFF2-40B4-BE49-F238E27FC236}">
                <a16:creationId xmlns:a16="http://schemas.microsoft.com/office/drawing/2014/main" id="{8F00F146-C44E-A4F1-55EE-FAB99709F68B}"/>
              </a:ext>
            </a:extLst>
          </p:cNvPr>
          <p:cNvSpPr/>
          <p:nvPr/>
        </p:nvSpPr>
        <p:spPr>
          <a:xfrm>
            <a:off x="3878734" y="5180359"/>
            <a:ext cx="5698020" cy="2194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Inzet tijdelijk </a:t>
            </a:r>
            <a:r>
              <a:rPr lang="nl-NL" sz="1000" err="1"/>
              <a:t>scantooling</a:t>
            </a:r>
            <a:endParaRPr lang="nl-NL" sz="1000"/>
          </a:p>
        </p:txBody>
      </p:sp>
      <p:sp>
        <p:nvSpPr>
          <p:cNvPr id="13" name="Pijl: vijfhoek 12">
            <a:extLst>
              <a:ext uri="{FF2B5EF4-FFF2-40B4-BE49-F238E27FC236}">
                <a16:creationId xmlns:a16="http://schemas.microsoft.com/office/drawing/2014/main" id="{02D8AA43-4A84-0DA3-1C29-1A65E2CBA6BB}"/>
              </a:ext>
            </a:extLst>
          </p:cNvPr>
          <p:cNvSpPr/>
          <p:nvPr/>
        </p:nvSpPr>
        <p:spPr>
          <a:xfrm>
            <a:off x="1200505" y="2574716"/>
            <a:ext cx="3800652" cy="220382"/>
          </a:xfrm>
          <a:prstGeom prst="homePlat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Risicoscan </a:t>
            </a:r>
          </a:p>
        </p:txBody>
      </p:sp>
      <p:sp>
        <p:nvSpPr>
          <p:cNvPr id="16" name="Pijl: vijfhoek 15">
            <a:extLst>
              <a:ext uri="{FF2B5EF4-FFF2-40B4-BE49-F238E27FC236}">
                <a16:creationId xmlns:a16="http://schemas.microsoft.com/office/drawing/2014/main" id="{2B67DD87-EB11-5C09-3067-233B6E0D9B73}"/>
              </a:ext>
            </a:extLst>
          </p:cNvPr>
          <p:cNvSpPr/>
          <p:nvPr/>
        </p:nvSpPr>
        <p:spPr>
          <a:xfrm>
            <a:off x="3878734" y="4867987"/>
            <a:ext cx="7374146" cy="219489"/>
          </a:xfrm>
          <a:prstGeom prst="homePlat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toepassen dienst beveiligd mailen</a:t>
            </a:r>
          </a:p>
        </p:txBody>
      </p:sp>
      <p:sp>
        <p:nvSpPr>
          <p:cNvPr id="19" name="Pijl: vijfhoek 18">
            <a:extLst>
              <a:ext uri="{FF2B5EF4-FFF2-40B4-BE49-F238E27FC236}">
                <a16:creationId xmlns:a16="http://schemas.microsoft.com/office/drawing/2014/main" id="{3FA44300-4CF5-1894-B727-45C11E664A11}"/>
              </a:ext>
            </a:extLst>
          </p:cNvPr>
          <p:cNvSpPr/>
          <p:nvPr/>
        </p:nvSpPr>
        <p:spPr>
          <a:xfrm>
            <a:off x="2526004" y="1134728"/>
            <a:ext cx="7050750" cy="261223"/>
          </a:xfrm>
          <a:prstGeom prst="homePlat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err="1"/>
              <a:t>Doorontwikkelen</a:t>
            </a:r>
            <a:r>
              <a:rPr lang="nl-NL" sz="1000"/>
              <a:t> dienst R&amp;A</a:t>
            </a:r>
          </a:p>
        </p:txBody>
      </p:sp>
      <p:sp>
        <p:nvSpPr>
          <p:cNvPr id="20" name="Pijl: vijfhoek 19">
            <a:extLst>
              <a:ext uri="{FF2B5EF4-FFF2-40B4-BE49-F238E27FC236}">
                <a16:creationId xmlns:a16="http://schemas.microsoft.com/office/drawing/2014/main" id="{4A59AB85-3261-1C8F-EE8D-7DD7FACCFFEC}"/>
              </a:ext>
            </a:extLst>
          </p:cNvPr>
          <p:cNvSpPr/>
          <p:nvPr/>
        </p:nvSpPr>
        <p:spPr>
          <a:xfrm>
            <a:off x="513286" y="1504637"/>
            <a:ext cx="9063468" cy="210040"/>
          </a:xfrm>
          <a:prstGeom prst="homePlat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err="1"/>
              <a:t>Doorontwikkelen</a:t>
            </a:r>
            <a:r>
              <a:rPr lang="nl-NL" sz="1000"/>
              <a:t> dienst IRM/DLP (conform reeds goedgekeurde </a:t>
            </a:r>
            <a:r>
              <a:rPr lang="nl-NL" sz="1000" err="1"/>
              <a:t>roadmap</a:t>
            </a:r>
            <a:r>
              <a:rPr lang="nl-NL" sz="1000"/>
              <a:t>)</a:t>
            </a:r>
          </a:p>
        </p:txBody>
      </p:sp>
      <p:sp>
        <p:nvSpPr>
          <p:cNvPr id="23" name="Pijl: vijfhoek 22">
            <a:extLst>
              <a:ext uri="{FF2B5EF4-FFF2-40B4-BE49-F238E27FC236}">
                <a16:creationId xmlns:a16="http://schemas.microsoft.com/office/drawing/2014/main" id="{9FA1DA54-788E-EE07-1B14-7E3AF3778D97}"/>
              </a:ext>
            </a:extLst>
          </p:cNvPr>
          <p:cNvSpPr/>
          <p:nvPr/>
        </p:nvSpPr>
        <p:spPr>
          <a:xfrm>
            <a:off x="1985843" y="1807063"/>
            <a:ext cx="1885766" cy="267242"/>
          </a:xfrm>
          <a:prstGeom prst="homePlat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Onderzoek + neerzetten dienst beveiligd mailen</a:t>
            </a:r>
          </a:p>
        </p:txBody>
      </p:sp>
      <p:sp>
        <p:nvSpPr>
          <p:cNvPr id="25" name="Pijl: vijfhoek 24">
            <a:extLst>
              <a:ext uri="{FF2B5EF4-FFF2-40B4-BE49-F238E27FC236}">
                <a16:creationId xmlns:a16="http://schemas.microsoft.com/office/drawing/2014/main" id="{B08E0F35-625C-5692-CF58-4DC6A4809EF2}"/>
              </a:ext>
            </a:extLst>
          </p:cNvPr>
          <p:cNvSpPr/>
          <p:nvPr/>
        </p:nvSpPr>
        <p:spPr>
          <a:xfrm>
            <a:off x="1985843" y="2158612"/>
            <a:ext cx="1898681" cy="266760"/>
          </a:xfrm>
          <a:prstGeom prst="homePlate">
            <a:avLst/>
          </a:prstGeom>
          <a:solidFill>
            <a:srgbClr val="3E7FA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Onderzoek + neerzetten</a:t>
            </a:r>
            <a:br>
              <a:rPr lang="nl-NL" sz="1000"/>
            </a:br>
            <a:r>
              <a:rPr lang="nl-NL" sz="1000"/>
              <a:t>tijdelijke scan </a:t>
            </a:r>
            <a:r>
              <a:rPr lang="nl-NL" sz="1000" err="1"/>
              <a:t>tooling</a:t>
            </a:r>
            <a:endParaRPr lang="nl-NL" sz="1000"/>
          </a:p>
        </p:txBody>
      </p:sp>
      <p:sp>
        <p:nvSpPr>
          <p:cNvPr id="27" name="Pijl: vijfhoek 26">
            <a:extLst>
              <a:ext uri="{FF2B5EF4-FFF2-40B4-BE49-F238E27FC236}">
                <a16:creationId xmlns:a16="http://schemas.microsoft.com/office/drawing/2014/main" id="{6CB832D4-637F-C1F9-7402-DCA52976ADD4}"/>
              </a:ext>
            </a:extLst>
          </p:cNvPr>
          <p:cNvSpPr/>
          <p:nvPr/>
        </p:nvSpPr>
        <p:spPr>
          <a:xfrm>
            <a:off x="6177064" y="4211719"/>
            <a:ext cx="5042226" cy="220382"/>
          </a:xfrm>
          <a:prstGeom prst="homePlat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Toepassen dienst M365 overig</a:t>
            </a:r>
          </a:p>
        </p:txBody>
      </p:sp>
      <p:sp>
        <p:nvSpPr>
          <p:cNvPr id="28" name="Pijl: vijfhoek 27">
            <a:extLst>
              <a:ext uri="{FF2B5EF4-FFF2-40B4-BE49-F238E27FC236}">
                <a16:creationId xmlns:a16="http://schemas.microsoft.com/office/drawing/2014/main" id="{AC262BC6-0091-A2E6-0674-ACE6E2C9E103}"/>
              </a:ext>
            </a:extLst>
          </p:cNvPr>
          <p:cNvSpPr/>
          <p:nvPr/>
        </p:nvSpPr>
        <p:spPr>
          <a:xfrm>
            <a:off x="2359173" y="2937766"/>
            <a:ext cx="1512436" cy="220382"/>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PVA ketens fase 1</a:t>
            </a:r>
          </a:p>
        </p:txBody>
      </p:sp>
      <p:sp>
        <p:nvSpPr>
          <p:cNvPr id="43" name="Pijl: vijfhoek 42">
            <a:extLst>
              <a:ext uri="{FF2B5EF4-FFF2-40B4-BE49-F238E27FC236}">
                <a16:creationId xmlns:a16="http://schemas.microsoft.com/office/drawing/2014/main" id="{14F6080E-B32F-CB21-F490-D50EA8DC414A}"/>
              </a:ext>
            </a:extLst>
          </p:cNvPr>
          <p:cNvSpPr/>
          <p:nvPr/>
        </p:nvSpPr>
        <p:spPr>
          <a:xfrm>
            <a:off x="5045020" y="3883774"/>
            <a:ext cx="6073695" cy="220382"/>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Uitvoeringsfase ketens fase 4</a:t>
            </a:r>
          </a:p>
        </p:txBody>
      </p:sp>
      <p:sp>
        <p:nvSpPr>
          <p:cNvPr id="47" name="Pijl: vijfhoek 46">
            <a:extLst>
              <a:ext uri="{FF2B5EF4-FFF2-40B4-BE49-F238E27FC236}">
                <a16:creationId xmlns:a16="http://schemas.microsoft.com/office/drawing/2014/main" id="{F0EF1240-2424-18E3-AD05-5C91DC412417}"/>
              </a:ext>
            </a:extLst>
          </p:cNvPr>
          <p:cNvSpPr/>
          <p:nvPr/>
        </p:nvSpPr>
        <p:spPr>
          <a:xfrm>
            <a:off x="2700825" y="3266006"/>
            <a:ext cx="1512436" cy="220382"/>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PVA ketens fase 2</a:t>
            </a:r>
          </a:p>
        </p:txBody>
      </p:sp>
      <p:sp>
        <p:nvSpPr>
          <p:cNvPr id="48" name="Pijl: vijfhoek 47">
            <a:extLst>
              <a:ext uri="{FF2B5EF4-FFF2-40B4-BE49-F238E27FC236}">
                <a16:creationId xmlns:a16="http://schemas.microsoft.com/office/drawing/2014/main" id="{69BCD34E-862F-DC1D-108D-398BBBCC5F59}"/>
              </a:ext>
            </a:extLst>
          </p:cNvPr>
          <p:cNvSpPr/>
          <p:nvPr/>
        </p:nvSpPr>
        <p:spPr>
          <a:xfrm>
            <a:off x="3193869" y="3566901"/>
            <a:ext cx="1512436" cy="220382"/>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PVA ketens fase 3</a:t>
            </a:r>
          </a:p>
        </p:txBody>
      </p:sp>
      <p:sp>
        <p:nvSpPr>
          <p:cNvPr id="49" name="Pijl: vijfhoek 48">
            <a:extLst>
              <a:ext uri="{FF2B5EF4-FFF2-40B4-BE49-F238E27FC236}">
                <a16:creationId xmlns:a16="http://schemas.microsoft.com/office/drawing/2014/main" id="{B82ECE2F-9B93-3925-BFE1-2CE06B2BB4E2}"/>
              </a:ext>
            </a:extLst>
          </p:cNvPr>
          <p:cNvSpPr/>
          <p:nvPr/>
        </p:nvSpPr>
        <p:spPr>
          <a:xfrm>
            <a:off x="3536263" y="3878721"/>
            <a:ext cx="1512436" cy="220382"/>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PVA ketens fase 4</a:t>
            </a:r>
          </a:p>
        </p:txBody>
      </p:sp>
      <p:sp>
        <p:nvSpPr>
          <p:cNvPr id="50" name="Pijl: vijfhoek 49">
            <a:extLst>
              <a:ext uri="{FF2B5EF4-FFF2-40B4-BE49-F238E27FC236}">
                <a16:creationId xmlns:a16="http://schemas.microsoft.com/office/drawing/2014/main" id="{DE7FB42A-EA2F-8D2E-4932-A0E4C0427EE1}"/>
              </a:ext>
            </a:extLst>
          </p:cNvPr>
          <p:cNvSpPr/>
          <p:nvPr/>
        </p:nvSpPr>
        <p:spPr>
          <a:xfrm>
            <a:off x="4722517" y="3563790"/>
            <a:ext cx="6073695" cy="220382"/>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Uitvoeringsfase ketens fase 3</a:t>
            </a:r>
          </a:p>
        </p:txBody>
      </p:sp>
      <p:sp>
        <p:nvSpPr>
          <p:cNvPr id="51" name="Pijl: vijfhoek 50">
            <a:extLst>
              <a:ext uri="{FF2B5EF4-FFF2-40B4-BE49-F238E27FC236}">
                <a16:creationId xmlns:a16="http://schemas.microsoft.com/office/drawing/2014/main" id="{AD50880C-2287-F1F5-8243-9E6CCDD2F918}"/>
              </a:ext>
            </a:extLst>
          </p:cNvPr>
          <p:cNvSpPr/>
          <p:nvPr/>
        </p:nvSpPr>
        <p:spPr>
          <a:xfrm>
            <a:off x="4213261" y="3258611"/>
            <a:ext cx="6073695" cy="220382"/>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Uitvoeringsfase ketens fase 2</a:t>
            </a:r>
          </a:p>
        </p:txBody>
      </p:sp>
      <p:sp>
        <p:nvSpPr>
          <p:cNvPr id="52" name="Pijl: vijfhoek 51">
            <a:extLst>
              <a:ext uri="{FF2B5EF4-FFF2-40B4-BE49-F238E27FC236}">
                <a16:creationId xmlns:a16="http://schemas.microsoft.com/office/drawing/2014/main" id="{405D2F48-F0E0-A2E3-C59D-CB21E779FD1B}"/>
              </a:ext>
            </a:extLst>
          </p:cNvPr>
          <p:cNvSpPr/>
          <p:nvPr/>
        </p:nvSpPr>
        <p:spPr>
          <a:xfrm>
            <a:off x="3878734" y="2925783"/>
            <a:ext cx="6073695" cy="220382"/>
          </a:xfrm>
          <a:prstGeom prst="homePlat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Uitvoeringsfase ketens fase 1</a:t>
            </a:r>
          </a:p>
        </p:txBody>
      </p:sp>
      <p:sp>
        <p:nvSpPr>
          <p:cNvPr id="14" name="Rechthoek 13">
            <a:extLst>
              <a:ext uri="{FF2B5EF4-FFF2-40B4-BE49-F238E27FC236}">
                <a16:creationId xmlns:a16="http://schemas.microsoft.com/office/drawing/2014/main" id="{E91EE872-2183-0963-1DE2-29AB73D9C316}"/>
              </a:ext>
            </a:extLst>
          </p:cNvPr>
          <p:cNvSpPr/>
          <p:nvPr/>
        </p:nvSpPr>
        <p:spPr>
          <a:xfrm>
            <a:off x="1884459" y="5750914"/>
            <a:ext cx="9308366" cy="333019"/>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r>
              <a:rPr lang="nl-NL" sz="1000"/>
              <a:t>		Optimaliseren werkwijze business en IT</a:t>
            </a:r>
          </a:p>
        </p:txBody>
      </p:sp>
      <p:sp>
        <p:nvSpPr>
          <p:cNvPr id="17" name="Pijl: rechts 16">
            <a:extLst>
              <a:ext uri="{FF2B5EF4-FFF2-40B4-BE49-F238E27FC236}">
                <a16:creationId xmlns:a16="http://schemas.microsoft.com/office/drawing/2014/main" id="{C7B90700-4254-B63E-7C46-1D475FE33EEA}"/>
              </a:ext>
            </a:extLst>
          </p:cNvPr>
          <p:cNvSpPr/>
          <p:nvPr/>
        </p:nvSpPr>
        <p:spPr>
          <a:xfrm>
            <a:off x="356432" y="5516214"/>
            <a:ext cx="1447137" cy="822325"/>
          </a:xfrm>
          <a:prstGeom prst="right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r>
              <a:rPr lang="nl-NL" sz="1000"/>
              <a:t>Zo werken wij! </a:t>
            </a:r>
          </a:p>
        </p:txBody>
      </p:sp>
      <p:sp>
        <p:nvSpPr>
          <p:cNvPr id="15" name="Rechthoek 14">
            <a:extLst>
              <a:ext uri="{FF2B5EF4-FFF2-40B4-BE49-F238E27FC236}">
                <a16:creationId xmlns:a16="http://schemas.microsoft.com/office/drawing/2014/main" id="{BBA3CF4D-B7E3-FD32-453B-294217447251}"/>
              </a:ext>
            </a:extLst>
          </p:cNvPr>
          <p:cNvSpPr/>
          <p:nvPr/>
        </p:nvSpPr>
        <p:spPr>
          <a:xfrm rot="19025186">
            <a:off x="3166137" y="2556839"/>
            <a:ext cx="4853000" cy="16191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l-NL"/>
              <a:t>Concept</a:t>
            </a:r>
          </a:p>
        </p:txBody>
      </p:sp>
    </p:spTree>
    <p:extLst>
      <p:ext uri="{BB962C8B-B14F-4D97-AF65-F5344CB8AC3E}">
        <p14:creationId xmlns:p14="http://schemas.microsoft.com/office/powerpoint/2010/main" val="2127544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EA563E-4512-C1C8-5F4F-1DED1E05B494}"/>
              </a:ext>
            </a:extLst>
          </p:cNvPr>
          <p:cNvSpPr>
            <a:spLocks noGrp="1"/>
          </p:cNvSpPr>
          <p:nvPr>
            <p:ph type="title"/>
          </p:nvPr>
        </p:nvSpPr>
        <p:spPr/>
        <p:txBody>
          <a:bodyPr/>
          <a:lstStyle/>
          <a:p>
            <a:r>
              <a:rPr lang="nl-NL"/>
              <a:t>Bijlagen</a:t>
            </a:r>
          </a:p>
        </p:txBody>
      </p:sp>
      <p:sp>
        <p:nvSpPr>
          <p:cNvPr id="4" name="Tijdelijke aanduiding voor dianummer 3">
            <a:extLst>
              <a:ext uri="{FF2B5EF4-FFF2-40B4-BE49-F238E27FC236}">
                <a16:creationId xmlns:a16="http://schemas.microsoft.com/office/drawing/2014/main" id="{7F73EE7E-C48D-4152-9091-273BF28961AA}"/>
              </a:ext>
            </a:extLst>
          </p:cNvPr>
          <p:cNvSpPr>
            <a:spLocks noGrp="1"/>
          </p:cNvSpPr>
          <p:nvPr>
            <p:ph type="sldNum" sz="quarter" idx="12"/>
          </p:nvPr>
        </p:nvSpPr>
        <p:spPr/>
        <p:txBody>
          <a:bodyPr/>
          <a:lstStyle/>
          <a:p>
            <a:fld id="{8D374ABD-355D-4B52-8A38-020B3DD5CC75}" type="slidenum">
              <a:rPr lang="nl-NL" smtClean="0"/>
              <a:t>8</a:t>
            </a:fld>
            <a:endParaRPr lang="nl-NL"/>
          </a:p>
        </p:txBody>
      </p:sp>
      <p:sp>
        <p:nvSpPr>
          <p:cNvPr id="6" name="Tijdelijke aanduiding voor tekst 5">
            <a:extLst>
              <a:ext uri="{FF2B5EF4-FFF2-40B4-BE49-F238E27FC236}">
                <a16:creationId xmlns:a16="http://schemas.microsoft.com/office/drawing/2014/main" id="{26E98D82-07E1-3983-E560-E0B23A0DA5AB}"/>
              </a:ext>
            </a:extLst>
          </p:cNvPr>
          <p:cNvSpPr>
            <a:spLocks noGrp="1"/>
          </p:cNvSpPr>
          <p:nvPr>
            <p:ph type="body" sz="quarter" idx="14"/>
          </p:nvPr>
        </p:nvSpPr>
        <p:spPr/>
        <p:txBody>
          <a:bodyPr/>
          <a:lstStyle/>
          <a:p>
            <a:endParaRPr lang="nl-NL"/>
          </a:p>
        </p:txBody>
      </p:sp>
      <p:sp>
        <p:nvSpPr>
          <p:cNvPr id="7" name="Tijdelijke aanduiding voor tekst 6">
            <a:extLst>
              <a:ext uri="{FF2B5EF4-FFF2-40B4-BE49-F238E27FC236}">
                <a16:creationId xmlns:a16="http://schemas.microsoft.com/office/drawing/2014/main" id="{C5B31C21-73F3-FE39-BB7A-D5A1B63AE55B}"/>
              </a:ext>
            </a:extLst>
          </p:cNvPr>
          <p:cNvSpPr>
            <a:spLocks noGrp="1"/>
          </p:cNvSpPr>
          <p:nvPr>
            <p:ph type="body" sz="quarter" idx="15"/>
          </p:nvPr>
        </p:nvSpPr>
        <p:spPr/>
        <p:txBody>
          <a:bodyPr/>
          <a:lstStyle/>
          <a:p>
            <a:endParaRPr lang="nl-NL"/>
          </a:p>
        </p:txBody>
      </p:sp>
    </p:spTree>
    <p:extLst>
      <p:ext uri="{BB962C8B-B14F-4D97-AF65-F5344CB8AC3E}">
        <p14:creationId xmlns:p14="http://schemas.microsoft.com/office/powerpoint/2010/main" val="2879674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7FD0A5-D984-A7FA-D57A-96165C122475}"/>
              </a:ext>
            </a:extLst>
          </p:cNvPr>
          <p:cNvSpPr>
            <a:spLocks noGrp="1"/>
          </p:cNvSpPr>
          <p:nvPr>
            <p:ph type="title"/>
          </p:nvPr>
        </p:nvSpPr>
        <p:spPr>
          <a:xfrm>
            <a:off x="539751" y="327330"/>
            <a:ext cx="11112000" cy="301061"/>
          </a:xfrm>
        </p:spPr>
        <p:txBody>
          <a:bodyPr/>
          <a:lstStyle/>
          <a:p>
            <a:r>
              <a:rPr lang="nl-NL">
                <a:solidFill>
                  <a:srgbClr val="3E7FA2"/>
                </a:solidFill>
              </a:rPr>
              <a:t>Samenhang diensten </a:t>
            </a:r>
          </a:p>
        </p:txBody>
      </p:sp>
      <p:sp>
        <p:nvSpPr>
          <p:cNvPr id="3" name="Tijdelijke aanduiding voor verticale tekst 2">
            <a:extLst>
              <a:ext uri="{FF2B5EF4-FFF2-40B4-BE49-F238E27FC236}">
                <a16:creationId xmlns:a16="http://schemas.microsoft.com/office/drawing/2014/main" id="{81B126F1-B9E3-2569-3DDA-B93792FE6430}"/>
              </a:ext>
            </a:extLst>
          </p:cNvPr>
          <p:cNvSpPr>
            <a:spLocks noGrp="1"/>
          </p:cNvSpPr>
          <p:nvPr>
            <p:ph type="body" orient="vert" idx="1"/>
          </p:nvPr>
        </p:nvSpPr>
        <p:spPr>
          <a:xfrm>
            <a:off x="539751" y="657656"/>
            <a:ext cx="11553023" cy="5829478"/>
          </a:xfrm>
          <a:ln w="28575" cap="rnd">
            <a:solidFill>
              <a:srgbClr val="4472C4"/>
            </a:solidFill>
            <a:round/>
            <a:tailEnd type="triangle"/>
          </a:ln>
        </p:spPr>
        <p:style>
          <a:lnRef idx="1">
            <a:schemeClr val="accent1"/>
          </a:lnRef>
          <a:fillRef idx="0">
            <a:schemeClr val="accent1"/>
          </a:fillRef>
          <a:effectRef idx="0">
            <a:schemeClr val="accent1"/>
          </a:effectRef>
          <a:fontRef idx="minor">
            <a:schemeClr val="tx1"/>
          </a:fontRef>
        </p:style>
        <p:txBody>
          <a:bodyPr vert="horz" lIns="0" tIns="0" rIns="0" bIns="0" rtlCol="0" anchor="t">
            <a:noAutofit/>
          </a:bodyPr>
          <a:lstStyle/>
          <a:p>
            <a:pPr marL="0" indent="0">
              <a:buNone/>
            </a:pPr>
            <a:endParaRPr lang="nl-NL" sz="1600" b="1">
              <a:ea typeface="Verdana" panose="020B0604030504040204" pitchFamily="34" charset="0"/>
            </a:endParaRPr>
          </a:p>
          <a:p>
            <a:pPr marL="0" indent="0">
              <a:buNone/>
            </a:pPr>
            <a:r>
              <a:rPr lang="nl-NL" sz="1600" b="1">
                <a:ea typeface="Verdana" panose="020B0604030504040204" pitchFamily="34" charset="0"/>
              </a:rPr>
              <a:t>We onderscheiden 4 werkstromen die, waar nodig, in een samenhangend programma ten uitvoer worden gebracht. </a:t>
            </a: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0" indent="0">
              <a:buNone/>
            </a:pPr>
            <a:endParaRPr lang="nl-NL" sz="1400">
              <a:ea typeface="Verdana" panose="020B0604030504040204" pitchFamily="34" charset="0"/>
            </a:endParaRPr>
          </a:p>
          <a:p>
            <a:pPr marL="342900" indent="-342900">
              <a:buAutoNum type="arabicPeriod"/>
            </a:pPr>
            <a:endParaRPr lang="nl-NL" sz="1400">
              <a:ea typeface="Verdana" panose="020B0604030504040204" pitchFamily="34" charset="0"/>
            </a:endParaRPr>
          </a:p>
          <a:p>
            <a:pPr marL="0" indent="0">
              <a:spcBef>
                <a:spcPts val="400"/>
              </a:spcBef>
              <a:buNone/>
            </a:pPr>
            <a:endParaRPr lang="nl-NL" sz="1600">
              <a:ea typeface="Calibri" panose="020F0502020204030204" pitchFamily="34" charset="0"/>
            </a:endParaRPr>
          </a:p>
          <a:p>
            <a:pPr marL="0" indent="0">
              <a:spcBef>
                <a:spcPts val="400"/>
              </a:spcBef>
              <a:buNone/>
            </a:pPr>
            <a:endParaRPr lang="nl-NL" sz="1600">
              <a:ea typeface="Calibri" panose="020F0502020204030204" pitchFamily="34" charset="0"/>
            </a:endParaRPr>
          </a:p>
          <a:p>
            <a:pPr marL="0" indent="0">
              <a:spcBef>
                <a:spcPts val="400"/>
              </a:spcBef>
              <a:buNone/>
            </a:pPr>
            <a:endParaRPr lang="nl-NL" sz="1600">
              <a:ea typeface="Calibri" panose="020F0502020204030204" pitchFamily="34" charset="0"/>
            </a:endParaRPr>
          </a:p>
          <a:p>
            <a:pPr marL="0" indent="0">
              <a:spcBef>
                <a:spcPts val="400"/>
              </a:spcBef>
              <a:buNone/>
            </a:pPr>
            <a:endParaRPr lang="nl-NL" sz="1600">
              <a:ea typeface="Calibri" panose="020F0502020204030204" pitchFamily="34" charset="0"/>
            </a:endParaRPr>
          </a:p>
          <a:p>
            <a:pPr marL="0" indent="0">
              <a:spcBef>
                <a:spcPts val="400"/>
              </a:spcBef>
              <a:buNone/>
            </a:pPr>
            <a:endParaRPr lang="nl-NL" sz="1600">
              <a:ea typeface="Calibri" panose="020F0502020204030204" pitchFamily="34" charset="0"/>
            </a:endParaRPr>
          </a:p>
          <a:p>
            <a:pPr marL="0" indent="0">
              <a:spcBef>
                <a:spcPts val="400"/>
              </a:spcBef>
              <a:buNone/>
            </a:pPr>
            <a:endParaRPr lang="nl-NL" sz="1600">
              <a:ea typeface="Calibri" panose="020F0502020204030204" pitchFamily="34" charset="0"/>
            </a:endParaRPr>
          </a:p>
          <a:p>
            <a:pPr marL="0" indent="0">
              <a:spcBef>
                <a:spcPts val="400"/>
              </a:spcBef>
              <a:buNone/>
            </a:pPr>
            <a:endParaRPr lang="nl-NL" sz="1600">
              <a:ea typeface="Calibri" panose="020F0502020204030204" pitchFamily="34" charset="0"/>
            </a:endParaRPr>
          </a:p>
          <a:p>
            <a:pPr marL="0" indent="0">
              <a:spcBef>
                <a:spcPts val="400"/>
              </a:spcBef>
              <a:buNone/>
            </a:pPr>
            <a:endParaRPr lang="nl-NL" sz="1600">
              <a:ea typeface="Calibri" panose="020F0502020204030204" pitchFamily="34" charset="0"/>
            </a:endParaRPr>
          </a:p>
          <a:p>
            <a:pPr marL="0" indent="0">
              <a:buNone/>
            </a:pPr>
            <a:endParaRPr lang="nl-NL" sz="1600" b="1"/>
          </a:p>
          <a:p>
            <a:pPr marL="0" indent="0">
              <a:buNone/>
            </a:pPr>
            <a:endParaRPr lang="nl-NL" sz="1600" b="1"/>
          </a:p>
          <a:p>
            <a:pPr marL="0" indent="0">
              <a:buNone/>
            </a:pPr>
            <a:endParaRPr lang="nl-NL" sz="1600" b="1"/>
          </a:p>
          <a:p>
            <a:pPr marL="0" indent="0">
              <a:buNone/>
            </a:pPr>
            <a:endParaRPr lang="nl-NL" sz="1600"/>
          </a:p>
        </p:txBody>
      </p:sp>
      <p:sp>
        <p:nvSpPr>
          <p:cNvPr id="5" name="Tijdelijke aanduiding voor dianummer 4">
            <a:extLst>
              <a:ext uri="{FF2B5EF4-FFF2-40B4-BE49-F238E27FC236}">
                <a16:creationId xmlns:a16="http://schemas.microsoft.com/office/drawing/2014/main" id="{7C27F2DE-8876-BE76-8093-77BC00CEAA00}"/>
              </a:ext>
            </a:extLst>
          </p:cNvPr>
          <p:cNvSpPr>
            <a:spLocks noGrp="1"/>
          </p:cNvSpPr>
          <p:nvPr>
            <p:ph type="sldNum" sz="quarter" idx="12"/>
          </p:nvPr>
        </p:nvSpPr>
        <p:spPr/>
        <p:txBody>
          <a:bodyPr/>
          <a:lstStyle/>
          <a:p>
            <a:pPr defTabSz="915215"/>
            <a:fld id="{8D374ABD-355D-4B52-8A38-020B3DD5CC75}" type="slidenum">
              <a:rPr lang="nl-NL">
                <a:latin typeface="Calibri"/>
              </a:rPr>
              <a:pPr defTabSz="915215"/>
              <a:t>9</a:t>
            </a:fld>
            <a:endParaRPr lang="nl-NL">
              <a:latin typeface="Calibri"/>
            </a:endParaRPr>
          </a:p>
        </p:txBody>
      </p:sp>
      <p:sp>
        <p:nvSpPr>
          <p:cNvPr id="8" name="Tijdelijke aanduiding voor tekst 7">
            <a:extLst>
              <a:ext uri="{FF2B5EF4-FFF2-40B4-BE49-F238E27FC236}">
                <a16:creationId xmlns:a16="http://schemas.microsoft.com/office/drawing/2014/main" id="{B38B0E56-23C6-7E9E-860D-66A63D83A797}"/>
              </a:ext>
            </a:extLst>
          </p:cNvPr>
          <p:cNvSpPr>
            <a:spLocks noGrp="1"/>
          </p:cNvSpPr>
          <p:nvPr>
            <p:ph type="body" sz="quarter" idx="15"/>
          </p:nvPr>
        </p:nvSpPr>
        <p:spPr/>
        <p:txBody>
          <a:bodyPr/>
          <a:lstStyle/>
          <a:p>
            <a:endParaRPr lang="nl-NL"/>
          </a:p>
        </p:txBody>
      </p:sp>
      <p:pic>
        <p:nvPicPr>
          <p:cNvPr id="6" name="Afbeelding 5">
            <a:extLst>
              <a:ext uri="{FF2B5EF4-FFF2-40B4-BE49-F238E27FC236}">
                <a16:creationId xmlns:a16="http://schemas.microsoft.com/office/drawing/2014/main" id="{794480E4-4AB0-CDAD-71DA-CA94E4585F21}"/>
              </a:ext>
            </a:extLst>
          </p:cNvPr>
          <p:cNvPicPr>
            <a:picLocks noChangeAspect="1"/>
          </p:cNvPicPr>
          <p:nvPr/>
        </p:nvPicPr>
        <p:blipFill>
          <a:blip r:embed="rId2"/>
          <a:stretch>
            <a:fillRect/>
          </a:stretch>
        </p:blipFill>
        <p:spPr>
          <a:xfrm>
            <a:off x="2364465" y="2263239"/>
            <a:ext cx="6927580" cy="3392235"/>
          </a:xfrm>
          <a:prstGeom prst="rect">
            <a:avLst/>
          </a:prstGeom>
        </p:spPr>
      </p:pic>
      <p:cxnSp>
        <p:nvCxnSpPr>
          <p:cNvPr id="10" name="Rechte verbindingslijn met pijl 9">
            <a:extLst>
              <a:ext uri="{FF2B5EF4-FFF2-40B4-BE49-F238E27FC236}">
                <a16:creationId xmlns:a16="http://schemas.microsoft.com/office/drawing/2014/main" id="{630F1C94-E7C4-8788-76D0-1D34A59B1045}"/>
              </a:ext>
            </a:extLst>
          </p:cNvPr>
          <p:cNvCxnSpPr/>
          <p:nvPr/>
        </p:nvCxnSpPr>
        <p:spPr>
          <a:xfrm>
            <a:off x="2899955" y="1883219"/>
            <a:ext cx="1193074" cy="722811"/>
          </a:xfrm>
          <a:prstGeom prst="straightConnector1">
            <a:avLst/>
          </a:prstGeom>
          <a:ln w="28575" cap="rnd">
            <a:solidFill>
              <a:srgbClr val="4472C4"/>
            </a:solidFill>
            <a:round/>
            <a:tailEnd type="triangle"/>
          </a:ln>
        </p:spPr>
        <p:style>
          <a:lnRef idx="1">
            <a:schemeClr val="accent1"/>
          </a:lnRef>
          <a:fillRef idx="0">
            <a:schemeClr val="accent1"/>
          </a:fillRef>
          <a:effectRef idx="0">
            <a:schemeClr val="accent1"/>
          </a:effectRef>
          <a:fontRef idx="minor">
            <a:schemeClr val="tx1"/>
          </a:fontRef>
        </p:style>
      </p:cxnSp>
      <p:sp>
        <p:nvSpPr>
          <p:cNvPr id="11" name="Tekstvak 10">
            <a:extLst>
              <a:ext uri="{FF2B5EF4-FFF2-40B4-BE49-F238E27FC236}">
                <a16:creationId xmlns:a16="http://schemas.microsoft.com/office/drawing/2014/main" id="{8FDDB707-9DAC-3BE7-BCBE-78A58613706B}"/>
              </a:ext>
            </a:extLst>
          </p:cNvPr>
          <p:cNvSpPr txBox="1"/>
          <p:nvPr/>
        </p:nvSpPr>
        <p:spPr>
          <a:xfrm>
            <a:off x="3870960" y="3021874"/>
            <a:ext cx="914400" cy="914400"/>
          </a:xfrm>
          <a:prstGeom prst="rect">
            <a:avLst/>
          </a:prstGeom>
          <a:noFill/>
        </p:spPr>
        <p:txBody>
          <a:bodyPr wrap="square" lIns="0" tIns="0" rIns="0" bIns="0" rtlCol="0">
            <a:noAutofit/>
          </a:bodyPr>
          <a:lstStyle/>
          <a:p>
            <a:pPr algn="ctr"/>
            <a:endParaRPr lang="nl-NL" sz="1200"/>
          </a:p>
        </p:txBody>
      </p:sp>
      <p:sp>
        <p:nvSpPr>
          <p:cNvPr id="12" name="Tekstvak 11">
            <a:extLst>
              <a:ext uri="{FF2B5EF4-FFF2-40B4-BE49-F238E27FC236}">
                <a16:creationId xmlns:a16="http://schemas.microsoft.com/office/drawing/2014/main" id="{84AB3E4F-194F-68B4-0784-0CDF5020B864}"/>
              </a:ext>
            </a:extLst>
          </p:cNvPr>
          <p:cNvSpPr txBox="1"/>
          <p:nvPr/>
        </p:nvSpPr>
        <p:spPr>
          <a:xfrm>
            <a:off x="1419497" y="1621962"/>
            <a:ext cx="1616551" cy="274320"/>
          </a:xfrm>
          <a:prstGeom prst="rect">
            <a:avLst/>
          </a:prstGeom>
          <a:noFill/>
        </p:spPr>
        <p:txBody>
          <a:bodyPr wrap="none" lIns="0" tIns="0" rIns="0" bIns="0" rtlCol="0">
            <a:noAutofit/>
          </a:bodyPr>
          <a:lstStyle/>
          <a:p>
            <a:pPr algn="ctr"/>
            <a:r>
              <a:rPr lang="nl-NL" sz="1200">
                <a:ea typeface="Verdana" panose="020B0604030504040204" pitchFamily="34" charset="0"/>
              </a:rPr>
              <a:t>Scan data at rest op M365</a:t>
            </a:r>
            <a:endParaRPr lang="nl-NL" sz="1200"/>
          </a:p>
        </p:txBody>
      </p:sp>
      <p:sp>
        <p:nvSpPr>
          <p:cNvPr id="13" name="Tekstvak 12">
            <a:extLst>
              <a:ext uri="{FF2B5EF4-FFF2-40B4-BE49-F238E27FC236}">
                <a16:creationId xmlns:a16="http://schemas.microsoft.com/office/drawing/2014/main" id="{10F29C25-1BDD-F2B9-01DB-CD37B3A5C395}"/>
              </a:ext>
            </a:extLst>
          </p:cNvPr>
          <p:cNvSpPr txBox="1"/>
          <p:nvPr/>
        </p:nvSpPr>
        <p:spPr>
          <a:xfrm>
            <a:off x="7242265" y="1620166"/>
            <a:ext cx="1616551" cy="274320"/>
          </a:xfrm>
          <a:prstGeom prst="rect">
            <a:avLst/>
          </a:prstGeom>
          <a:noFill/>
        </p:spPr>
        <p:txBody>
          <a:bodyPr wrap="none" lIns="0" tIns="0" rIns="0" bIns="0" rtlCol="0">
            <a:noAutofit/>
          </a:bodyPr>
          <a:lstStyle/>
          <a:p>
            <a:pPr algn="ctr"/>
            <a:r>
              <a:rPr lang="nl-NL" sz="1200">
                <a:ea typeface="Verdana" panose="020B0604030504040204" pitchFamily="34" charset="0"/>
              </a:rPr>
              <a:t>DLP en Beveiligd mailen</a:t>
            </a:r>
            <a:endParaRPr lang="nl-NL" sz="1200"/>
          </a:p>
        </p:txBody>
      </p:sp>
      <p:sp>
        <p:nvSpPr>
          <p:cNvPr id="14" name="Tekstvak 13">
            <a:extLst>
              <a:ext uri="{FF2B5EF4-FFF2-40B4-BE49-F238E27FC236}">
                <a16:creationId xmlns:a16="http://schemas.microsoft.com/office/drawing/2014/main" id="{421B4BB9-E575-7652-1126-710DEA2A6AD2}"/>
              </a:ext>
            </a:extLst>
          </p:cNvPr>
          <p:cNvSpPr txBox="1"/>
          <p:nvPr/>
        </p:nvSpPr>
        <p:spPr>
          <a:xfrm>
            <a:off x="2567918" y="5684739"/>
            <a:ext cx="1616551" cy="274320"/>
          </a:xfrm>
          <a:prstGeom prst="rect">
            <a:avLst/>
          </a:prstGeom>
          <a:noFill/>
        </p:spPr>
        <p:txBody>
          <a:bodyPr wrap="none" lIns="0" tIns="0" rIns="0" bIns="0" rtlCol="0">
            <a:noAutofit/>
          </a:bodyPr>
          <a:lstStyle/>
          <a:p>
            <a:pPr algn="ctr"/>
            <a:r>
              <a:rPr lang="nl-NL" sz="1200">
                <a:ea typeface="Verdana" panose="020B0604030504040204" pitchFamily="34" charset="0"/>
              </a:rPr>
              <a:t>IRM</a:t>
            </a:r>
            <a:endParaRPr lang="nl-NL" sz="1200"/>
          </a:p>
        </p:txBody>
      </p:sp>
      <p:sp>
        <p:nvSpPr>
          <p:cNvPr id="15" name="Tekstvak 14">
            <a:extLst>
              <a:ext uri="{FF2B5EF4-FFF2-40B4-BE49-F238E27FC236}">
                <a16:creationId xmlns:a16="http://schemas.microsoft.com/office/drawing/2014/main" id="{B331DA69-30E0-0279-FB41-6CAFE643A105}"/>
              </a:ext>
            </a:extLst>
          </p:cNvPr>
          <p:cNvSpPr txBox="1"/>
          <p:nvPr/>
        </p:nvSpPr>
        <p:spPr>
          <a:xfrm>
            <a:off x="8594250" y="5221372"/>
            <a:ext cx="1616551" cy="274320"/>
          </a:xfrm>
          <a:prstGeom prst="rect">
            <a:avLst/>
          </a:prstGeom>
          <a:noFill/>
        </p:spPr>
        <p:txBody>
          <a:bodyPr wrap="none" lIns="0" tIns="0" rIns="0" bIns="0" rtlCol="0">
            <a:noAutofit/>
          </a:bodyPr>
          <a:lstStyle/>
          <a:p>
            <a:pPr algn="ctr"/>
            <a:r>
              <a:rPr lang="nl-NL" sz="1200">
                <a:ea typeface="Verdana" panose="020B0604030504040204" pitchFamily="34" charset="0"/>
              </a:rPr>
              <a:t>R&amp;A</a:t>
            </a:r>
            <a:endParaRPr lang="nl-NL" sz="1200"/>
          </a:p>
        </p:txBody>
      </p:sp>
      <p:cxnSp>
        <p:nvCxnSpPr>
          <p:cNvPr id="16" name="Rechte verbindingslijn met pijl 15">
            <a:extLst>
              <a:ext uri="{FF2B5EF4-FFF2-40B4-BE49-F238E27FC236}">
                <a16:creationId xmlns:a16="http://schemas.microsoft.com/office/drawing/2014/main" id="{16A07BF6-5CB0-A1FE-2305-BBF15F51B312}"/>
              </a:ext>
            </a:extLst>
          </p:cNvPr>
          <p:cNvCxnSpPr>
            <a:cxnSpLocks/>
          </p:cNvCxnSpPr>
          <p:nvPr/>
        </p:nvCxnSpPr>
        <p:spPr>
          <a:xfrm flipH="1" flipV="1">
            <a:off x="8334103" y="4467497"/>
            <a:ext cx="1068422" cy="753875"/>
          </a:xfrm>
          <a:prstGeom prst="straightConnector1">
            <a:avLst/>
          </a:prstGeom>
          <a:ln w="28575" cap="rnd">
            <a:solidFill>
              <a:srgbClr val="4472C4"/>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7" name="Rechte verbindingslijn met pijl 16">
            <a:extLst>
              <a:ext uri="{FF2B5EF4-FFF2-40B4-BE49-F238E27FC236}">
                <a16:creationId xmlns:a16="http://schemas.microsoft.com/office/drawing/2014/main" id="{E1102A3A-9D3C-1407-B3A6-89B8877A0D6E}"/>
              </a:ext>
            </a:extLst>
          </p:cNvPr>
          <p:cNvCxnSpPr>
            <a:cxnSpLocks/>
          </p:cNvCxnSpPr>
          <p:nvPr/>
        </p:nvCxnSpPr>
        <p:spPr>
          <a:xfrm flipH="1">
            <a:off x="6967874" y="1831339"/>
            <a:ext cx="707621" cy="641895"/>
          </a:xfrm>
          <a:prstGeom prst="straightConnector1">
            <a:avLst/>
          </a:prstGeom>
          <a:ln w="28575" cap="rnd">
            <a:solidFill>
              <a:srgbClr val="4472C4"/>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8" name="Rechte verbindingslijn met pijl 17">
            <a:extLst>
              <a:ext uri="{FF2B5EF4-FFF2-40B4-BE49-F238E27FC236}">
                <a16:creationId xmlns:a16="http://schemas.microsoft.com/office/drawing/2014/main" id="{7CE4491C-0A83-4F1C-432C-0723A1B3AFFC}"/>
              </a:ext>
            </a:extLst>
          </p:cNvPr>
          <p:cNvCxnSpPr>
            <a:cxnSpLocks/>
          </p:cNvCxnSpPr>
          <p:nvPr/>
        </p:nvCxnSpPr>
        <p:spPr>
          <a:xfrm flipV="1">
            <a:off x="3559629" y="4554583"/>
            <a:ext cx="1386840" cy="1054011"/>
          </a:xfrm>
          <a:prstGeom prst="straightConnector1">
            <a:avLst/>
          </a:prstGeom>
          <a:ln w="28575" cap="rnd">
            <a:solidFill>
              <a:srgbClr val="4472C4"/>
            </a:solidFill>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7599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D2&quot; g=&quot;D2&quot; b=&quot;4F&quot;/&gt;&lt;m_nBrightness tagver0=&quot;26206&quot; tagname0=&quot;m_nBrightnessUNRECOGNIZED&quot; val=&quot;0&quot;/&gt;&lt;/elem&gt;&lt;elem m_fUsage=&quot;9.00000000000000022204E-01&quot;&gt;&lt;m_msothmcolidx val=&quot;0&quot;/&gt;&lt;m_rgb r=&quot;16&quot; g=&quot;D0&quot; b=&quot;11&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pnuaTu0QQ65YmeTbCzh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pportagetemplate Achmea IT_mar2017_breed">
  <a:themeElements>
    <a:clrScheme name="Achmeakleuren_mrt2016">
      <a:dk1>
        <a:srgbClr val="616161"/>
      </a:dk1>
      <a:lt1>
        <a:srgbClr val="FFFFFF"/>
      </a:lt1>
      <a:dk2>
        <a:srgbClr val="CC0000"/>
      </a:dk2>
      <a:lt2>
        <a:srgbClr val="B2B2B2"/>
      </a:lt2>
      <a:accent1>
        <a:srgbClr val="000000"/>
      </a:accent1>
      <a:accent2>
        <a:srgbClr val="E57B03"/>
      </a:accent2>
      <a:accent3>
        <a:srgbClr val="3E7FA2"/>
      </a:accent3>
      <a:accent4>
        <a:srgbClr val="868722"/>
      </a:accent4>
      <a:accent5>
        <a:srgbClr val="525387"/>
      </a:accent5>
      <a:accent6>
        <a:srgbClr val="46B5D4"/>
      </a:accent6>
      <a:hlink>
        <a:srgbClr val="818181"/>
      </a:hlink>
      <a:folHlink>
        <a:srgbClr val="954F72"/>
      </a:folHlink>
    </a:clrScheme>
    <a:fontScheme name="Kantoorthem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Rapportage template_nov2016_breed.potx" id="{F13E49E8-E6F5-4A3D-845A-69BD2193F0E1}" vid="{95D6FFDE-32E8-4E94-AED2-D0C61AA51FD1}"/>
    </a:ext>
  </a:extLst>
</a:theme>
</file>

<file path=ppt/theme/theme2.xml><?xml version="1.0" encoding="utf-8"?>
<a:theme xmlns:a="http://schemas.openxmlformats.org/drawingml/2006/main" name="Achmea Corporate">
  <a:themeElements>
    <a:clrScheme name="ACHMEA_Orange">
      <a:dk1>
        <a:srgbClr val="000000"/>
      </a:dk1>
      <a:lt1>
        <a:srgbClr val="FFFFFF"/>
      </a:lt1>
      <a:dk2>
        <a:srgbClr val="D19302"/>
      </a:dk2>
      <a:lt2>
        <a:srgbClr val="B38F4B"/>
      </a:lt2>
      <a:accent1>
        <a:srgbClr val="E57B03"/>
      </a:accent1>
      <a:accent2>
        <a:srgbClr val="D29FA5"/>
      </a:accent2>
      <a:accent3>
        <a:srgbClr val="417FA2"/>
      </a:accent3>
      <a:accent4>
        <a:srgbClr val="868722"/>
      </a:accent4>
      <a:accent5>
        <a:srgbClr val="C15683"/>
      </a:accent5>
      <a:accent6>
        <a:srgbClr val="525387"/>
      </a:accent6>
      <a:hlink>
        <a:srgbClr val="D29FA5"/>
      </a:hlink>
      <a:folHlink>
        <a:srgbClr val="4D4D4D"/>
      </a:folHlink>
    </a:clrScheme>
    <a:fontScheme name="ACHMEA_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Achmea Corporate">
  <a:themeElements>
    <a:clrScheme name="Aangepast 12">
      <a:dk1>
        <a:srgbClr val="000000"/>
      </a:dk1>
      <a:lt1>
        <a:srgbClr val="FFFFFF"/>
      </a:lt1>
      <a:dk2>
        <a:srgbClr val="E57B03"/>
      </a:dk2>
      <a:lt2>
        <a:srgbClr val="D19302"/>
      </a:lt2>
      <a:accent1>
        <a:srgbClr val="417FA2"/>
      </a:accent1>
      <a:accent2>
        <a:srgbClr val="00C2DF"/>
      </a:accent2>
      <a:accent3>
        <a:srgbClr val="868722"/>
      </a:accent3>
      <a:accent4>
        <a:srgbClr val="C15683"/>
      </a:accent4>
      <a:accent5>
        <a:srgbClr val="525387"/>
      </a:accent5>
      <a:accent6>
        <a:srgbClr val="B38F4B"/>
      </a:accent6>
      <a:hlink>
        <a:srgbClr val="417FA2"/>
      </a:hlink>
      <a:folHlink>
        <a:srgbClr val="4D4D4D"/>
      </a:folHlink>
    </a:clrScheme>
    <a:fontScheme name="ACHMEA_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Achmea Corporate">
  <a:themeElements>
    <a:clrScheme name="Aangepast 12">
      <a:dk1>
        <a:srgbClr val="000000"/>
      </a:dk1>
      <a:lt1>
        <a:srgbClr val="FFFFFF"/>
      </a:lt1>
      <a:dk2>
        <a:srgbClr val="E57B03"/>
      </a:dk2>
      <a:lt2>
        <a:srgbClr val="D19302"/>
      </a:lt2>
      <a:accent1>
        <a:srgbClr val="417FA2"/>
      </a:accent1>
      <a:accent2>
        <a:srgbClr val="00C2DF"/>
      </a:accent2>
      <a:accent3>
        <a:srgbClr val="868722"/>
      </a:accent3>
      <a:accent4>
        <a:srgbClr val="C15683"/>
      </a:accent4>
      <a:accent5>
        <a:srgbClr val="525387"/>
      </a:accent5>
      <a:accent6>
        <a:srgbClr val="B38F4B"/>
      </a:accent6>
      <a:hlink>
        <a:srgbClr val="417FA2"/>
      </a:hlink>
      <a:folHlink>
        <a:srgbClr val="4D4D4D"/>
      </a:folHlink>
    </a:clrScheme>
    <a:fontScheme name="ACHMEA_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Achmea Corporate">
  <a:themeElements>
    <a:clrScheme name="Aangepast 15">
      <a:dk1>
        <a:srgbClr val="000000"/>
      </a:dk1>
      <a:lt1>
        <a:srgbClr val="FFFFFF"/>
      </a:lt1>
      <a:dk2>
        <a:srgbClr val="E57B03"/>
      </a:dk2>
      <a:lt2>
        <a:srgbClr val="D19302"/>
      </a:lt2>
      <a:accent1>
        <a:srgbClr val="417FA2"/>
      </a:accent1>
      <a:accent2>
        <a:srgbClr val="00C2DF"/>
      </a:accent2>
      <a:accent3>
        <a:srgbClr val="868722"/>
      </a:accent3>
      <a:accent4>
        <a:srgbClr val="C15683"/>
      </a:accent4>
      <a:accent5>
        <a:srgbClr val="525387"/>
      </a:accent5>
      <a:accent6>
        <a:srgbClr val="B38F4B"/>
      </a:accent6>
      <a:hlink>
        <a:srgbClr val="417FA2"/>
      </a:hlink>
      <a:folHlink>
        <a:srgbClr val="4D4D4D"/>
      </a:folHlink>
    </a:clrScheme>
    <a:fontScheme name="ACHMEA_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ctr">
          <a:defRPr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64FB02F-A704-4224-BBEF-F2E8FEFAAF22}">
  <we:reference id="3fd72b8e-15a5-4ff7-b428-a5c648ce30b2" version="1.0.0.6"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3691E9136B13498F3A7FC2370F07CC" ma:contentTypeVersion="10" ma:contentTypeDescription="Create a new document." ma:contentTypeScope="" ma:versionID="76759cc81fd3a22040ef97a72f308530">
  <xsd:schema xmlns:xsd="http://www.w3.org/2001/XMLSchema" xmlns:xs="http://www.w3.org/2001/XMLSchema" xmlns:p="http://schemas.microsoft.com/office/2006/metadata/properties" xmlns:ns2="d5336f16-45b7-4933-950a-ba2cb4ea32e2" xmlns:ns3="29bc565a-7fb1-4ec9-8f0c-7362175dc1f5" targetNamespace="http://schemas.microsoft.com/office/2006/metadata/properties" ma:root="true" ma:fieldsID="c80def60f1e9d4b04d6d991eb6bffcf2" ns2:_="" ns3:_="">
    <xsd:import namespace="d5336f16-45b7-4933-950a-ba2cb4ea32e2"/>
    <xsd:import namespace="29bc565a-7fb1-4ec9-8f0c-7362175dc1f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336f16-45b7-4933-950a-ba2cb4ea32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bc565a-7fb1-4ec9-8f0c-7362175dc1f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9bc565a-7fb1-4ec9-8f0c-7362175dc1f5">
      <UserInfo>
        <DisplayName>Maarten Perquin (MHA)</DisplayName>
        <AccountId>72</AccountId>
        <AccountType/>
      </UserInfo>
      <UserInfo>
        <DisplayName>Bert Munniks (B)</DisplayName>
        <AccountId>64</AccountId>
        <AccountType/>
      </UserInfo>
      <UserInfo>
        <DisplayName>Arjan Juurlink (A)</DisplayName>
        <AccountId>17</AccountId>
        <AccountType/>
      </UserInfo>
      <UserInfo>
        <DisplayName>Stephan Smits (SAG)</DisplayName>
        <AccountId>16</AccountId>
        <AccountType/>
      </UserInfo>
      <UserInfo>
        <DisplayName>Michiel Hammer (M)</DisplayName>
        <AccountId>70</AccountId>
        <AccountType/>
      </UserInfo>
      <UserInfo>
        <DisplayName>Ron Kuipers (HN)</DisplayName>
        <AccountId>61</AccountId>
        <AccountType/>
      </UserInfo>
      <UserInfo>
        <DisplayName>Stef van der Sommen (SD)</DisplayName>
        <AccountId>90</AccountId>
        <AccountType/>
      </UserInfo>
    </SharedWithUsers>
  </documentManagement>
</p:properties>
</file>

<file path=customXml/itemProps1.xml><?xml version="1.0" encoding="utf-8"?>
<ds:datastoreItem xmlns:ds="http://schemas.openxmlformats.org/officeDocument/2006/customXml" ds:itemID="{DA0A0CFC-F84D-4878-862B-FE784001E1EF}">
  <ds:schemaRefs>
    <ds:schemaRef ds:uri="http://schemas.microsoft.com/sharepoint/v3/contenttype/forms"/>
  </ds:schemaRefs>
</ds:datastoreItem>
</file>

<file path=customXml/itemProps2.xml><?xml version="1.0" encoding="utf-8"?>
<ds:datastoreItem xmlns:ds="http://schemas.openxmlformats.org/officeDocument/2006/customXml" ds:itemID="{6AB24819-FFC1-4E8D-8E08-10DFF9B6A0D6}">
  <ds:schemaRefs>
    <ds:schemaRef ds:uri="29bc565a-7fb1-4ec9-8f0c-7362175dc1f5"/>
    <ds:schemaRef ds:uri="d5336f16-45b7-4933-950a-ba2cb4ea32e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3585BC5-C4C5-4D31-839D-A4962C14EEA4}">
  <ds:schemaRefs>
    <ds:schemaRef ds:uri="29bc565a-7fb1-4ec9-8f0c-7362175dc1f5"/>
    <ds:schemaRef ds:uri="d5336f16-45b7-4933-950a-ba2cb4ea32e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Rapportagetemplate Achmea IT_mar2017_breed</Template>
  <Application>Microsoft Office PowerPoint</Application>
  <PresentationFormat>Widescreen</PresentationFormat>
  <Slides>13</Slides>
  <Notes>2</Notes>
  <HiddenSlides>0</HiddenSlides>
  <ScaleCrop>false</ScaleCrop>
  <HeadingPairs>
    <vt:vector size="4" baseType="variant">
      <vt:variant>
        <vt:lpstr>Theme</vt:lpstr>
      </vt:variant>
      <vt:variant>
        <vt:i4>5</vt:i4>
      </vt:variant>
      <vt:variant>
        <vt:lpstr>Slide Titles</vt:lpstr>
      </vt:variant>
      <vt:variant>
        <vt:i4>13</vt:i4>
      </vt:variant>
    </vt:vector>
  </HeadingPairs>
  <TitlesOfParts>
    <vt:vector size="18" baseType="lpstr">
      <vt:lpstr>Rapportagetemplate Achmea IT_mar2017_breed</vt:lpstr>
      <vt:lpstr>Achmea Corporate</vt:lpstr>
      <vt:lpstr>1_Achmea Corporate</vt:lpstr>
      <vt:lpstr>2_Achmea Corporate</vt:lpstr>
      <vt:lpstr>3_Achmea Corporate</vt:lpstr>
      <vt:lpstr>  Plan van aanpak  Grip op Ongestructureerde data  Achmea</vt:lpstr>
      <vt:lpstr>Management samenvatting tbv Strategische Security Overleg (SSO)</vt:lpstr>
      <vt:lpstr>Inleiding, Probleemstelling en Oplossing</vt:lpstr>
      <vt:lpstr>Welke problemen gaan we oplossen </vt:lpstr>
      <vt:lpstr>Werkwijze Business en IT</vt:lpstr>
      <vt:lpstr>PowerPoint Presentation</vt:lpstr>
      <vt:lpstr>PowerPoint Presentation</vt:lpstr>
      <vt:lpstr>Bijlagen</vt:lpstr>
      <vt:lpstr>Samenhang diensten </vt:lpstr>
      <vt:lpstr>Know your Data</vt:lpstr>
      <vt:lpstr>Protect your data</vt:lpstr>
      <vt:lpstr>Prevent Data Loss</vt:lpstr>
      <vt:lpstr>Govern your Data</vt:lpstr>
    </vt:vector>
  </TitlesOfParts>
  <Company>ACHM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dc:title>
  <dc:creator>Poel van der, JFPM (Jacky)</dc:creator>
  <cp:revision>1</cp:revision>
  <cp:lastPrinted>2023-08-02T07:46:04Z</cp:lastPrinted>
  <dcterms:created xsi:type="dcterms:W3CDTF">2017-05-12T08:01:00Z</dcterms:created>
  <dcterms:modified xsi:type="dcterms:W3CDTF">2023-10-24T10:5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3691E9136B13498F3A7FC2370F07CC</vt:lpwstr>
  </property>
  <property fmtid="{D5CDD505-2E9C-101B-9397-08002B2CF9AE}" pid="3" name="Order">
    <vt:r8>100</vt:r8>
  </property>
  <property fmtid="{D5CDD505-2E9C-101B-9397-08002B2CF9AE}" pid="4" name="_ExtendedDescription">
    <vt:lpwstr>O&amp;#58;\03-Budget_RF\3.0 ODT, DT, B&amp;amp;S pres\3.02 ODT pres\2021\ODT_21_03_31 incl. kader mut. en BCO casus\ODT_20210331_Te accorderen BCO casussen voor RFI 2021_DEF.pptx</vt:lpwstr>
  </property>
  <property fmtid="{D5CDD505-2E9C-101B-9397-08002B2CF9AE}" pid="5" name="MediaServiceImageTags">
    <vt:lpwstr/>
  </property>
  <property fmtid="{D5CDD505-2E9C-101B-9397-08002B2CF9AE}" pid="6" name="MSIP_Label_379095c1-d701-4a85-9aa0-f5019a9a0475_Enabled">
    <vt:lpwstr>true</vt:lpwstr>
  </property>
  <property fmtid="{D5CDD505-2E9C-101B-9397-08002B2CF9AE}" pid="7" name="MSIP_Label_379095c1-d701-4a85-9aa0-f5019a9a0475_SetDate">
    <vt:lpwstr>2023-10-05T08:09:34Z</vt:lpwstr>
  </property>
  <property fmtid="{D5CDD505-2E9C-101B-9397-08002B2CF9AE}" pid="8" name="MSIP_Label_379095c1-d701-4a85-9aa0-f5019a9a0475_Method">
    <vt:lpwstr>Privileged</vt:lpwstr>
  </property>
  <property fmtid="{D5CDD505-2E9C-101B-9397-08002B2CF9AE}" pid="9" name="MSIP_Label_379095c1-d701-4a85-9aa0-f5019a9a0475_Name">
    <vt:lpwstr>Vertrouwelijk</vt:lpwstr>
  </property>
  <property fmtid="{D5CDD505-2E9C-101B-9397-08002B2CF9AE}" pid="10" name="MSIP_Label_379095c1-d701-4a85-9aa0-f5019a9a0475_SiteId">
    <vt:lpwstr>c37ef212-d4a3-44b6-92df-0d1dff85604f</vt:lpwstr>
  </property>
  <property fmtid="{D5CDD505-2E9C-101B-9397-08002B2CF9AE}" pid="11" name="MSIP_Label_379095c1-d701-4a85-9aa0-f5019a9a0475_ActionId">
    <vt:lpwstr>7ed85449-1c62-4cd9-8cb9-0b5bc88044e6</vt:lpwstr>
  </property>
  <property fmtid="{D5CDD505-2E9C-101B-9397-08002B2CF9AE}" pid="12" name="MSIP_Label_379095c1-d701-4a85-9aa0-f5019a9a0475_ContentBits">
    <vt:lpwstr>0</vt:lpwstr>
  </property>
</Properties>
</file>